
<file path=[Content_Types].xml><?xml version="1.0" encoding="utf-8"?>
<Types xmlns="http://schemas.openxmlformats.org/package/2006/content-types">
  <Default Extension="emf" ContentType="image/x-emf"/>
  <Default Extension="gif" ContentType="image/gif"/>
  <Default Extension="jfif" ContentType="image/jpeg"/>
  <Default Extension="jpeg" ContentType="image/jpeg"/>
  <Default Extension="jpg" ContentType="image/jpeg"/>
  <Default Extension="mp3" ContentType="audio/mpeg"/>
  <Default Extension="mp4" ContentType="video/mp4"/>
  <Default Extension="png" ContentType="image/png"/>
  <Default Extension="rels" ContentType="application/vnd.openxmlformats-package.relationships+xml"/>
  <Default Extension="svg" ContentType="image/svg+xml"/>
  <Default Extension="wav" ContentType="audio/x-wav"/>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4" r:id="rId3"/>
    <p:sldMasterId id="2147483696" r:id="rId4"/>
    <p:sldMasterId id="2147483708" r:id="rId5"/>
    <p:sldMasterId id="2147483720" r:id="rId6"/>
    <p:sldMasterId id="2147483739" r:id="rId7"/>
  </p:sldMasterIdLst>
  <p:notesMasterIdLst>
    <p:notesMasterId r:id="rId41"/>
  </p:notesMasterIdLst>
  <p:sldIdLst>
    <p:sldId id="485" r:id="rId8"/>
    <p:sldId id="486" r:id="rId9"/>
    <p:sldId id="487" r:id="rId10"/>
    <p:sldId id="490" r:id="rId11"/>
    <p:sldId id="287" r:id="rId12"/>
    <p:sldId id="4034" r:id="rId13"/>
    <p:sldId id="493" r:id="rId14"/>
    <p:sldId id="492" r:id="rId15"/>
    <p:sldId id="345" r:id="rId16"/>
    <p:sldId id="346" r:id="rId17"/>
    <p:sldId id="501" r:id="rId18"/>
    <p:sldId id="4038" r:id="rId19"/>
    <p:sldId id="4040" r:id="rId20"/>
    <p:sldId id="4039" r:id="rId21"/>
    <p:sldId id="4036" r:id="rId22"/>
    <p:sldId id="4041" r:id="rId23"/>
    <p:sldId id="4033" r:id="rId24"/>
    <p:sldId id="4032" r:id="rId25"/>
    <p:sldId id="4042" r:id="rId26"/>
    <p:sldId id="258" r:id="rId27"/>
    <p:sldId id="259" r:id="rId28"/>
    <p:sldId id="260" r:id="rId29"/>
    <p:sldId id="4043" r:id="rId30"/>
    <p:sldId id="4030" r:id="rId31"/>
    <p:sldId id="4031" r:id="rId32"/>
    <p:sldId id="4045" r:id="rId33"/>
    <p:sldId id="262" r:id="rId34"/>
    <p:sldId id="4048" r:id="rId35"/>
    <p:sldId id="4047" r:id="rId36"/>
    <p:sldId id="4046" r:id="rId37"/>
    <p:sldId id="264" r:id="rId38"/>
    <p:sldId id="508" r:id="rId39"/>
    <p:sldId id="4029"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0D4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72" d="100"/>
          <a:sy n="72" d="100"/>
        </p:scale>
        <p:origin x="660"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59D83C-ADC2-47D9-B36B-81094E525700}" type="datetimeFigureOut">
              <a:rPr lang="en-US" smtClean="0"/>
              <a:t>3/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15AAAE-F359-43CF-96C5-BFAF5D419574}" type="slidenum">
              <a:rPr lang="en-US" smtClean="0"/>
              <a:t>‹#›</a:t>
            </a:fld>
            <a:endParaRPr lang="en-US"/>
          </a:p>
        </p:txBody>
      </p:sp>
    </p:spTree>
    <p:extLst>
      <p:ext uri="{BB962C8B-B14F-4D97-AF65-F5344CB8AC3E}">
        <p14:creationId xmlns:p14="http://schemas.microsoft.com/office/powerpoint/2010/main" val="2411940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1BD95568-98E1-4F58-8C39-BFC148F1895C}" type="slidenum">
              <a:rPr kumimoji="0" lang="en-US" sz="14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33733227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a:t>
            </a:r>
            <a:r>
              <a:rPr lang="vi-VN" dirty="0"/>
              <a:t>ư</a:t>
            </a:r>
            <a:r>
              <a:rPr lang="en-US" dirty="0" err="1"/>
              <a:t>ớng</a:t>
            </a:r>
            <a:r>
              <a:rPr lang="en-US" dirty="0"/>
              <a:t> </a:t>
            </a:r>
            <a:r>
              <a:rPr lang="en-US" dirty="0" err="1"/>
              <a:t>dẫn</a:t>
            </a:r>
            <a:r>
              <a:rPr lang="en-US" dirty="0"/>
              <a:t> </a:t>
            </a:r>
            <a:r>
              <a:rPr lang="en-US" dirty="0" err="1"/>
              <a:t>thay</a:t>
            </a:r>
            <a:r>
              <a:rPr lang="en-US" dirty="0"/>
              <a:t> </a:t>
            </a:r>
            <a:r>
              <a:rPr lang="en-US" dirty="0" err="1"/>
              <a:t>đổi</a:t>
            </a:r>
            <a:r>
              <a:rPr lang="en-US" dirty="0"/>
              <a:t> </a:t>
            </a:r>
            <a:r>
              <a:rPr lang="en-US" dirty="0" err="1"/>
              <a:t>thời</a:t>
            </a:r>
            <a:r>
              <a:rPr lang="en-US" dirty="0"/>
              <a:t> </a:t>
            </a:r>
            <a:r>
              <a:rPr lang="en-US" dirty="0" err="1"/>
              <a:t>gian</a:t>
            </a:r>
            <a:r>
              <a:rPr lang="en-US" dirty="0"/>
              <a:t> </a:t>
            </a:r>
            <a:r>
              <a:rPr lang="en-US" dirty="0" err="1"/>
              <a:t>trả</a:t>
            </a:r>
            <a:r>
              <a:rPr lang="en-US" dirty="0"/>
              <a:t> </a:t>
            </a:r>
            <a:r>
              <a:rPr lang="en-US" dirty="0" err="1"/>
              <a:t>lời</a:t>
            </a:r>
            <a:r>
              <a:rPr lang="en-US" dirty="0"/>
              <a:t> </a:t>
            </a:r>
            <a:r>
              <a:rPr lang="en-US" dirty="0" err="1"/>
              <a:t>câu</a:t>
            </a:r>
            <a:r>
              <a:rPr lang="en-US" dirty="0"/>
              <a:t> </a:t>
            </a:r>
            <a:r>
              <a:rPr lang="en-US" dirty="0" err="1"/>
              <a:t>hỏi</a:t>
            </a:r>
            <a:r>
              <a:rPr lang="en-US" dirty="0"/>
              <a:t>: </a:t>
            </a:r>
            <a:r>
              <a:rPr lang="en-US" dirty="0" err="1"/>
              <a:t>Nhấp</a:t>
            </a:r>
            <a:r>
              <a:rPr lang="en-US" dirty="0"/>
              <a:t> </a:t>
            </a:r>
            <a:r>
              <a:rPr lang="en-US" b="1" dirty="0"/>
              <a:t>Animation</a:t>
            </a:r>
            <a:r>
              <a:rPr lang="en-US" dirty="0"/>
              <a:t> -&gt; </a:t>
            </a:r>
            <a:r>
              <a:rPr lang="en-US" dirty="0" err="1"/>
              <a:t>Nhấp</a:t>
            </a:r>
            <a:r>
              <a:rPr lang="en-US" dirty="0"/>
              <a:t> </a:t>
            </a:r>
            <a:r>
              <a:rPr lang="en-US" b="1" dirty="0"/>
              <a:t>Animation Pane </a:t>
            </a:r>
            <a:r>
              <a:rPr lang="en-US" dirty="0"/>
              <a:t>-&gt; </a:t>
            </a:r>
            <a:r>
              <a:rPr lang="en-US" dirty="0" err="1"/>
              <a:t>Giữ</a:t>
            </a:r>
            <a:r>
              <a:rPr lang="en-US" dirty="0"/>
              <a:t> </a:t>
            </a:r>
            <a:r>
              <a:rPr lang="en-US" b="1" dirty="0" err="1"/>
              <a:t>phím</a:t>
            </a:r>
            <a:r>
              <a:rPr lang="en-US" b="1" dirty="0"/>
              <a:t> Ctrl </a:t>
            </a:r>
            <a:r>
              <a:rPr lang="en-US" dirty="0" err="1"/>
              <a:t>chọn</a:t>
            </a:r>
            <a:r>
              <a:rPr lang="en-US" dirty="0"/>
              <a:t> </a:t>
            </a:r>
            <a:r>
              <a:rPr lang="en-US" b="1" dirty="0"/>
              <a:t>Content </a:t>
            </a:r>
            <a:r>
              <a:rPr lang="en-US" b="1" dirty="0" err="1"/>
              <a:t>Placehoder</a:t>
            </a:r>
            <a:r>
              <a:rPr lang="en-US" b="1" dirty="0"/>
              <a:t> 12 </a:t>
            </a:r>
            <a:r>
              <a:rPr lang="en-US" dirty="0" err="1"/>
              <a:t>và</a:t>
            </a:r>
            <a:r>
              <a:rPr lang="en-US" dirty="0"/>
              <a:t> </a:t>
            </a:r>
            <a:r>
              <a:rPr lang="en-US" b="1" dirty="0"/>
              <a:t>Picture 26 </a:t>
            </a:r>
            <a:r>
              <a:rPr lang="en-US" dirty="0"/>
              <a:t>-&gt; </a:t>
            </a:r>
            <a:r>
              <a:rPr lang="en-US" dirty="0" err="1"/>
              <a:t>Nhìn</a:t>
            </a:r>
            <a:r>
              <a:rPr lang="en-US" dirty="0"/>
              <a:t> </a:t>
            </a:r>
            <a:r>
              <a:rPr lang="en-US" dirty="0" err="1"/>
              <a:t>lên</a:t>
            </a:r>
            <a:r>
              <a:rPr lang="en-US" dirty="0"/>
              <a:t> </a:t>
            </a:r>
            <a:r>
              <a:rPr lang="en-US" dirty="0" err="1"/>
              <a:t>thanh</a:t>
            </a:r>
            <a:r>
              <a:rPr lang="en-US" dirty="0"/>
              <a:t> </a:t>
            </a:r>
            <a:r>
              <a:rPr lang="en-US" dirty="0" err="1"/>
              <a:t>công</a:t>
            </a:r>
            <a:r>
              <a:rPr lang="en-US" dirty="0"/>
              <a:t> </a:t>
            </a:r>
            <a:r>
              <a:rPr lang="en-US" dirty="0" err="1"/>
              <a:t>cụ</a:t>
            </a:r>
            <a:r>
              <a:rPr lang="en-US" dirty="0"/>
              <a:t>, </a:t>
            </a:r>
            <a:r>
              <a:rPr lang="en-US" dirty="0" err="1"/>
              <a:t>tìm</a:t>
            </a:r>
            <a:r>
              <a:rPr lang="en-US" dirty="0"/>
              <a:t> </a:t>
            </a:r>
            <a:r>
              <a:rPr lang="en-US" b="1" dirty="0"/>
              <a:t>Duration</a:t>
            </a:r>
            <a:r>
              <a:rPr lang="en-US" dirty="0"/>
              <a:t>: </a:t>
            </a:r>
            <a:r>
              <a:rPr lang="en-US" dirty="0" err="1"/>
              <a:t>Chỉnh</a:t>
            </a:r>
            <a:r>
              <a:rPr lang="en-US" dirty="0"/>
              <a:t> </a:t>
            </a:r>
            <a:r>
              <a:rPr lang="en-US" dirty="0" err="1"/>
              <a:t>thời</a:t>
            </a:r>
            <a:r>
              <a:rPr lang="en-US" dirty="0"/>
              <a:t> </a:t>
            </a:r>
            <a:r>
              <a:rPr lang="en-US" dirty="0" err="1"/>
              <a:t>gian</a:t>
            </a:r>
            <a:r>
              <a:rPr lang="en-US" dirty="0"/>
              <a:t> </a:t>
            </a:r>
            <a:r>
              <a:rPr lang="en-US" dirty="0" err="1"/>
              <a:t>lại</a:t>
            </a:r>
            <a:r>
              <a:rPr lang="en-US" dirty="0"/>
              <a:t> </a:t>
            </a:r>
            <a:r>
              <a:rPr lang="en-US" dirty="0" err="1"/>
              <a:t>theo</a:t>
            </a:r>
            <a:r>
              <a:rPr lang="en-US" dirty="0"/>
              <a:t> ý </a:t>
            </a:r>
            <a:r>
              <a:rPr lang="en-US" dirty="0" err="1"/>
              <a:t>muốn</a:t>
            </a:r>
            <a:r>
              <a:rPr lang="en-US" dirty="0"/>
              <a:t> (VD: 10s, 20s, … l</a:t>
            </a:r>
            <a:r>
              <a:rPr lang="vi-VN" dirty="0"/>
              <a:t>ư</a:t>
            </a:r>
            <a:r>
              <a:rPr lang="en-US" dirty="0"/>
              <a:t>u ý </a:t>
            </a:r>
            <a:r>
              <a:rPr lang="en-US" dirty="0" err="1"/>
              <a:t>hiệu</a:t>
            </a:r>
            <a:r>
              <a:rPr lang="en-US" dirty="0"/>
              <a:t> </a:t>
            </a:r>
            <a:r>
              <a:rPr lang="en-US" dirty="0" err="1"/>
              <a:t>ứng</a:t>
            </a:r>
            <a:r>
              <a:rPr lang="en-US" dirty="0"/>
              <a:t> </a:t>
            </a:r>
            <a:r>
              <a:rPr lang="en-US" dirty="0" err="1"/>
              <a:t>chỉ</a:t>
            </a:r>
            <a:r>
              <a:rPr lang="en-US" dirty="0"/>
              <a:t> </a:t>
            </a:r>
            <a:r>
              <a:rPr lang="en-US" dirty="0" err="1"/>
              <a:t>đếm</a:t>
            </a:r>
            <a:r>
              <a:rPr lang="en-US" dirty="0"/>
              <a:t> </a:t>
            </a:r>
            <a:r>
              <a:rPr lang="en-US" dirty="0" err="1"/>
              <a:t>tối</a:t>
            </a:r>
            <a:r>
              <a:rPr lang="en-US" dirty="0"/>
              <a:t> </a:t>
            </a:r>
            <a:r>
              <a:rPr lang="en-US" dirty="0" err="1"/>
              <a:t>đa</a:t>
            </a:r>
            <a:r>
              <a:rPr lang="en-US" dirty="0"/>
              <a:t> 60s</a:t>
            </a:r>
            <a:r>
              <a:rPr lang="en-US" i="1" dirty="0"/>
              <a:t>). </a:t>
            </a:r>
            <a:r>
              <a:rPr lang="en-US" i="1" dirty="0" err="1"/>
              <a:t>Làm</a:t>
            </a:r>
            <a:r>
              <a:rPr lang="en-US" i="1" dirty="0"/>
              <a:t> t</a:t>
            </a:r>
            <a:r>
              <a:rPr lang="vi-VN" i="1" dirty="0"/>
              <a:t>ư</a:t>
            </a:r>
            <a:r>
              <a:rPr lang="en-US" i="1" dirty="0" err="1"/>
              <a:t>ơng</a:t>
            </a:r>
            <a:r>
              <a:rPr lang="en-US" i="1" dirty="0"/>
              <a:t> </a:t>
            </a:r>
            <a:r>
              <a:rPr lang="en-US" i="1" dirty="0" err="1"/>
              <a:t>tự</a:t>
            </a:r>
            <a:r>
              <a:rPr lang="en-US" i="1" dirty="0"/>
              <a:t> </a:t>
            </a:r>
            <a:r>
              <a:rPr lang="en-US" i="1" dirty="0" err="1"/>
              <a:t>với</a:t>
            </a:r>
            <a:r>
              <a:rPr lang="en-US" i="1" dirty="0"/>
              <a:t> </a:t>
            </a:r>
            <a:r>
              <a:rPr lang="en-US" i="1" dirty="0" err="1"/>
              <a:t>các</a:t>
            </a:r>
            <a:r>
              <a:rPr lang="en-US" i="1" dirty="0"/>
              <a:t> slide </a:t>
            </a:r>
            <a:r>
              <a:rPr lang="en-US" i="1" dirty="0" err="1"/>
              <a:t>câu</a:t>
            </a:r>
            <a:r>
              <a:rPr lang="en-US" i="1" dirty="0"/>
              <a:t> </a:t>
            </a:r>
            <a:r>
              <a:rPr lang="en-US" i="1" dirty="0" err="1"/>
              <a:t>hỏi</a:t>
            </a:r>
            <a:r>
              <a:rPr lang="en-US" i="1" dirty="0"/>
              <a:t> </a:t>
            </a:r>
            <a:r>
              <a:rPr lang="en-US" i="1" dirty="0" err="1"/>
              <a:t>còn</a:t>
            </a:r>
            <a:r>
              <a:rPr lang="en-US" i="1" dirty="0"/>
              <a:t> </a:t>
            </a:r>
            <a:r>
              <a:rPr lang="en-US" i="1" dirty="0" err="1"/>
              <a:t>lại</a:t>
            </a:r>
            <a:r>
              <a:rPr lang="en-US" i="1" dirty="0"/>
              <a:t>.</a:t>
            </a:r>
            <a:br>
              <a:rPr lang="en-US" i="1" dirty="0"/>
            </a:br>
            <a:r>
              <a:rPr lang="en-US" dirty="0"/>
              <a:t>Sau </a:t>
            </a:r>
            <a:r>
              <a:rPr lang="en-US" dirty="0" err="1"/>
              <a:t>khi</a:t>
            </a:r>
            <a:r>
              <a:rPr lang="en-US" dirty="0"/>
              <a:t> HS </a:t>
            </a:r>
            <a:r>
              <a:rPr lang="en-US" dirty="0" err="1"/>
              <a:t>trả</a:t>
            </a:r>
            <a:r>
              <a:rPr lang="en-US" dirty="0"/>
              <a:t> </a:t>
            </a:r>
            <a:r>
              <a:rPr lang="en-US" dirty="0" err="1"/>
              <a:t>lời</a:t>
            </a:r>
            <a:r>
              <a:rPr lang="en-US" dirty="0"/>
              <a:t>, </a:t>
            </a:r>
            <a:r>
              <a:rPr lang="en-US" dirty="0" err="1"/>
              <a:t>nhấp</a:t>
            </a:r>
            <a:r>
              <a:rPr lang="en-US" dirty="0"/>
              <a:t> </a:t>
            </a:r>
            <a:r>
              <a:rPr lang="en-US" dirty="0" err="1"/>
              <a:t>vào</a:t>
            </a:r>
            <a:r>
              <a:rPr lang="en-US" dirty="0"/>
              <a:t> </a:t>
            </a:r>
            <a:r>
              <a:rPr lang="en-US" dirty="0" err="1"/>
              <a:t>đáp</a:t>
            </a:r>
            <a:r>
              <a:rPr lang="en-US" dirty="0"/>
              <a:t> </a:t>
            </a:r>
            <a:r>
              <a:rPr lang="en-US" dirty="0" err="1"/>
              <a:t>án</a:t>
            </a:r>
            <a:r>
              <a:rPr lang="en-US" dirty="0"/>
              <a:t> </a:t>
            </a:r>
            <a:r>
              <a:rPr lang="en-US" dirty="0" err="1"/>
              <a:t>học</a:t>
            </a:r>
            <a:r>
              <a:rPr lang="en-US" dirty="0"/>
              <a:t> </a:t>
            </a:r>
            <a:r>
              <a:rPr lang="en-US" dirty="0" err="1"/>
              <a:t>sinh</a:t>
            </a:r>
            <a:r>
              <a:rPr lang="en-US" dirty="0"/>
              <a:t> </a:t>
            </a:r>
            <a:r>
              <a:rPr lang="en-US" dirty="0" err="1"/>
              <a:t>chọn</a:t>
            </a:r>
            <a:r>
              <a:rPr lang="en-US" dirty="0"/>
              <a:t> </a:t>
            </a:r>
            <a:r>
              <a:rPr lang="en-US" dirty="0" err="1"/>
              <a:t>để</a:t>
            </a:r>
            <a:r>
              <a:rPr lang="en-US" dirty="0"/>
              <a:t> </a:t>
            </a:r>
            <a:r>
              <a:rPr lang="en-US" dirty="0" err="1"/>
              <a:t>kiểm</a:t>
            </a:r>
            <a:r>
              <a:rPr lang="en-US" dirty="0"/>
              <a:t> </a:t>
            </a:r>
            <a:r>
              <a:rPr lang="en-US" dirty="0" err="1"/>
              <a:t>tra</a:t>
            </a:r>
            <a:r>
              <a:rPr lang="en-US" dirty="0"/>
              <a:t> </a:t>
            </a:r>
            <a:r>
              <a:rPr lang="en-US" dirty="0" err="1"/>
              <a:t>đúng</a:t>
            </a:r>
            <a:r>
              <a:rPr lang="en-US" dirty="0"/>
              <a:t> </a:t>
            </a:r>
            <a:r>
              <a:rPr lang="en-US" dirty="0" err="1"/>
              <a:t>sai</a:t>
            </a:r>
            <a:r>
              <a:rPr lang="en-US" dirty="0"/>
              <a:t>. </a:t>
            </a:r>
            <a:br>
              <a:rPr lang="en-US" dirty="0"/>
            </a:br>
            <a:r>
              <a:rPr lang="en-US" dirty="0" err="1"/>
              <a:t>Nhấp</a:t>
            </a:r>
            <a:r>
              <a:rPr lang="en-US" dirty="0"/>
              <a:t> </a:t>
            </a:r>
            <a:r>
              <a:rPr lang="en-US" dirty="0" err="1"/>
              <a:t>vào</a:t>
            </a:r>
            <a:r>
              <a:rPr lang="en-US" dirty="0"/>
              <a:t> </a:t>
            </a:r>
            <a:r>
              <a:rPr lang="en-US" b="1" i="1" dirty="0" err="1"/>
              <a:t>hình</a:t>
            </a:r>
            <a:r>
              <a:rPr lang="en-US" b="1" i="1" dirty="0"/>
              <a:t> </a:t>
            </a:r>
            <a:r>
              <a:rPr lang="en-US" b="1" i="1" dirty="0" err="1"/>
              <a:t>tên</a:t>
            </a:r>
            <a:r>
              <a:rPr lang="en-US" b="1" i="1" dirty="0"/>
              <a:t> </a:t>
            </a:r>
            <a:r>
              <a:rPr lang="en-US" b="1" i="1" dirty="0" err="1"/>
              <a:t>lửa</a:t>
            </a:r>
            <a:r>
              <a:rPr lang="en-US" b="1" i="1" dirty="0"/>
              <a:t> </a:t>
            </a:r>
            <a:r>
              <a:rPr lang="en-US" b="1" i="1" dirty="0" err="1"/>
              <a:t>để</a:t>
            </a:r>
            <a:r>
              <a:rPr lang="en-US" b="1" i="1" dirty="0"/>
              <a:t> quay </a:t>
            </a:r>
            <a:r>
              <a:rPr lang="en-US" b="1" i="1" dirty="0" err="1"/>
              <a:t>về</a:t>
            </a:r>
            <a:r>
              <a:rPr lang="en-US" b="1" i="1" dirty="0"/>
              <a:t> </a:t>
            </a:r>
            <a:r>
              <a:rPr lang="en-US" b="1" i="1" dirty="0" err="1"/>
              <a:t>trang</a:t>
            </a:r>
            <a:r>
              <a:rPr lang="en-US" b="1" i="1" dirty="0"/>
              <a:t> </a:t>
            </a:r>
            <a:r>
              <a:rPr lang="en-US" b="1" i="1" dirty="0" err="1"/>
              <a:t>chính</a:t>
            </a:r>
            <a:r>
              <a:rPr lang="en-US" dirty="0"/>
              <a:t>.</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1BD95568-98E1-4F58-8C39-BFC148F1895C}" type="slidenum">
              <a:rPr kumimoji="0" lang="en-US" sz="14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5129385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a:t>
            </a:r>
            <a:r>
              <a:rPr lang="vi-VN" dirty="0"/>
              <a:t>ư</a:t>
            </a:r>
            <a:r>
              <a:rPr lang="en-US" dirty="0" err="1"/>
              <a:t>ớng</a:t>
            </a:r>
            <a:r>
              <a:rPr lang="en-US" dirty="0"/>
              <a:t> </a:t>
            </a:r>
            <a:r>
              <a:rPr lang="en-US" dirty="0" err="1"/>
              <a:t>dẫn</a:t>
            </a:r>
            <a:r>
              <a:rPr lang="en-US" dirty="0"/>
              <a:t> </a:t>
            </a:r>
            <a:r>
              <a:rPr lang="en-US" dirty="0" err="1"/>
              <a:t>thay</a:t>
            </a:r>
            <a:r>
              <a:rPr lang="en-US" dirty="0"/>
              <a:t> </a:t>
            </a:r>
            <a:r>
              <a:rPr lang="en-US" dirty="0" err="1"/>
              <a:t>đổi</a:t>
            </a:r>
            <a:r>
              <a:rPr lang="en-US" dirty="0"/>
              <a:t> </a:t>
            </a:r>
            <a:r>
              <a:rPr lang="en-US" dirty="0" err="1"/>
              <a:t>thời</a:t>
            </a:r>
            <a:r>
              <a:rPr lang="en-US" dirty="0"/>
              <a:t> </a:t>
            </a:r>
            <a:r>
              <a:rPr lang="en-US" dirty="0" err="1"/>
              <a:t>gian</a:t>
            </a:r>
            <a:r>
              <a:rPr lang="en-US" dirty="0"/>
              <a:t> </a:t>
            </a:r>
            <a:r>
              <a:rPr lang="en-US" dirty="0" err="1"/>
              <a:t>trả</a:t>
            </a:r>
            <a:r>
              <a:rPr lang="en-US" dirty="0"/>
              <a:t> </a:t>
            </a:r>
            <a:r>
              <a:rPr lang="en-US" dirty="0" err="1"/>
              <a:t>lời</a:t>
            </a:r>
            <a:r>
              <a:rPr lang="en-US" dirty="0"/>
              <a:t> </a:t>
            </a:r>
            <a:r>
              <a:rPr lang="en-US" dirty="0" err="1"/>
              <a:t>câu</a:t>
            </a:r>
            <a:r>
              <a:rPr lang="en-US" dirty="0"/>
              <a:t> </a:t>
            </a:r>
            <a:r>
              <a:rPr lang="en-US" dirty="0" err="1"/>
              <a:t>hỏi</a:t>
            </a:r>
            <a:r>
              <a:rPr lang="en-US" dirty="0"/>
              <a:t>: </a:t>
            </a:r>
            <a:r>
              <a:rPr lang="en-US" dirty="0" err="1"/>
              <a:t>Nhấp</a:t>
            </a:r>
            <a:r>
              <a:rPr lang="en-US" dirty="0"/>
              <a:t> </a:t>
            </a:r>
            <a:r>
              <a:rPr lang="en-US" b="1" dirty="0"/>
              <a:t>Animation</a:t>
            </a:r>
            <a:r>
              <a:rPr lang="en-US" dirty="0"/>
              <a:t> -&gt; </a:t>
            </a:r>
            <a:r>
              <a:rPr lang="en-US" dirty="0" err="1"/>
              <a:t>Nhấp</a:t>
            </a:r>
            <a:r>
              <a:rPr lang="en-US" dirty="0"/>
              <a:t> </a:t>
            </a:r>
            <a:r>
              <a:rPr lang="en-US" b="1" dirty="0"/>
              <a:t>Animation Pane </a:t>
            </a:r>
            <a:r>
              <a:rPr lang="en-US" dirty="0"/>
              <a:t>-&gt; </a:t>
            </a:r>
            <a:r>
              <a:rPr lang="en-US" dirty="0" err="1"/>
              <a:t>Giữ</a:t>
            </a:r>
            <a:r>
              <a:rPr lang="en-US" dirty="0"/>
              <a:t> </a:t>
            </a:r>
            <a:r>
              <a:rPr lang="en-US" b="1" dirty="0" err="1"/>
              <a:t>phím</a:t>
            </a:r>
            <a:r>
              <a:rPr lang="en-US" b="1" dirty="0"/>
              <a:t> Ctrl </a:t>
            </a:r>
            <a:r>
              <a:rPr lang="en-US" dirty="0" err="1"/>
              <a:t>chọn</a:t>
            </a:r>
            <a:r>
              <a:rPr lang="en-US" dirty="0"/>
              <a:t> </a:t>
            </a:r>
            <a:r>
              <a:rPr lang="en-US" b="1" dirty="0"/>
              <a:t>Content </a:t>
            </a:r>
            <a:r>
              <a:rPr lang="en-US" b="1" dirty="0" err="1"/>
              <a:t>Placehoder</a:t>
            </a:r>
            <a:r>
              <a:rPr lang="en-US" b="1" dirty="0"/>
              <a:t> 12 </a:t>
            </a:r>
            <a:r>
              <a:rPr lang="en-US" dirty="0" err="1"/>
              <a:t>và</a:t>
            </a:r>
            <a:r>
              <a:rPr lang="en-US" dirty="0"/>
              <a:t> </a:t>
            </a:r>
            <a:r>
              <a:rPr lang="en-US" b="1" dirty="0"/>
              <a:t>Picture 26 </a:t>
            </a:r>
            <a:r>
              <a:rPr lang="en-US" dirty="0"/>
              <a:t>-&gt; </a:t>
            </a:r>
            <a:r>
              <a:rPr lang="en-US" dirty="0" err="1"/>
              <a:t>Nhìn</a:t>
            </a:r>
            <a:r>
              <a:rPr lang="en-US" dirty="0"/>
              <a:t> </a:t>
            </a:r>
            <a:r>
              <a:rPr lang="en-US" dirty="0" err="1"/>
              <a:t>lên</a:t>
            </a:r>
            <a:r>
              <a:rPr lang="en-US" dirty="0"/>
              <a:t> </a:t>
            </a:r>
            <a:r>
              <a:rPr lang="en-US" dirty="0" err="1"/>
              <a:t>thanh</a:t>
            </a:r>
            <a:r>
              <a:rPr lang="en-US" dirty="0"/>
              <a:t> </a:t>
            </a:r>
            <a:r>
              <a:rPr lang="en-US" dirty="0" err="1"/>
              <a:t>công</a:t>
            </a:r>
            <a:r>
              <a:rPr lang="en-US" dirty="0"/>
              <a:t> </a:t>
            </a:r>
            <a:r>
              <a:rPr lang="en-US" dirty="0" err="1"/>
              <a:t>cụ</a:t>
            </a:r>
            <a:r>
              <a:rPr lang="en-US" dirty="0"/>
              <a:t>, </a:t>
            </a:r>
            <a:r>
              <a:rPr lang="en-US" dirty="0" err="1"/>
              <a:t>tìm</a:t>
            </a:r>
            <a:r>
              <a:rPr lang="en-US" dirty="0"/>
              <a:t> </a:t>
            </a:r>
            <a:r>
              <a:rPr lang="en-US" b="1" dirty="0"/>
              <a:t>Duration</a:t>
            </a:r>
            <a:r>
              <a:rPr lang="en-US" dirty="0"/>
              <a:t>: </a:t>
            </a:r>
            <a:r>
              <a:rPr lang="en-US" dirty="0" err="1"/>
              <a:t>Chỉnh</a:t>
            </a:r>
            <a:r>
              <a:rPr lang="en-US" dirty="0"/>
              <a:t> </a:t>
            </a:r>
            <a:r>
              <a:rPr lang="en-US" dirty="0" err="1"/>
              <a:t>thời</a:t>
            </a:r>
            <a:r>
              <a:rPr lang="en-US" dirty="0"/>
              <a:t> </a:t>
            </a:r>
            <a:r>
              <a:rPr lang="en-US" dirty="0" err="1"/>
              <a:t>gian</a:t>
            </a:r>
            <a:r>
              <a:rPr lang="en-US" dirty="0"/>
              <a:t> </a:t>
            </a:r>
            <a:r>
              <a:rPr lang="en-US" dirty="0" err="1"/>
              <a:t>lại</a:t>
            </a:r>
            <a:r>
              <a:rPr lang="en-US" dirty="0"/>
              <a:t> </a:t>
            </a:r>
            <a:r>
              <a:rPr lang="en-US" dirty="0" err="1"/>
              <a:t>theo</a:t>
            </a:r>
            <a:r>
              <a:rPr lang="en-US" dirty="0"/>
              <a:t> ý </a:t>
            </a:r>
            <a:r>
              <a:rPr lang="en-US" dirty="0" err="1"/>
              <a:t>muốn</a:t>
            </a:r>
            <a:r>
              <a:rPr lang="en-US" dirty="0"/>
              <a:t> (VD: 10s, 20s, … l</a:t>
            </a:r>
            <a:r>
              <a:rPr lang="vi-VN" dirty="0"/>
              <a:t>ư</a:t>
            </a:r>
            <a:r>
              <a:rPr lang="en-US" dirty="0"/>
              <a:t>u ý </a:t>
            </a:r>
            <a:r>
              <a:rPr lang="en-US" dirty="0" err="1"/>
              <a:t>hiệu</a:t>
            </a:r>
            <a:r>
              <a:rPr lang="en-US" dirty="0"/>
              <a:t> </a:t>
            </a:r>
            <a:r>
              <a:rPr lang="en-US" dirty="0" err="1"/>
              <a:t>ứng</a:t>
            </a:r>
            <a:r>
              <a:rPr lang="en-US" dirty="0"/>
              <a:t> </a:t>
            </a:r>
            <a:r>
              <a:rPr lang="en-US" dirty="0" err="1"/>
              <a:t>chỉ</a:t>
            </a:r>
            <a:r>
              <a:rPr lang="en-US" dirty="0"/>
              <a:t> </a:t>
            </a:r>
            <a:r>
              <a:rPr lang="en-US" dirty="0" err="1"/>
              <a:t>đếm</a:t>
            </a:r>
            <a:r>
              <a:rPr lang="en-US" dirty="0"/>
              <a:t> </a:t>
            </a:r>
            <a:r>
              <a:rPr lang="en-US" dirty="0" err="1"/>
              <a:t>tối</a:t>
            </a:r>
            <a:r>
              <a:rPr lang="en-US" dirty="0"/>
              <a:t> </a:t>
            </a:r>
            <a:r>
              <a:rPr lang="en-US" dirty="0" err="1"/>
              <a:t>đa</a:t>
            </a:r>
            <a:r>
              <a:rPr lang="en-US" dirty="0"/>
              <a:t> 60s</a:t>
            </a:r>
            <a:r>
              <a:rPr lang="en-US" i="1" dirty="0"/>
              <a:t>). </a:t>
            </a:r>
            <a:r>
              <a:rPr lang="en-US" i="1" dirty="0" err="1"/>
              <a:t>Làm</a:t>
            </a:r>
            <a:r>
              <a:rPr lang="en-US" i="1" dirty="0"/>
              <a:t> t</a:t>
            </a:r>
            <a:r>
              <a:rPr lang="vi-VN" i="1" dirty="0"/>
              <a:t>ư</a:t>
            </a:r>
            <a:r>
              <a:rPr lang="en-US" i="1" dirty="0" err="1"/>
              <a:t>ơng</a:t>
            </a:r>
            <a:r>
              <a:rPr lang="en-US" i="1" dirty="0"/>
              <a:t> </a:t>
            </a:r>
            <a:r>
              <a:rPr lang="en-US" i="1" dirty="0" err="1"/>
              <a:t>tự</a:t>
            </a:r>
            <a:r>
              <a:rPr lang="en-US" i="1" dirty="0"/>
              <a:t> </a:t>
            </a:r>
            <a:r>
              <a:rPr lang="en-US" i="1" dirty="0" err="1"/>
              <a:t>với</a:t>
            </a:r>
            <a:r>
              <a:rPr lang="en-US" i="1" dirty="0"/>
              <a:t> </a:t>
            </a:r>
            <a:r>
              <a:rPr lang="en-US" i="1" dirty="0" err="1"/>
              <a:t>các</a:t>
            </a:r>
            <a:r>
              <a:rPr lang="en-US" i="1" dirty="0"/>
              <a:t> slide </a:t>
            </a:r>
            <a:r>
              <a:rPr lang="en-US" i="1" dirty="0" err="1"/>
              <a:t>câu</a:t>
            </a:r>
            <a:r>
              <a:rPr lang="en-US" i="1" dirty="0"/>
              <a:t> </a:t>
            </a:r>
            <a:r>
              <a:rPr lang="en-US" i="1" dirty="0" err="1"/>
              <a:t>hỏi</a:t>
            </a:r>
            <a:r>
              <a:rPr lang="en-US" i="1" dirty="0"/>
              <a:t> </a:t>
            </a:r>
            <a:r>
              <a:rPr lang="en-US" i="1" dirty="0" err="1"/>
              <a:t>còn</a:t>
            </a:r>
            <a:r>
              <a:rPr lang="en-US" i="1" dirty="0"/>
              <a:t> </a:t>
            </a:r>
            <a:r>
              <a:rPr lang="en-US" i="1" dirty="0" err="1"/>
              <a:t>lại</a:t>
            </a:r>
            <a:r>
              <a:rPr lang="en-US" i="1" dirty="0"/>
              <a:t>.</a:t>
            </a:r>
            <a:br>
              <a:rPr lang="en-US" i="1" dirty="0"/>
            </a:br>
            <a:r>
              <a:rPr lang="en-US" dirty="0"/>
              <a:t>Sau </a:t>
            </a:r>
            <a:r>
              <a:rPr lang="en-US" dirty="0" err="1"/>
              <a:t>khi</a:t>
            </a:r>
            <a:r>
              <a:rPr lang="en-US" dirty="0"/>
              <a:t> HS </a:t>
            </a:r>
            <a:r>
              <a:rPr lang="en-US" dirty="0" err="1"/>
              <a:t>trả</a:t>
            </a:r>
            <a:r>
              <a:rPr lang="en-US" dirty="0"/>
              <a:t> </a:t>
            </a:r>
            <a:r>
              <a:rPr lang="en-US" dirty="0" err="1"/>
              <a:t>lời</a:t>
            </a:r>
            <a:r>
              <a:rPr lang="en-US" dirty="0"/>
              <a:t>, </a:t>
            </a:r>
            <a:r>
              <a:rPr lang="en-US" dirty="0" err="1"/>
              <a:t>nhấp</a:t>
            </a:r>
            <a:r>
              <a:rPr lang="en-US" dirty="0"/>
              <a:t> </a:t>
            </a:r>
            <a:r>
              <a:rPr lang="en-US" dirty="0" err="1"/>
              <a:t>vào</a:t>
            </a:r>
            <a:r>
              <a:rPr lang="en-US" dirty="0"/>
              <a:t> </a:t>
            </a:r>
            <a:r>
              <a:rPr lang="en-US" dirty="0" err="1"/>
              <a:t>đáp</a:t>
            </a:r>
            <a:r>
              <a:rPr lang="en-US" dirty="0"/>
              <a:t> </a:t>
            </a:r>
            <a:r>
              <a:rPr lang="en-US" dirty="0" err="1"/>
              <a:t>án</a:t>
            </a:r>
            <a:r>
              <a:rPr lang="en-US" dirty="0"/>
              <a:t> </a:t>
            </a:r>
            <a:r>
              <a:rPr lang="en-US" dirty="0" err="1"/>
              <a:t>học</a:t>
            </a:r>
            <a:r>
              <a:rPr lang="en-US" dirty="0"/>
              <a:t> </a:t>
            </a:r>
            <a:r>
              <a:rPr lang="en-US" dirty="0" err="1"/>
              <a:t>sinh</a:t>
            </a:r>
            <a:r>
              <a:rPr lang="en-US" dirty="0"/>
              <a:t> </a:t>
            </a:r>
            <a:r>
              <a:rPr lang="en-US" dirty="0" err="1"/>
              <a:t>chọn</a:t>
            </a:r>
            <a:r>
              <a:rPr lang="en-US" dirty="0"/>
              <a:t> </a:t>
            </a:r>
            <a:r>
              <a:rPr lang="en-US" dirty="0" err="1"/>
              <a:t>để</a:t>
            </a:r>
            <a:r>
              <a:rPr lang="en-US" dirty="0"/>
              <a:t> </a:t>
            </a:r>
            <a:r>
              <a:rPr lang="en-US" dirty="0" err="1"/>
              <a:t>kiểm</a:t>
            </a:r>
            <a:r>
              <a:rPr lang="en-US" dirty="0"/>
              <a:t> </a:t>
            </a:r>
            <a:r>
              <a:rPr lang="en-US" dirty="0" err="1"/>
              <a:t>tra</a:t>
            </a:r>
            <a:r>
              <a:rPr lang="en-US" dirty="0"/>
              <a:t> </a:t>
            </a:r>
            <a:r>
              <a:rPr lang="en-US" dirty="0" err="1"/>
              <a:t>đúng</a:t>
            </a:r>
            <a:r>
              <a:rPr lang="en-US" dirty="0"/>
              <a:t> </a:t>
            </a:r>
            <a:r>
              <a:rPr lang="en-US" dirty="0" err="1"/>
              <a:t>sai</a:t>
            </a:r>
            <a:r>
              <a:rPr lang="en-US" dirty="0"/>
              <a:t>. </a:t>
            </a:r>
            <a:br>
              <a:rPr lang="en-US" dirty="0"/>
            </a:br>
            <a:r>
              <a:rPr lang="en-US" dirty="0" err="1"/>
              <a:t>Nhấp</a:t>
            </a:r>
            <a:r>
              <a:rPr lang="en-US" dirty="0"/>
              <a:t> </a:t>
            </a:r>
            <a:r>
              <a:rPr lang="en-US" dirty="0" err="1"/>
              <a:t>vào</a:t>
            </a:r>
            <a:r>
              <a:rPr lang="en-US" dirty="0"/>
              <a:t> </a:t>
            </a:r>
            <a:r>
              <a:rPr lang="en-US" b="1" i="1" dirty="0" err="1"/>
              <a:t>hình</a:t>
            </a:r>
            <a:r>
              <a:rPr lang="en-US" b="1" i="1" dirty="0"/>
              <a:t> </a:t>
            </a:r>
            <a:r>
              <a:rPr lang="en-US" b="1" i="1" dirty="0" err="1"/>
              <a:t>tên</a:t>
            </a:r>
            <a:r>
              <a:rPr lang="en-US" b="1" i="1" dirty="0"/>
              <a:t> </a:t>
            </a:r>
            <a:r>
              <a:rPr lang="en-US" b="1" i="1" dirty="0" err="1"/>
              <a:t>lửa</a:t>
            </a:r>
            <a:r>
              <a:rPr lang="en-US" b="1" i="1" dirty="0"/>
              <a:t> </a:t>
            </a:r>
            <a:r>
              <a:rPr lang="en-US" b="1" i="1" dirty="0" err="1"/>
              <a:t>để</a:t>
            </a:r>
            <a:r>
              <a:rPr lang="en-US" b="1" i="1" dirty="0"/>
              <a:t> quay </a:t>
            </a:r>
            <a:r>
              <a:rPr lang="en-US" b="1" i="1" dirty="0" err="1"/>
              <a:t>về</a:t>
            </a:r>
            <a:r>
              <a:rPr lang="en-US" b="1" i="1" dirty="0"/>
              <a:t> </a:t>
            </a:r>
            <a:r>
              <a:rPr lang="en-US" b="1" i="1" dirty="0" err="1"/>
              <a:t>trang</a:t>
            </a:r>
            <a:r>
              <a:rPr lang="en-US" b="1" i="1" dirty="0"/>
              <a:t> </a:t>
            </a:r>
            <a:r>
              <a:rPr lang="en-US" b="1" i="1" dirty="0" err="1"/>
              <a:t>chính</a:t>
            </a:r>
            <a:r>
              <a:rPr lang="en-US" dirty="0"/>
              <a:t>.</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1BD95568-98E1-4F58-8C39-BFC148F1895C}" type="slidenum">
              <a:rPr kumimoji="0" lang="en-US" sz="14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2</a:t>
            </a:fld>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7069761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a:t>
            </a:r>
            <a:r>
              <a:rPr lang="vi-VN" dirty="0"/>
              <a:t>ư</a:t>
            </a:r>
            <a:r>
              <a:rPr lang="en-US" dirty="0" err="1"/>
              <a:t>ớng</a:t>
            </a:r>
            <a:r>
              <a:rPr lang="en-US" dirty="0"/>
              <a:t> </a:t>
            </a:r>
            <a:r>
              <a:rPr lang="en-US" dirty="0" err="1"/>
              <a:t>dẫn</a:t>
            </a:r>
            <a:r>
              <a:rPr lang="en-US" dirty="0"/>
              <a:t> </a:t>
            </a:r>
            <a:r>
              <a:rPr lang="en-US" dirty="0" err="1"/>
              <a:t>thay</a:t>
            </a:r>
            <a:r>
              <a:rPr lang="en-US" dirty="0"/>
              <a:t> </a:t>
            </a:r>
            <a:r>
              <a:rPr lang="en-US" dirty="0" err="1"/>
              <a:t>đổi</a:t>
            </a:r>
            <a:r>
              <a:rPr lang="en-US" dirty="0"/>
              <a:t> </a:t>
            </a:r>
            <a:r>
              <a:rPr lang="en-US" dirty="0" err="1"/>
              <a:t>thời</a:t>
            </a:r>
            <a:r>
              <a:rPr lang="en-US" dirty="0"/>
              <a:t> </a:t>
            </a:r>
            <a:r>
              <a:rPr lang="en-US" dirty="0" err="1"/>
              <a:t>gian</a:t>
            </a:r>
            <a:r>
              <a:rPr lang="en-US" dirty="0"/>
              <a:t> </a:t>
            </a:r>
            <a:r>
              <a:rPr lang="en-US" dirty="0" err="1"/>
              <a:t>trả</a:t>
            </a:r>
            <a:r>
              <a:rPr lang="en-US" dirty="0"/>
              <a:t> </a:t>
            </a:r>
            <a:r>
              <a:rPr lang="en-US" dirty="0" err="1"/>
              <a:t>lời</a:t>
            </a:r>
            <a:r>
              <a:rPr lang="en-US" dirty="0"/>
              <a:t> </a:t>
            </a:r>
            <a:r>
              <a:rPr lang="en-US" dirty="0" err="1"/>
              <a:t>câu</a:t>
            </a:r>
            <a:r>
              <a:rPr lang="en-US" dirty="0"/>
              <a:t> </a:t>
            </a:r>
            <a:r>
              <a:rPr lang="en-US" dirty="0" err="1"/>
              <a:t>hỏi</a:t>
            </a:r>
            <a:r>
              <a:rPr lang="en-US" dirty="0"/>
              <a:t>: </a:t>
            </a:r>
            <a:r>
              <a:rPr lang="en-US" dirty="0" err="1"/>
              <a:t>Nhấp</a:t>
            </a:r>
            <a:r>
              <a:rPr lang="en-US" dirty="0"/>
              <a:t> </a:t>
            </a:r>
            <a:r>
              <a:rPr lang="en-US" b="1" dirty="0"/>
              <a:t>Animation</a:t>
            </a:r>
            <a:r>
              <a:rPr lang="en-US" dirty="0"/>
              <a:t> -&gt; </a:t>
            </a:r>
            <a:r>
              <a:rPr lang="en-US" dirty="0" err="1"/>
              <a:t>Nhấp</a:t>
            </a:r>
            <a:r>
              <a:rPr lang="en-US" dirty="0"/>
              <a:t> </a:t>
            </a:r>
            <a:r>
              <a:rPr lang="en-US" b="1" dirty="0"/>
              <a:t>Animation Pane </a:t>
            </a:r>
            <a:r>
              <a:rPr lang="en-US" dirty="0"/>
              <a:t>-&gt; </a:t>
            </a:r>
            <a:r>
              <a:rPr lang="en-US" dirty="0" err="1"/>
              <a:t>Giữ</a:t>
            </a:r>
            <a:r>
              <a:rPr lang="en-US" dirty="0"/>
              <a:t> </a:t>
            </a:r>
            <a:r>
              <a:rPr lang="en-US" b="1" dirty="0" err="1"/>
              <a:t>phím</a:t>
            </a:r>
            <a:r>
              <a:rPr lang="en-US" b="1" dirty="0"/>
              <a:t> Ctrl </a:t>
            </a:r>
            <a:r>
              <a:rPr lang="en-US" dirty="0" err="1"/>
              <a:t>chọn</a:t>
            </a:r>
            <a:r>
              <a:rPr lang="en-US" dirty="0"/>
              <a:t> </a:t>
            </a:r>
            <a:r>
              <a:rPr lang="en-US" b="1" dirty="0"/>
              <a:t>Content </a:t>
            </a:r>
            <a:r>
              <a:rPr lang="en-US" b="1" dirty="0" err="1"/>
              <a:t>Placehoder</a:t>
            </a:r>
            <a:r>
              <a:rPr lang="en-US" b="1" dirty="0"/>
              <a:t> 12 </a:t>
            </a:r>
            <a:r>
              <a:rPr lang="en-US" dirty="0" err="1"/>
              <a:t>và</a:t>
            </a:r>
            <a:r>
              <a:rPr lang="en-US" dirty="0"/>
              <a:t> </a:t>
            </a:r>
            <a:r>
              <a:rPr lang="en-US" b="1" dirty="0"/>
              <a:t>Picture 26 </a:t>
            </a:r>
            <a:r>
              <a:rPr lang="en-US" dirty="0"/>
              <a:t>-&gt; </a:t>
            </a:r>
            <a:r>
              <a:rPr lang="en-US" dirty="0" err="1"/>
              <a:t>Nhìn</a:t>
            </a:r>
            <a:r>
              <a:rPr lang="en-US" dirty="0"/>
              <a:t> </a:t>
            </a:r>
            <a:r>
              <a:rPr lang="en-US" dirty="0" err="1"/>
              <a:t>lên</a:t>
            </a:r>
            <a:r>
              <a:rPr lang="en-US" dirty="0"/>
              <a:t> </a:t>
            </a:r>
            <a:r>
              <a:rPr lang="en-US" dirty="0" err="1"/>
              <a:t>thanh</a:t>
            </a:r>
            <a:r>
              <a:rPr lang="en-US" dirty="0"/>
              <a:t> </a:t>
            </a:r>
            <a:r>
              <a:rPr lang="en-US" dirty="0" err="1"/>
              <a:t>công</a:t>
            </a:r>
            <a:r>
              <a:rPr lang="en-US" dirty="0"/>
              <a:t> </a:t>
            </a:r>
            <a:r>
              <a:rPr lang="en-US" dirty="0" err="1"/>
              <a:t>cụ</a:t>
            </a:r>
            <a:r>
              <a:rPr lang="en-US" dirty="0"/>
              <a:t>, </a:t>
            </a:r>
            <a:r>
              <a:rPr lang="en-US" dirty="0" err="1"/>
              <a:t>tìm</a:t>
            </a:r>
            <a:r>
              <a:rPr lang="en-US" dirty="0"/>
              <a:t> </a:t>
            </a:r>
            <a:r>
              <a:rPr lang="en-US" b="1" dirty="0"/>
              <a:t>Duration</a:t>
            </a:r>
            <a:r>
              <a:rPr lang="en-US" dirty="0"/>
              <a:t>: </a:t>
            </a:r>
            <a:r>
              <a:rPr lang="en-US" dirty="0" err="1"/>
              <a:t>Chỉnh</a:t>
            </a:r>
            <a:r>
              <a:rPr lang="en-US" dirty="0"/>
              <a:t> </a:t>
            </a:r>
            <a:r>
              <a:rPr lang="en-US" dirty="0" err="1"/>
              <a:t>thời</a:t>
            </a:r>
            <a:r>
              <a:rPr lang="en-US" dirty="0"/>
              <a:t> </a:t>
            </a:r>
            <a:r>
              <a:rPr lang="en-US" dirty="0" err="1"/>
              <a:t>gian</a:t>
            </a:r>
            <a:r>
              <a:rPr lang="en-US" dirty="0"/>
              <a:t> </a:t>
            </a:r>
            <a:r>
              <a:rPr lang="en-US" dirty="0" err="1"/>
              <a:t>lại</a:t>
            </a:r>
            <a:r>
              <a:rPr lang="en-US" dirty="0"/>
              <a:t> </a:t>
            </a:r>
            <a:r>
              <a:rPr lang="en-US" dirty="0" err="1"/>
              <a:t>theo</a:t>
            </a:r>
            <a:r>
              <a:rPr lang="en-US" dirty="0"/>
              <a:t> ý </a:t>
            </a:r>
            <a:r>
              <a:rPr lang="en-US" dirty="0" err="1"/>
              <a:t>muốn</a:t>
            </a:r>
            <a:r>
              <a:rPr lang="en-US" dirty="0"/>
              <a:t> (VD: 10s, 20s, … l</a:t>
            </a:r>
            <a:r>
              <a:rPr lang="vi-VN" dirty="0"/>
              <a:t>ư</a:t>
            </a:r>
            <a:r>
              <a:rPr lang="en-US" dirty="0"/>
              <a:t>u ý </a:t>
            </a:r>
            <a:r>
              <a:rPr lang="en-US" dirty="0" err="1"/>
              <a:t>hiệu</a:t>
            </a:r>
            <a:r>
              <a:rPr lang="en-US" dirty="0"/>
              <a:t> </a:t>
            </a:r>
            <a:r>
              <a:rPr lang="en-US" dirty="0" err="1"/>
              <a:t>ứng</a:t>
            </a:r>
            <a:r>
              <a:rPr lang="en-US" dirty="0"/>
              <a:t> </a:t>
            </a:r>
            <a:r>
              <a:rPr lang="en-US" dirty="0" err="1"/>
              <a:t>chỉ</a:t>
            </a:r>
            <a:r>
              <a:rPr lang="en-US" dirty="0"/>
              <a:t> </a:t>
            </a:r>
            <a:r>
              <a:rPr lang="en-US" dirty="0" err="1"/>
              <a:t>đếm</a:t>
            </a:r>
            <a:r>
              <a:rPr lang="en-US" dirty="0"/>
              <a:t> </a:t>
            </a:r>
            <a:r>
              <a:rPr lang="en-US" dirty="0" err="1"/>
              <a:t>tối</a:t>
            </a:r>
            <a:r>
              <a:rPr lang="en-US" dirty="0"/>
              <a:t> </a:t>
            </a:r>
            <a:r>
              <a:rPr lang="en-US" dirty="0" err="1"/>
              <a:t>đa</a:t>
            </a:r>
            <a:r>
              <a:rPr lang="en-US" dirty="0"/>
              <a:t> 60s</a:t>
            </a:r>
            <a:r>
              <a:rPr lang="en-US" i="1" dirty="0"/>
              <a:t>). </a:t>
            </a:r>
            <a:r>
              <a:rPr lang="en-US" i="1" dirty="0" err="1"/>
              <a:t>Làm</a:t>
            </a:r>
            <a:r>
              <a:rPr lang="en-US" i="1" dirty="0"/>
              <a:t> t</a:t>
            </a:r>
            <a:r>
              <a:rPr lang="vi-VN" i="1" dirty="0"/>
              <a:t>ư</a:t>
            </a:r>
            <a:r>
              <a:rPr lang="en-US" i="1" dirty="0" err="1"/>
              <a:t>ơng</a:t>
            </a:r>
            <a:r>
              <a:rPr lang="en-US" i="1" dirty="0"/>
              <a:t> </a:t>
            </a:r>
            <a:r>
              <a:rPr lang="en-US" i="1" dirty="0" err="1"/>
              <a:t>tự</a:t>
            </a:r>
            <a:r>
              <a:rPr lang="en-US" i="1" dirty="0"/>
              <a:t> </a:t>
            </a:r>
            <a:r>
              <a:rPr lang="en-US" i="1" dirty="0" err="1"/>
              <a:t>với</a:t>
            </a:r>
            <a:r>
              <a:rPr lang="en-US" i="1" dirty="0"/>
              <a:t> </a:t>
            </a:r>
            <a:r>
              <a:rPr lang="en-US" i="1" dirty="0" err="1"/>
              <a:t>các</a:t>
            </a:r>
            <a:r>
              <a:rPr lang="en-US" i="1" dirty="0"/>
              <a:t> slide </a:t>
            </a:r>
            <a:r>
              <a:rPr lang="en-US" i="1" dirty="0" err="1"/>
              <a:t>câu</a:t>
            </a:r>
            <a:r>
              <a:rPr lang="en-US" i="1" dirty="0"/>
              <a:t> </a:t>
            </a:r>
            <a:r>
              <a:rPr lang="en-US" i="1" dirty="0" err="1"/>
              <a:t>hỏi</a:t>
            </a:r>
            <a:r>
              <a:rPr lang="en-US" i="1" dirty="0"/>
              <a:t> </a:t>
            </a:r>
            <a:r>
              <a:rPr lang="en-US" i="1" dirty="0" err="1"/>
              <a:t>còn</a:t>
            </a:r>
            <a:r>
              <a:rPr lang="en-US" i="1" dirty="0"/>
              <a:t> </a:t>
            </a:r>
            <a:r>
              <a:rPr lang="en-US" i="1" dirty="0" err="1"/>
              <a:t>lại</a:t>
            </a:r>
            <a:r>
              <a:rPr lang="en-US" i="1" dirty="0"/>
              <a:t>.</a:t>
            </a:r>
            <a:br>
              <a:rPr lang="en-US" i="1" dirty="0"/>
            </a:br>
            <a:r>
              <a:rPr lang="en-US" dirty="0"/>
              <a:t>Sau </a:t>
            </a:r>
            <a:r>
              <a:rPr lang="en-US" dirty="0" err="1"/>
              <a:t>khi</a:t>
            </a:r>
            <a:r>
              <a:rPr lang="en-US" dirty="0"/>
              <a:t> HS </a:t>
            </a:r>
            <a:r>
              <a:rPr lang="en-US" dirty="0" err="1"/>
              <a:t>trả</a:t>
            </a:r>
            <a:r>
              <a:rPr lang="en-US" dirty="0"/>
              <a:t> </a:t>
            </a:r>
            <a:r>
              <a:rPr lang="en-US" dirty="0" err="1"/>
              <a:t>lời</a:t>
            </a:r>
            <a:r>
              <a:rPr lang="en-US" dirty="0"/>
              <a:t>, </a:t>
            </a:r>
            <a:r>
              <a:rPr lang="en-US" dirty="0" err="1"/>
              <a:t>nhấp</a:t>
            </a:r>
            <a:r>
              <a:rPr lang="en-US" dirty="0"/>
              <a:t> </a:t>
            </a:r>
            <a:r>
              <a:rPr lang="en-US" dirty="0" err="1"/>
              <a:t>vào</a:t>
            </a:r>
            <a:r>
              <a:rPr lang="en-US" dirty="0"/>
              <a:t> </a:t>
            </a:r>
            <a:r>
              <a:rPr lang="en-US" dirty="0" err="1"/>
              <a:t>đáp</a:t>
            </a:r>
            <a:r>
              <a:rPr lang="en-US" dirty="0"/>
              <a:t> </a:t>
            </a:r>
            <a:r>
              <a:rPr lang="en-US" dirty="0" err="1"/>
              <a:t>án</a:t>
            </a:r>
            <a:r>
              <a:rPr lang="en-US" dirty="0"/>
              <a:t> </a:t>
            </a:r>
            <a:r>
              <a:rPr lang="en-US" dirty="0" err="1"/>
              <a:t>học</a:t>
            </a:r>
            <a:r>
              <a:rPr lang="en-US" dirty="0"/>
              <a:t> </a:t>
            </a:r>
            <a:r>
              <a:rPr lang="en-US" dirty="0" err="1"/>
              <a:t>sinh</a:t>
            </a:r>
            <a:r>
              <a:rPr lang="en-US" dirty="0"/>
              <a:t> </a:t>
            </a:r>
            <a:r>
              <a:rPr lang="en-US" dirty="0" err="1"/>
              <a:t>chọn</a:t>
            </a:r>
            <a:r>
              <a:rPr lang="en-US" dirty="0"/>
              <a:t> </a:t>
            </a:r>
            <a:r>
              <a:rPr lang="en-US" dirty="0" err="1"/>
              <a:t>để</a:t>
            </a:r>
            <a:r>
              <a:rPr lang="en-US" dirty="0"/>
              <a:t> </a:t>
            </a:r>
            <a:r>
              <a:rPr lang="en-US" dirty="0" err="1"/>
              <a:t>kiểm</a:t>
            </a:r>
            <a:r>
              <a:rPr lang="en-US" dirty="0"/>
              <a:t> </a:t>
            </a:r>
            <a:r>
              <a:rPr lang="en-US" dirty="0" err="1"/>
              <a:t>tra</a:t>
            </a:r>
            <a:r>
              <a:rPr lang="en-US" dirty="0"/>
              <a:t> </a:t>
            </a:r>
            <a:r>
              <a:rPr lang="en-US" dirty="0" err="1"/>
              <a:t>đúng</a:t>
            </a:r>
            <a:r>
              <a:rPr lang="en-US" dirty="0"/>
              <a:t> </a:t>
            </a:r>
            <a:r>
              <a:rPr lang="en-US" dirty="0" err="1"/>
              <a:t>sai</a:t>
            </a:r>
            <a:r>
              <a:rPr lang="en-US" dirty="0"/>
              <a:t>. </a:t>
            </a:r>
            <a:br>
              <a:rPr lang="en-US" dirty="0"/>
            </a:br>
            <a:r>
              <a:rPr lang="en-US" dirty="0" err="1"/>
              <a:t>Nhấp</a:t>
            </a:r>
            <a:r>
              <a:rPr lang="en-US" dirty="0"/>
              <a:t> </a:t>
            </a:r>
            <a:r>
              <a:rPr lang="en-US" dirty="0" err="1"/>
              <a:t>vào</a:t>
            </a:r>
            <a:r>
              <a:rPr lang="en-US" dirty="0"/>
              <a:t> </a:t>
            </a:r>
            <a:r>
              <a:rPr lang="en-US" b="1" i="1" dirty="0" err="1"/>
              <a:t>hình</a:t>
            </a:r>
            <a:r>
              <a:rPr lang="en-US" b="1" i="1" dirty="0"/>
              <a:t> </a:t>
            </a:r>
            <a:r>
              <a:rPr lang="en-US" b="1" i="1" dirty="0" err="1"/>
              <a:t>tên</a:t>
            </a:r>
            <a:r>
              <a:rPr lang="en-US" b="1" i="1" dirty="0"/>
              <a:t> </a:t>
            </a:r>
            <a:r>
              <a:rPr lang="en-US" b="1" i="1" dirty="0" err="1"/>
              <a:t>lửa</a:t>
            </a:r>
            <a:r>
              <a:rPr lang="en-US" b="1" i="1" dirty="0"/>
              <a:t> </a:t>
            </a:r>
            <a:r>
              <a:rPr lang="en-US" b="1" i="1" dirty="0" err="1"/>
              <a:t>để</a:t>
            </a:r>
            <a:r>
              <a:rPr lang="en-US" b="1" i="1" dirty="0"/>
              <a:t> quay </a:t>
            </a:r>
            <a:r>
              <a:rPr lang="en-US" b="1" i="1" dirty="0" err="1"/>
              <a:t>về</a:t>
            </a:r>
            <a:r>
              <a:rPr lang="en-US" b="1" i="1" dirty="0"/>
              <a:t> </a:t>
            </a:r>
            <a:r>
              <a:rPr lang="en-US" b="1" i="1" dirty="0" err="1"/>
              <a:t>trang</a:t>
            </a:r>
            <a:r>
              <a:rPr lang="en-US" b="1" i="1" dirty="0"/>
              <a:t> </a:t>
            </a:r>
            <a:r>
              <a:rPr lang="en-US" b="1" i="1" dirty="0" err="1"/>
              <a:t>chính</a:t>
            </a:r>
            <a:r>
              <a:rPr lang="en-US" dirty="0"/>
              <a:t>.</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1BD95568-98E1-4F58-8C39-BFC148F1895C}" type="slidenum">
              <a:rPr kumimoji="0" lang="en-US" sz="14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4</a:t>
            </a:fld>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710183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V chuẩn bị hộp quà có câu hỏi bên trong. Hộp quà chia làm 2 ngăn, 1 ngăn có câu hỏi. 1 ngăn có quà cho hs bốc</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A5CD6C-DBC4-4DB0-9F6A-828C4E0D8D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32397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png"/><Relationship Id="rId7"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6.png"/><Relationship Id="rId5" Type="http://schemas.microsoft.com/office/2007/relationships/hdphoto" Target="../media/hdphoto1.wdp"/><Relationship Id="rId4" Type="http://schemas.openxmlformats.org/officeDocument/2006/relationships/image" Target="../media/image5.pn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 Id="rId6" Type="http://schemas.microsoft.com/office/2007/relationships/hdphoto" Target="../media/hdphoto2.wdp"/><Relationship Id="rId5" Type="http://schemas.openxmlformats.org/officeDocument/2006/relationships/image" Target="../media/image6.png"/><Relationship Id="rId4" Type="http://schemas.microsoft.com/office/2007/relationships/hdphoto" Target="../media/hdphoto1.wdp"/></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png"/><Relationship Id="rId7"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6.png"/><Relationship Id="rId5" Type="http://schemas.microsoft.com/office/2007/relationships/hdphoto" Target="../media/hdphoto1.wdp"/><Relationship Id="rId4" Type="http://schemas.openxmlformats.org/officeDocument/2006/relationships/image" Target="../media/image5.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7"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6.png"/><Relationship Id="rId5" Type="http://schemas.microsoft.com/office/2007/relationships/hdphoto" Target="../media/hdphoto1.wdp"/><Relationship Id="rId4" Type="http://schemas.openxmlformats.org/officeDocument/2006/relationships/image" Target="../media/image5.pn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44A63A4E-F370-4E43-88DF-FF35117A42C8}" type="datetimeFigureOut">
              <a:rPr lang="zh-CN" altLang="en-US" smtClean="0"/>
              <a:t>2024/3/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39E3902-3291-4BB3-9961-88462FB34554}" type="slidenum">
              <a:rPr lang="zh-CN" altLang="en-US" smtClean="0"/>
              <a:t>‹#›</a:t>
            </a:fld>
            <a:endParaRPr lang="zh-CN" altLang="en-US"/>
          </a:p>
        </p:txBody>
      </p:sp>
    </p:spTree>
    <p:extLst>
      <p:ext uri="{BB962C8B-B14F-4D97-AF65-F5344CB8AC3E}">
        <p14:creationId xmlns:p14="http://schemas.microsoft.com/office/powerpoint/2010/main" val="38684711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44A63A4E-F370-4E43-88DF-FF35117A42C8}" type="datetimeFigureOut">
              <a:rPr lang="zh-CN" altLang="en-US" smtClean="0"/>
              <a:t>2024/3/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39E3902-3291-4BB3-9961-88462FB34554}" type="slidenum">
              <a:rPr lang="zh-CN" altLang="en-US" smtClean="0"/>
              <a:t>‹#›</a:t>
            </a:fld>
            <a:endParaRPr lang="zh-CN" altLang="en-US"/>
          </a:p>
        </p:txBody>
      </p:sp>
    </p:spTree>
    <p:extLst>
      <p:ext uri="{BB962C8B-B14F-4D97-AF65-F5344CB8AC3E}">
        <p14:creationId xmlns:p14="http://schemas.microsoft.com/office/powerpoint/2010/main" val="10500554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44A63A4E-F370-4E43-88DF-FF35117A42C8}" type="datetimeFigureOut">
              <a:rPr lang="zh-CN" altLang="en-US" smtClean="0"/>
              <a:t>2024/3/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39E3902-3291-4BB3-9961-88462FB34554}" type="slidenum">
              <a:rPr lang="zh-CN" altLang="en-US" smtClean="0"/>
              <a:t>‹#›</a:t>
            </a:fld>
            <a:endParaRPr lang="zh-CN" altLang="en-US"/>
          </a:p>
        </p:txBody>
      </p:sp>
    </p:spTree>
    <p:extLst>
      <p:ext uri="{BB962C8B-B14F-4D97-AF65-F5344CB8AC3E}">
        <p14:creationId xmlns:p14="http://schemas.microsoft.com/office/powerpoint/2010/main" val="12828126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3/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250888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2960766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3/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132049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3/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3584624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3/7/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101373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3/7/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00404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7/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0341555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241561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44A63A4E-F370-4E43-88DF-FF35117A42C8}" type="datetimeFigureOut">
              <a:rPr lang="zh-CN" altLang="en-US" smtClean="0"/>
              <a:t>2024/3/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39E3902-3291-4BB3-9961-88462FB34554}" type="slidenum">
              <a:rPr lang="zh-CN" altLang="en-US" smtClean="0"/>
              <a:t>‹#›</a:t>
            </a:fld>
            <a:endParaRPr lang="zh-CN" altLang="en-US"/>
          </a:p>
        </p:txBody>
      </p:sp>
    </p:spTree>
    <p:extLst>
      <p:ext uri="{BB962C8B-B14F-4D97-AF65-F5344CB8AC3E}">
        <p14:creationId xmlns:p14="http://schemas.microsoft.com/office/powerpoint/2010/main" val="26586789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720821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326124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238532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3/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7045724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3/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704225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3/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8843285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3/7/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076481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3/7/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8901713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3/7/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878023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3/7/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633067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44A63A4E-F370-4E43-88DF-FF35117A42C8}" type="datetimeFigureOut">
              <a:rPr lang="zh-CN" altLang="en-US" smtClean="0"/>
              <a:t>2024/3/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39E3902-3291-4BB3-9961-88462FB34554}" type="slidenum">
              <a:rPr lang="zh-CN" altLang="en-US" smtClean="0"/>
              <a:t>‹#›</a:t>
            </a:fld>
            <a:endParaRPr lang="zh-CN" altLang="en-US"/>
          </a:p>
        </p:txBody>
      </p:sp>
    </p:spTree>
    <p:extLst>
      <p:ext uri="{BB962C8B-B14F-4D97-AF65-F5344CB8AC3E}">
        <p14:creationId xmlns:p14="http://schemas.microsoft.com/office/powerpoint/2010/main" val="15883332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3/7/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259777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3/7/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464714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3/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593237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3/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5622934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F1C56-8A72-4858-851C-F15B634C74F2}"/>
              </a:ext>
            </a:extLst>
          </p:cNvPr>
          <p:cNvSpPr>
            <a:spLocks noGrp="1"/>
          </p:cNvSpPr>
          <p:nvPr>
            <p:ph type="ctrTitle"/>
          </p:nvPr>
        </p:nvSpPr>
        <p:spPr>
          <a:xfrm>
            <a:off x="1219200" y="1122362"/>
            <a:ext cx="8876022" cy="3744209"/>
          </a:xfrm>
        </p:spPr>
        <p:txBody>
          <a:bodyPr anchor="b">
            <a:normAutofit/>
          </a:bodyPr>
          <a:lstStyle>
            <a:lvl1pPr algn="l">
              <a:defRPr sz="5400"/>
            </a:lvl1pPr>
          </a:lstStyle>
          <a:p>
            <a:r>
              <a:rPr lang="en-US" dirty="0"/>
              <a:t>Click to edit Master title style</a:t>
            </a:r>
          </a:p>
        </p:txBody>
      </p:sp>
      <p:sp>
        <p:nvSpPr>
          <p:cNvPr id="3" name="Subtitle 2">
            <a:extLst>
              <a:ext uri="{FF2B5EF4-FFF2-40B4-BE49-F238E27FC236}">
                <a16:creationId xmlns:a16="http://schemas.microsoft.com/office/drawing/2014/main" id="{3C1834EB-45A5-426C-824A-8F07CA8F6DBE}"/>
              </a:ext>
            </a:extLst>
          </p:cNvPr>
          <p:cNvSpPr>
            <a:spLocks noGrp="1"/>
          </p:cNvSpPr>
          <p:nvPr>
            <p:ph type="subTitle" idx="1"/>
          </p:nvPr>
        </p:nvSpPr>
        <p:spPr>
          <a:xfrm>
            <a:off x="1219200" y="5230134"/>
            <a:ext cx="4876800" cy="942065"/>
          </a:xfrm>
        </p:spPr>
        <p:txBody>
          <a:bodyPr>
            <a:norm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293D55F2-5374-4778-B1EE-98996792D07B}"/>
              </a:ext>
            </a:extLst>
          </p:cNvPr>
          <p:cNvSpPr>
            <a:spLocks noGrp="1"/>
          </p:cNvSpPr>
          <p:nvPr>
            <p:ph type="dt" sz="half" idx="10"/>
          </p:nvPr>
        </p:nvSpPr>
        <p:spPr/>
        <p:txBody>
          <a:bodyPr/>
          <a:lstStyle/>
          <a:p>
            <a:fld id="{8C1E1FAD-7351-4908-963A-08EA8E4AB7A0}" type="datetimeFigureOut">
              <a:rPr lang="en-US" smtClean="0"/>
              <a:t>3/7/2024</a:t>
            </a:fld>
            <a:endParaRPr lang="en-US"/>
          </a:p>
        </p:txBody>
      </p:sp>
      <p:sp>
        <p:nvSpPr>
          <p:cNvPr id="5" name="Footer Placeholder 4">
            <a:extLst>
              <a:ext uri="{FF2B5EF4-FFF2-40B4-BE49-F238E27FC236}">
                <a16:creationId xmlns:a16="http://schemas.microsoft.com/office/drawing/2014/main" id="{944044F8-E727-4D63-B6D6-26482F83D3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141F76-D956-4205-AD99-E91FD5FCC027}"/>
              </a:ext>
            </a:extLst>
          </p:cNvPr>
          <p:cNvSpPr>
            <a:spLocks noGrp="1"/>
          </p:cNvSpPr>
          <p:nvPr>
            <p:ph type="sldNum" sz="quarter" idx="12"/>
          </p:nvPr>
        </p:nvSpPr>
        <p:spPr/>
        <p:txBody>
          <a:bodyPr/>
          <a:lstStyle/>
          <a:p>
            <a:fld id="{1CF2D47E-0AF1-4C27-801F-64E3E5BF7F72}" type="slidenum">
              <a:rPr lang="en-US" smtClean="0"/>
              <a:t>‹#›</a:t>
            </a:fld>
            <a:endParaRPr lang="en-US"/>
          </a:p>
        </p:txBody>
      </p:sp>
    </p:spTree>
    <p:extLst>
      <p:ext uri="{BB962C8B-B14F-4D97-AF65-F5344CB8AC3E}">
        <p14:creationId xmlns:p14="http://schemas.microsoft.com/office/powerpoint/2010/main" val="9683324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11A1B-E09A-4F93-BC68-B160114AFCEA}"/>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CC8C4A9-27ED-4E86-A256-5009E31342B6}"/>
              </a:ext>
            </a:extLst>
          </p:cNvPr>
          <p:cNvSpPr>
            <a:spLocks noGrp="1"/>
          </p:cNvSpPr>
          <p:nvPr>
            <p:ph idx="1"/>
          </p:nvPr>
        </p:nvSpPr>
        <p:spPr/>
        <p:txBody>
          <a:bodyPr/>
          <a:lstStyle>
            <a:lvl1pPr>
              <a:lnSpc>
                <a:spcPct val="120000"/>
              </a:lnSpc>
              <a:defRPr/>
            </a:lvl1pPr>
            <a:lvl2pPr>
              <a:lnSpc>
                <a:spcPct val="120000"/>
              </a:lnSpc>
              <a:defRPr/>
            </a:lvl2pPr>
            <a:lvl3pPr>
              <a:lnSpc>
                <a:spcPct val="120000"/>
              </a:lnSpc>
              <a:defRPr sz="1400"/>
            </a:lvl3pPr>
            <a:lvl4pPr>
              <a:lnSpc>
                <a:spcPct val="120000"/>
              </a:lnSpc>
              <a:defRPr sz="1200"/>
            </a:lvl4pPr>
            <a:lvl5pPr>
              <a:lnSpc>
                <a:spcPct val="120000"/>
              </a:lnSpc>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385CF91C-8771-4949-A397-928A5743EBC7}"/>
              </a:ext>
            </a:extLst>
          </p:cNvPr>
          <p:cNvSpPr>
            <a:spLocks noGrp="1"/>
          </p:cNvSpPr>
          <p:nvPr>
            <p:ph type="dt" sz="half" idx="10"/>
          </p:nvPr>
        </p:nvSpPr>
        <p:spPr/>
        <p:txBody>
          <a:bodyPr/>
          <a:lstStyle/>
          <a:p>
            <a:fld id="{8C1E1FAD-7351-4908-963A-08EA8E4AB7A0}" type="datetimeFigureOut">
              <a:rPr lang="en-US" smtClean="0"/>
              <a:t>3/7/2024</a:t>
            </a:fld>
            <a:endParaRPr lang="en-US"/>
          </a:p>
        </p:txBody>
      </p:sp>
      <p:sp>
        <p:nvSpPr>
          <p:cNvPr id="5" name="Footer Placeholder 4">
            <a:extLst>
              <a:ext uri="{FF2B5EF4-FFF2-40B4-BE49-F238E27FC236}">
                <a16:creationId xmlns:a16="http://schemas.microsoft.com/office/drawing/2014/main" id="{013EA0ED-4961-4254-B34E-71D14C4E05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497152-BD97-4A72-8B07-CD2BC57B84F6}"/>
              </a:ext>
            </a:extLst>
          </p:cNvPr>
          <p:cNvSpPr>
            <a:spLocks noGrp="1"/>
          </p:cNvSpPr>
          <p:nvPr>
            <p:ph type="sldNum" sz="quarter" idx="12"/>
          </p:nvPr>
        </p:nvSpPr>
        <p:spPr/>
        <p:txBody>
          <a:bodyPr/>
          <a:lstStyle/>
          <a:p>
            <a:fld id="{1CF2D47E-0AF1-4C27-801F-64E3E5BF7F72}" type="slidenum">
              <a:rPr lang="en-US" smtClean="0"/>
              <a:t>‹#›</a:t>
            </a:fld>
            <a:endParaRPr lang="en-US"/>
          </a:p>
        </p:txBody>
      </p:sp>
    </p:spTree>
    <p:extLst>
      <p:ext uri="{BB962C8B-B14F-4D97-AF65-F5344CB8AC3E}">
        <p14:creationId xmlns:p14="http://schemas.microsoft.com/office/powerpoint/2010/main" val="3609637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B4EAF4-C10D-4650-9587-15DA8E9F9C08}"/>
              </a:ext>
            </a:extLst>
          </p:cNvPr>
          <p:cNvSpPr>
            <a:spLocks noGrp="1"/>
          </p:cNvSpPr>
          <p:nvPr>
            <p:ph type="title"/>
          </p:nvPr>
        </p:nvSpPr>
        <p:spPr>
          <a:xfrm>
            <a:off x="1219200" y="1368862"/>
            <a:ext cx="9486900" cy="3679656"/>
          </a:xfrm>
        </p:spPr>
        <p:txBody>
          <a:bodyPr anchor="b"/>
          <a:lstStyle>
            <a:lvl1pPr>
              <a:defRPr sz="6000"/>
            </a:lvl1pPr>
          </a:lstStyle>
          <a:p>
            <a:r>
              <a:rPr lang="en-US" dirty="0"/>
              <a:t>Click to edit Master title style</a:t>
            </a:r>
          </a:p>
        </p:txBody>
      </p:sp>
      <p:sp>
        <p:nvSpPr>
          <p:cNvPr id="3" name="Text Placeholder 2">
            <a:extLst>
              <a:ext uri="{FF2B5EF4-FFF2-40B4-BE49-F238E27FC236}">
                <a16:creationId xmlns:a16="http://schemas.microsoft.com/office/drawing/2014/main" id="{BBA1D5C2-6E93-4B23-A0CA-D5D7E735C718}"/>
              </a:ext>
            </a:extLst>
          </p:cNvPr>
          <p:cNvSpPr>
            <a:spLocks noGrp="1"/>
          </p:cNvSpPr>
          <p:nvPr>
            <p:ph type="body" idx="1"/>
          </p:nvPr>
        </p:nvSpPr>
        <p:spPr>
          <a:xfrm>
            <a:off x="1219200" y="5318974"/>
            <a:ext cx="9486900" cy="853225"/>
          </a:xfrm>
        </p:spPr>
        <p:txBody>
          <a:bodyPr>
            <a:normAutofit/>
          </a:bodyPr>
          <a:lstStyle>
            <a:lvl1pPr marL="0" indent="0">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DE815BFB-5D28-4ABE-AD37-0C6C3FD949FE}"/>
              </a:ext>
            </a:extLst>
          </p:cNvPr>
          <p:cNvSpPr>
            <a:spLocks noGrp="1"/>
          </p:cNvSpPr>
          <p:nvPr>
            <p:ph type="dt" sz="half" idx="10"/>
          </p:nvPr>
        </p:nvSpPr>
        <p:spPr/>
        <p:txBody>
          <a:bodyPr/>
          <a:lstStyle/>
          <a:p>
            <a:fld id="{8C1E1FAD-7351-4908-963A-08EA8E4AB7A0}" type="datetimeFigureOut">
              <a:rPr lang="en-US" smtClean="0"/>
              <a:t>3/7/2024</a:t>
            </a:fld>
            <a:endParaRPr lang="en-US"/>
          </a:p>
        </p:txBody>
      </p:sp>
      <p:sp>
        <p:nvSpPr>
          <p:cNvPr id="5" name="Footer Placeholder 4">
            <a:extLst>
              <a:ext uri="{FF2B5EF4-FFF2-40B4-BE49-F238E27FC236}">
                <a16:creationId xmlns:a16="http://schemas.microsoft.com/office/drawing/2014/main" id="{65A4035B-0539-4A03-87C0-22E52C98B2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4327ADF-48C9-49CF-BD4D-82399BF64AD3}"/>
              </a:ext>
            </a:extLst>
          </p:cNvPr>
          <p:cNvSpPr>
            <a:spLocks noGrp="1"/>
          </p:cNvSpPr>
          <p:nvPr>
            <p:ph type="sldNum" sz="quarter" idx="12"/>
          </p:nvPr>
        </p:nvSpPr>
        <p:spPr/>
        <p:txBody>
          <a:bodyPr/>
          <a:lstStyle/>
          <a:p>
            <a:fld id="{1CF2D47E-0AF1-4C27-801F-64E3E5BF7F72}" type="slidenum">
              <a:rPr lang="en-US" smtClean="0"/>
              <a:t>‹#›</a:t>
            </a:fld>
            <a:endParaRPr lang="en-US"/>
          </a:p>
        </p:txBody>
      </p:sp>
    </p:spTree>
    <p:extLst>
      <p:ext uri="{BB962C8B-B14F-4D97-AF65-F5344CB8AC3E}">
        <p14:creationId xmlns:p14="http://schemas.microsoft.com/office/powerpoint/2010/main" val="10756437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1A2FB-0310-4935-B7F7-E47876CD4E9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A987C14-52AB-4AAC-9038-29CF58EA6EA8}"/>
              </a:ext>
            </a:extLst>
          </p:cNvPr>
          <p:cNvSpPr>
            <a:spLocks noGrp="1"/>
          </p:cNvSpPr>
          <p:nvPr>
            <p:ph sz="half" idx="1"/>
          </p:nvPr>
        </p:nvSpPr>
        <p:spPr>
          <a:xfrm>
            <a:off x="1219200" y="2168278"/>
            <a:ext cx="4702921" cy="415632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ECB2E45A-DCC0-4701-9D67-EF56AECE3432}"/>
              </a:ext>
            </a:extLst>
          </p:cNvPr>
          <p:cNvSpPr>
            <a:spLocks noGrp="1"/>
          </p:cNvSpPr>
          <p:nvPr>
            <p:ph sz="half" idx="2"/>
          </p:nvPr>
        </p:nvSpPr>
        <p:spPr>
          <a:xfrm>
            <a:off x="6269880" y="2168278"/>
            <a:ext cx="4782699" cy="415632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11AF0813-A167-4D17-AA79-07BD9765FE0D}"/>
              </a:ext>
            </a:extLst>
          </p:cNvPr>
          <p:cNvSpPr>
            <a:spLocks noGrp="1"/>
          </p:cNvSpPr>
          <p:nvPr>
            <p:ph type="dt" sz="half" idx="10"/>
          </p:nvPr>
        </p:nvSpPr>
        <p:spPr/>
        <p:txBody>
          <a:bodyPr/>
          <a:lstStyle/>
          <a:p>
            <a:fld id="{8C1E1FAD-7351-4908-963A-08EA8E4AB7A0}" type="datetimeFigureOut">
              <a:rPr lang="en-US" smtClean="0"/>
              <a:t>3/7/2024</a:t>
            </a:fld>
            <a:endParaRPr lang="en-US"/>
          </a:p>
        </p:txBody>
      </p:sp>
      <p:sp>
        <p:nvSpPr>
          <p:cNvPr id="6" name="Footer Placeholder 5">
            <a:extLst>
              <a:ext uri="{FF2B5EF4-FFF2-40B4-BE49-F238E27FC236}">
                <a16:creationId xmlns:a16="http://schemas.microsoft.com/office/drawing/2014/main" id="{40A940D7-D4C1-4C24-95F3-29A849CEEE3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949AB7-007E-4D4D-A2C1-2C5C3310C0B6}"/>
              </a:ext>
            </a:extLst>
          </p:cNvPr>
          <p:cNvSpPr>
            <a:spLocks noGrp="1"/>
          </p:cNvSpPr>
          <p:nvPr>
            <p:ph type="sldNum" sz="quarter" idx="12"/>
          </p:nvPr>
        </p:nvSpPr>
        <p:spPr/>
        <p:txBody>
          <a:bodyPr/>
          <a:lstStyle/>
          <a:p>
            <a:fld id="{1CF2D47E-0AF1-4C27-801F-64E3E5BF7F72}" type="slidenum">
              <a:rPr lang="en-US" smtClean="0"/>
              <a:t>‹#›</a:t>
            </a:fld>
            <a:endParaRPr lang="en-US"/>
          </a:p>
        </p:txBody>
      </p:sp>
    </p:spTree>
    <p:extLst>
      <p:ext uri="{BB962C8B-B14F-4D97-AF65-F5344CB8AC3E}">
        <p14:creationId xmlns:p14="http://schemas.microsoft.com/office/powerpoint/2010/main" val="39446396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B0184-BDFD-48DE-B858-B81887BFD302}"/>
              </a:ext>
            </a:extLst>
          </p:cNvPr>
          <p:cNvSpPr>
            <a:spLocks noGrp="1"/>
          </p:cNvSpPr>
          <p:nvPr>
            <p:ph type="title"/>
          </p:nvPr>
        </p:nvSpPr>
        <p:spPr>
          <a:xfrm>
            <a:off x="1219200" y="365125"/>
            <a:ext cx="9753599" cy="1577975"/>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1724FEB2-6EEC-49D4-9466-0F7A6EDB0CB6}"/>
              </a:ext>
            </a:extLst>
          </p:cNvPr>
          <p:cNvSpPr>
            <a:spLocks noGrp="1"/>
          </p:cNvSpPr>
          <p:nvPr>
            <p:ph type="body" idx="1"/>
          </p:nvPr>
        </p:nvSpPr>
        <p:spPr>
          <a:xfrm>
            <a:off x="1219201" y="2095930"/>
            <a:ext cx="4507931" cy="758650"/>
          </a:xfrm>
        </p:spPr>
        <p:txBody>
          <a:bodyPr anchor="b">
            <a:normAutofit/>
          </a:bodyPr>
          <a:lstStyle>
            <a:lvl1pPr marL="0" indent="0">
              <a:buNone/>
              <a:defRPr sz="1800" b="1"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CBDE8CF0-BAB6-4BF2-836F-FED0AF88A8AA}"/>
              </a:ext>
            </a:extLst>
          </p:cNvPr>
          <p:cNvSpPr>
            <a:spLocks noGrp="1"/>
          </p:cNvSpPr>
          <p:nvPr>
            <p:ph sz="half" idx="2"/>
          </p:nvPr>
        </p:nvSpPr>
        <p:spPr>
          <a:xfrm>
            <a:off x="1219201" y="2938410"/>
            <a:ext cx="4507930" cy="338619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5F0751AB-FCF0-450B-A6DF-9B9A2AD2C24A}"/>
              </a:ext>
            </a:extLst>
          </p:cNvPr>
          <p:cNvSpPr>
            <a:spLocks noGrp="1"/>
          </p:cNvSpPr>
          <p:nvPr>
            <p:ph type="body" sz="quarter" idx="3"/>
          </p:nvPr>
        </p:nvSpPr>
        <p:spPr>
          <a:xfrm>
            <a:off x="6464867" y="2095930"/>
            <a:ext cx="4507932" cy="758650"/>
          </a:xfrm>
        </p:spPr>
        <p:txBody>
          <a:bodyPr anchor="b">
            <a:normAutofit/>
          </a:bodyPr>
          <a:lstStyle>
            <a:lvl1pPr marL="0" indent="0">
              <a:buNone/>
              <a:defRPr sz="1800" b="1"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7D3898E7-3130-4CE6-AA11-C9CC8214EA1D}"/>
              </a:ext>
            </a:extLst>
          </p:cNvPr>
          <p:cNvSpPr>
            <a:spLocks noGrp="1"/>
          </p:cNvSpPr>
          <p:nvPr>
            <p:ph sz="quarter" idx="4"/>
          </p:nvPr>
        </p:nvSpPr>
        <p:spPr>
          <a:xfrm>
            <a:off x="6464867" y="2938410"/>
            <a:ext cx="4507932" cy="338619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55D85675-9678-4CB3-9AAB-D727D2B58E7A}"/>
              </a:ext>
            </a:extLst>
          </p:cNvPr>
          <p:cNvSpPr>
            <a:spLocks noGrp="1"/>
          </p:cNvSpPr>
          <p:nvPr>
            <p:ph type="dt" sz="half" idx="10"/>
          </p:nvPr>
        </p:nvSpPr>
        <p:spPr/>
        <p:txBody>
          <a:bodyPr/>
          <a:lstStyle/>
          <a:p>
            <a:fld id="{8C1E1FAD-7351-4908-963A-08EA8E4AB7A0}" type="datetimeFigureOut">
              <a:rPr lang="en-US" smtClean="0"/>
              <a:t>3/7/2024</a:t>
            </a:fld>
            <a:endParaRPr lang="en-US"/>
          </a:p>
        </p:txBody>
      </p:sp>
      <p:sp>
        <p:nvSpPr>
          <p:cNvPr id="8" name="Footer Placeholder 7">
            <a:extLst>
              <a:ext uri="{FF2B5EF4-FFF2-40B4-BE49-F238E27FC236}">
                <a16:creationId xmlns:a16="http://schemas.microsoft.com/office/drawing/2014/main" id="{445F8314-1849-461A-AAF2-BF149646D52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B69738E-5865-473C-BAFB-BDB385C06931}"/>
              </a:ext>
            </a:extLst>
          </p:cNvPr>
          <p:cNvSpPr>
            <a:spLocks noGrp="1"/>
          </p:cNvSpPr>
          <p:nvPr>
            <p:ph type="sldNum" sz="quarter" idx="12"/>
          </p:nvPr>
        </p:nvSpPr>
        <p:spPr/>
        <p:txBody>
          <a:bodyPr/>
          <a:lstStyle/>
          <a:p>
            <a:fld id="{1CF2D47E-0AF1-4C27-801F-64E3E5BF7F72}" type="slidenum">
              <a:rPr lang="en-US" smtClean="0"/>
              <a:t>‹#›</a:t>
            </a:fld>
            <a:endParaRPr lang="en-US"/>
          </a:p>
        </p:txBody>
      </p:sp>
    </p:spTree>
    <p:extLst>
      <p:ext uri="{BB962C8B-B14F-4D97-AF65-F5344CB8AC3E}">
        <p14:creationId xmlns:p14="http://schemas.microsoft.com/office/powerpoint/2010/main" val="9324182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7AC40-59FF-4CE3-B49C-C824A784C5F7}"/>
              </a:ext>
            </a:extLst>
          </p:cNvPr>
          <p:cNvSpPr>
            <a:spLocks noGrp="1"/>
          </p:cNvSpPr>
          <p:nvPr>
            <p:ph type="title"/>
          </p:nvPr>
        </p:nvSpPr>
        <p:spPr>
          <a:xfrm>
            <a:off x="1219200" y="365125"/>
            <a:ext cx="9493249" cy="1577975"/>
          </a:xfrm>
        </p:spPr>
        <p:txBody>
          <a:bodyPr/>
          <a:lstStyle/>
          <a:p>
            <a:r>
              <a:rPr lang="en-US" dirty="0"/>
              <a:t>Click to edit Master title style</a:t>
            </a:r>
          </a:p>
        </p:txBody>
      </p:sp>
      <p:sp>
        <p:nvSpPr>
          <p:cNvPr id="3" name="Date Placeholder 2">
            <a:extLst>
              <a:ext uri="{FF2B5EF4-FFF2-40B4-BE49-F238E27FC236}">
                <a16:creationId xmlns:a16="http://schemas.microsoft.com/office/drawing/2014/main" id="{F92FAB63-E9CE-4359-A54B-07AC7E9BBAE3}"/>
              </a:ext>
            </a:extLst>
          </p:cNvPr>
          <p:cNvSpPr>
            <a:spLocks noGrp="1"/>
          </p:cNvSpPr>
          <p:nvPr>
            <p:ph type="dt" sz="half" idx="10"/>
          </p:nvPr>
        </p:nvSpPr>
        <p:spPr/>
        <p:txBody>
          <a:bodyPr/>
          <a:lstStyle/>
          <a:p>
            <a:fld id="{8C1E1FAD-7351-4908-963A-08EA8E4AB7A0}" type="datetimeFigureOut">
              <a:rPr lang="en-US" smtClean="0"/>
              <a:t>3/7/2024</a:t>
            </a:fld>
            <a:endParaRPr lang="en-US"/>
          </a:p>
        </p:txBody>
      </p:sp>
      <p:sp>
        <p:nvSpPr>
          <p:cNvPr id="4" name="Footer Placeholder 3">
            <a:extLst>
              <a:ext uri="{FF2B5EF4-FFF2-40B4-BE49-F238E27FC236}">
                <a16:creationId xmlns:a16="http://schemas.microsoft.com/office/drawing/2014/main" id="{C7939854-5165-4C41-8DCA-D42DFD7D906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F1768E0-4535-4B0D-8B94-4C10740B0A6B}"/>
              </a:ext>
            </a:extLst>
          </p:cNvPr>
          <p:cNvSpPr>
            <a:spLocks noGrp="1"/>
          </p:cNvSpPr>
          <p:nvPr>
            <p:ph type="sldNum" sz="quarter" idx="12"/>
          </p:nvPr>
        </p:nvSpPr>
        <p:spPr/>
        <p:txBody>
          <a:bodyPr/>
          <a:lstStyle/>
          <a:p>
            <a:fld id="{1CF2D47E-0AF1-4C27-801F-64E3E5BF7F72}" type="slidenum">
              <a:rPr lang="en-US" smtClean="0"/>
              <a:t>‹#›</a:t>
            </a:fld>
            <a:endParaRPr lang="en-US"/>
          </a:p>
        </p:txBody>
      </p:sp>
    </p:spTree>
    <p:extLst>
      <p:ext uri="{BB962C8B-B14F-4D97-AF65-F5344CB8AC3E}">
        <p14:creationId xmlns:p14="http://schemas.microsoft.com/office/powerpoint/2010/main" val="37428660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44A63A4E-F370-4E43-88DF-FF35117A42C8}" type="datetimeFigureOut">
              <a:rPr lang="zh-CN" altLang="en-US" smtClean="0"/>
              <a:t>2024/3/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39E3902-3291-4BB3-9961-88462FB34554}" type="slidenum">
              <a:rPr lang="zh-CN" altLang="en-US" smtClean="0"/>
              <a:t>‹#›</a:t>
            </a:fld>
            <a:endParaRPr lang="zh-CN" altLang="en-US"/>
          </a:p>
        </p:txBody>
      </p:sp>
    </p:spTree>
    <p:extLst>
      <p:ext uri="{BB962C8B-B14F-4D97-AF65-F5344CB8AC3E}">
        <p14:creationId xmlns:p14="http://schemas.microsoft.com/office/powerpoint/2010/main" val="17714801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84678E3-D115-4E49-9ECB-656CF2319E94}"/>
              </a:ext>
            </a:extLst>
          </p:cNvPr>
          <p:cNvSpPr>
            <a:spLocks noGrp="1"/>
          </p:cNvSpPr>
          <p:nvPr>
            <p:ph type="dt" sz="half" idx="10"/>
          </p:nvPr>
        </p:nvSpPr>
        <p:spPr/>
        <p:txBody>
          <a:bodyPr/>
          <a:lstStyle/>
          <a:p>
            <a:fld id="{8C1E1FAD-7351-4908-963A-08EA8E4AB7A0}" type="datetimeFigureOut">
              <a:rPr lang="en-US" smtClean="0"/>
              <a:t>3/7/2024</a:t>
            </a:fld>
            <a:endParaRPr lang="en-US"/>
          </a:p>
        </p:txBody>
      </p:sp>
      <p:sp>
        <p:nvSpPr>
          <p:cNvPr id="3" name="Footer Placeholder 2">
            <a:extLst>
              <a:ext uri="{FF2B5EF4-FFF2-40B4-BE49-F238E27FC236}">
                <a16:creationId xmlns:a16="http://schemas.microsoft.com/office/drawing/2014/main" id="{E521E6FC-7F84-4673-81D6-B85FE26DA0B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480318A-245C-4841-AB57-CEC5CC124D02}"/>
              </a:ext>
            </a:extLst>
          </p:cNvPr>
          <p:cNvSpPr>
            <a:spLocks noGrp="1"/>
          </p:cNvSpPr>
          <p:nvPr>
            <p:ph type="sldNum" sz="quarter" idx="12"/>
          </p:nvPr>
        </p:nvSpPr>
        <p:spPr/>
        <p:txBody>
          <a:bodyPr/>
          <a:lstStyle/>
          <a:p>
            <a:fld id="{1CF2D47E-0AF1-4C27-801F-64E3E5BF7F72}" type="slidenum">
              <a:rPr lang="en-US" smtClean="0"/>
              <a:t>‹#›</a:t>
            </a:fld>
            <a:endParaRPr lang="en-US"/>
          </a:p>
        </p:txBody>
      </p:sp>
    </p:spTree>
    <p:extLst>
      <p:ext uri="{BB962C8B-B14F-4D97-AF65-F5344CB8AC3E}">
        <p14:creationId xmlns:p14="http://schemas.microsoft.com/office/powerpoint/2010/main" val="13556364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F847B-9D86-47FF-B24A-EEA5F73EA144}"/>
              </a:ext>
            </a:extLst>
          </p:cNvPr>
          <p:cNvSpPr>
            <a:spLocks noGrp="1"/>
          </p:cNvSpPr>
          <p:nvPr>
            <p:ph type="title"/>
          </p:nvPr>
        </p:nvSpPr>
        <p:spPr>
          <a:xfrm>
            <a:off x="1219200" y="457200"/>
            <a:ext cx="3776472" cy="2852928"/>
          </a:xfrm>
        </p:spPr>
        <p:txBody>
          <a:bodyPr anchor="b">
            <a:normAutofit/>
          </a:bodyPr>
          <a:lstStyle>
            <a:lvl1pPr>
              <a:defRPr sz="4000"/>
            </a:lvl1pPr>
          </a:lstStyle>
          <a:p>
            <a:r>
              <a:rPr lang="en-US" dirty="0"/>
              <a:t>Click to edit Master title style</a:t>
            </a:r>
          </a:p>
        </p:txBody>
      </p:sp>
      <p:sp>
        <p:nvSpPr>
          <p:cNvPr id="3" name="Content Placeholder 2">
            <a:extLst>
              <a:ext uri="{FF2B5EF4-FFF2-40B4-BE49-F238E27FC236}">
                <a16:creationId xmlns:a16="http://schemas.microsoft.com/office/drawing/2014/main" id="{ADAC0675-AD2F-44DC-8FF3-4454258A5908}"/>
              </a:ext>
            </a:extLst>
          </p:cNvPr>
          <p:cNvSpPr>
            <a:spLocks noGrp="1"/>
          </p:cNvSpPr>
          <p:nvPr>
            <p:ph idx="1"/>
          </p:nvPr>
        </p:nvSpPr>
        <p:spPr>
          <a:xfrm>
            <a:off x="5557582" y="987425"/>
            <a:ext cx="5948618" cy="4873625"/>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E1D96356-C0F0-4C22-B9B6-C7E0BE4F3702}"/>
              </a:ext>
            </a:extLst>
          </p:cNvPr>
          <p:cNvSpPr>
            <a:spLocks noGrp="1"/>
          </p:cNvSpPr>
          <p:nvPr>
            <p:ph type="body" sz="half" idx="2"/>
          </p:nvPr>
        </p:nvSpPr>
        <p:spPr>
          <a:xfrm>
            <a:off x="1219200" y="3484210"/>
            <a:ext cx="3768934" cy="238477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AF3EFD71-2ACA-4041-9EA2-86E7B81C314D}"/>
              </a:ext>
            </a:extLst>
          </p:cNvPr>
          <p:cNvSpPr>
            <a:spLocks noGrp="1"/>
          </p:cNvSpPr>
          <p:nvPr>
            <p:ph type="dt" sz="half" idx="10"/>
          </p:nvPr>
        </p:nvSpPr>
        <p:spPr/>
        <p:txBody>
          <a:bodyPr/>
          <a:lstStyle/>
          <a:p>
            <a:fld id="{8C1E1FAD-7351-4908-963A-08EA8E4AB7A0}" type="datetimeFigureOut">
              <a:rPr lang="en-US" smtClean="0"/>
              <a:t>3/7/2024</a:t>
            </a:fld>
            <a:endParaRPr lang="en-US"/>
          </a:p>
        </p:txBody>
      </p:sp>
      <p:sp>
        <p:nvSpPr>
          <p:cNvPr id="6" name="Footer Placeholder 5">
            <a:extLst>
              <a:ext uri="{FF2B5EF4-FFF2-40B4-BE49-F238E27FC236}">
                <a16:creationId xmlns:a16="http://schemas.microsoft.com/office/drawing/2014/main" id="{14ECACE3-32A8-4245-97AC-5797C147E71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4D63845-314D-499C-BB75-CE9162BE6EEB}"/>
              </a:ext>
            </a:extLst>
          </p:cNvPr>
          <p:cNvSpPr>
            <a:spLocks noGrp="1"/>
          </p:cNvSpPr>
          <p:nvPr>
            <p:ph type="sldNum" sz="quarter" idx="12"/>
          </p:nvPr>
        </p:nvSpPr>
        <p:spPr/>
        <p:txBody>
          <a:bodyPr/>
          <a:lstStyle/>
          <a:p>
            <a:fld id="{1CF2D47E-0AF1-4C27-801F-64E3E5BF7F72}" type="slidenum">
              <a:rPr lang="en-US" smtClean="0"/>
              <a:t>‹#›</a:t>
            </a:fld>
            <a:endParaRPr lang="en-US"/>
          </a:p>
        </p:txBody>
      </p:sp>
    </p:spTree>
    <p:extLst>
      <p:ext uri="{BB962C8B-B14F-4D97-AF65-F5344CB8AC3E}">
        <p14:creationId xmlns:p14="http://schemas.microsoft.com/office/powerpoint/2010/main" val="36483875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6D3DB-B1F8-4892-96F7-0BE21DE637CD}"/>
              </a:ext>
            </a:extLst>
          </p:cNvPr>
          <p:cNvSpPr>
            <a:spLocks noGrp="1"/>
          </p:cNvSpPr>
          <p:nvPr>
            <p:ph type="title"/>
          </p:nvPr>
        </p:nvSpPr>
        <p:spPr>
          <a:xfrm>
            <a:off x="1219200" y="457200"/>
            <a:ext cx="3932349" cy="2852670"/>
          </a:xfrm>
        </p:spPr>
        <p:txBody>
          <a:bodyPr anchor="b">
            <a:noAutofit/>
          </a:bodyPr>
          <a:lstStyle>
            <a:lvl1pPr>
              <a:defRPr sz="4000"/>
            </a:lvl1pPr>
          </a:lstStyle>
          <a:p>
            <a:r>
              <a:rPr lang="en-US" dirty="0"/>
              <a:t>Click to edit Master title style</a:t>
            </a:r>
          </a:p>
        </p:txBody>
      </p:sp>
      <p:sp>
        <p:nvSpPr>
          <p:cNvPr id="3" name="Picture Placeholder 2">
            <a:extLst>
              <a:ext uri="{FF2B5EF4-FFF2-40B4-BE49-F238E27FC236}">
                <a16:creationId xmlns:a16="http://schemas.microsoft.com/office/drawing/2014/main" id="{A40AB405-B2E9-4C4B-930C-CF1B63342F1D}"/>
              </a:ext>
            </a:extLst>
          </p:cNvPr>
          <p:cNvSpPr>
            <a:spLocks noGrp="1"/>
          </p:cNvSpPr>
          <p:nvPr>
            <p:ph type="pic" idx="1"/>
          </p:nvPr>
        </p:nvSpPr>
        <p:spPr>
          <a:xfrm>
            <a:off x="5674810" y="657055"/>
            <a:ext cx="5831389" cy="55151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8AF82ED-5295-4670-A3A8-B7813FF4713F}"/>
              </a:ext>
            </a:extLst>
          </p:cNvPr>
          <p:cNvSpPr>
            <a:spLocks noGrp="1"/>
          </p:cNvSpPr>
          <p:nvPr>
            <p:ph type="body" sz="half" idx="2"/>
          </p:nvPr>
        </p:nvSpPr>
        <p:spPr>
          <a:xfrm>
            <a:off x="1219199" y="3484210"/>
            <a:ext cx="3768934" cy="237684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EF8BCDD2-4389-41FA-BE68-6805E3290FCE}"/>
              </a:ext>
            </a:extLst>
          </p:cNvPr>
          <p:cNvSpPr>
            <a:spLocks noGrp="1"/>
          </p:cNvSpPr>
          <p:nvPr>
            <p:ph type="dt" sz="half" idx="10"/>
          </p:nvPr>
        </p:nvSpPr>
        <p:spPr/>
        <p:txBody>
          <a:bodyPr/>
          <a:lstStyle/>
          <a:p>
            <a:fld id="{8C1E1FAD-7351-4908-963A-08EA8E4AB7A0}" type="datetimeFigureOut">
              <a:rPr lang="en-US" smtClean="0"/>
              <a:t>3/7/2024</a:t>
            </a:fld>
            <a:endParaRPr lang="en-US"/>
          </a:p>
        </p:txBody>
      </p:sp>
      <p:sp>
        <p:nvSpPr>
          <p:cNvPr id="6" name="Footer Placeholder 5">
            <a:extLst>
              <a:ext uri="{FF2B5EF4-FFF2-40B4-BE49-F238E27FC236}">
                <a16:creationId xmlns:a16="http://schemas.microsoft.com/office/drawing/2014/main" id="{33C1D4C8-D966-41BE-B38F-54B9134FF78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3A7339F-1169-4FB1-8FAA-781335ECB2AB}"/>
              </a:ext>
            </a:extLst>
          </p:cNvPr>
          <p:cNvSpPr>
            <a:spLocks noGrp="1"/>
          </p:cNvSpPr>
          <p:nvPr>
            <p:ph type="sldNum" sz="quarter" idx="12"/>
          </p:nvPr>
        </p:nvSpPr>
        <p:spPr/>
        <p:txBody>
          <a:bodyPr/>
          <a:lstStyle/>
          <a:p>
            <a:fld id="{1CF2D47E-0AF1-4C27-801F-64E3E5BF7F72}" type="slidenum">
              <a:rPr lang="en-US" smtClean="0"/>
              <a:t>‹#›</a:t>
            </a:fld>
            <a:endParaRPr lang="en-US"/>
          </a:p>
        </p:txBody>
      </p:sp>
    </p:spTree>
    <p:extLst>
      <p:ext uri="{BB962C8B-B14F-4D97-AF65-F5344CB8AC3E}">
        <p14:creationId xmlns:p14="http://schemas.microsoft.com/office/powerpoint/2010/main" val="30325199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A6D4F-1C6D-40FB-9A92-C86C4E15C05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B67BDDB-F95B-4041-AA53-71BBCB26D9C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977052-C8EA-459E-9E10-8EE28C50E166}"/>
              </a:ext>
            </a:extLst>
          </p:cNvPr>
          <p:cNvSpPr>
            <a:spLocks noGrp="1"/>
          </p:cNvSpPr>
          <p:nvPr>
            <p:ph type="dt" sz="half" idx="10"/>
          </p:nvPr>
        </p:nvSpPr>
        <p:spPr/>
        <p:txBody>
          <a:bodyPr/>
          <a:lstStyle/>
          <a:p>
            <a:fld id="{8C1E1FAD-7351-4908-963A-08EA8E4AB7A0}" type="datetimeFigureOut">
              <a:rPr lang="en-US" smtClean="0"/>
              <a:t>3/7/2024</a:t>
            </a:fld>
            <a:endParaRPr lang="en-US"/>
          </a:p>
        </p:txBody>
      </p:sp>
      <p:sp>
        <p:nvSpPr>
          <p:cNvPr id="5" name="Footer Placeholder 4">
            <a:extLst>
              <a:ext uri="{FF2B5EF4-FFF2-40B4-BE49-F238E27FC236}">
                <a16:creationId xmlns:a16="http://schemas.microsoft.com/office/drawing/2014/main" id="{1F3E6650-E3AD-4C98-88FE-F5152966FE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54FED5-B228-4E3C-BFEE-0BC47D950694}"/>
              </a:ext>
            </a:extLst>
          </p:cNvPr>
          <p:cNvSpPr>
            <a:spLocks noGrp="1"/>
          </p:cNvSpPr>
          <p:nvPr>
            <p:ph type="sldNum" sz="quarter" idx="12"/>
          </p:nvPr>
        </p:nvSpPr>
        <p:spPr/>
        <p:txBody>
          <a:bodyPr/>
          <a:lstStyle/>
          <a:p>
            <a:fld id="{1CF2D47E-0AF1-4C27-801F-64E3E5BF7F72}" type="slidenum">
              <a:rPr lang="en-US" smtClean="0"/>
              <a:t>‹#›</a:t>
            </a:fld>
            <a:endParaRPr lang="en-US"/>
          </a:p>
        </p:txBody>
      </p:sp>
    </p:spTree>
    <p:extLst>
      <p:ext uri="{BB962C8B-B14F-4D97-AF65-F5344CB8AC3E}">
        <p14:creationId xmlns:p14="http://schemas.microsoft.com/office/powerpoint/2010/main" val="33044344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B0A243A-5463-4C65-85DA-03BECDAE63E2}"/>
              </a:ext>
            </a:extLst>
          </p:cNvPr>
          <p:cNvSpPr>
            <a:spLocks noGrp="1"/>
          </p:cNvSpPr>
          <p:nvPr>
            <p:ph type="title" orient="vert"/>
          </p:nvPr>
        </p:nvSpPr>
        <p:spPr>
          <a:xfrm>
            <a:off x="8831898" y="854169"/>
            <a:ext cx="2674301" cy="5322793"/>
          </a:xfrm>
        </p:spPr>
        <p:txBody>
          <a:bodyPr vert="eaVert"/>
          <a:lstStyle/>
          <a:p>
            <a:r>
              <a:rPr lang="en-US" dirty="0"/>
              <a:t>Click to edit Master title style</a:t>
            </a:r>
          </a:p>
        </p:txBody>
      </p:sp>
      <p:sp>
        <p:nvSpPr>
          <p:cNvPr id="3" name="Vertical Text Placeholder 2">
            <a:extLst>
              <a:ext uri="{FF2B5EF4-FFF2-40B4-BE49-F238E27FC236}">
                <a16:creationId xmlns:a16="http://schemas.microsoft.com/office/drawing/2014/main" id="{9E10153C-6948-4108-8FF1-033F66D4CABA}"/>
              </a:ext>
            </a:extLst>
          </p:cNvPr>
          <p:cNvSpPr>
            <a:spLocks noGrp="1"/>
          </p:cNvSpPr>
          <p:nvPr>
            <p:ph type="body" orient="vert" idx="1"/>
          </p:nvPr>
        </p:nvSpPr>
        <p:spPr>
          <a:xfrm>
            <a:off x="685800" y="854169"/>
            <a:ext cx="7886700" cy="5322793"/>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79345988-B24C-46FE-87B0-55D4FB7CBC42}"/>
              </a:ext>
            </a:extLst>
          </p:cNvPr>
          <p:cNvSpPr>
            <a:spLocks noGrp="1"/>
          </p:cNvSpPr>
          <p:nvPr>
            <p:ph type="dt" sz="half" idx="10"/>
          </p:nvPr>
        </p:nvSpPr>
        <p:spPr/>
        <p:txBody>
          <a:bodyPr/>
          <a:lstStyle/>
          <a:p>
            <a:fld id="{8C1E1FAD-7351-4908-963A-08EA8E4AB7A0}" type="datetimeFigureOut">
              <a:rPr lang="en-US" smtClean="0"/>
              <a:t>3/7/2024</a:t>
            </a:fld>
            <a:endParaRPr lang="en-US"/>
          </a:p>
        </p:txBody>
      </p:sp>
      <p:sp>
        <p:nvSpPr>
          <p:cNvPr id="5" name="Footer Placeholder 4">
            <a:extLst>
              <a:ext uri="{FF2B5EF4-FFF2-40B4-BE49-F238E27FC236}">
                <a16:creationId xmlns:a16="http://schemas.microsoft.com/office/drawing/2014/main" id="{493AB2DB-BD1F-41F7-AC5E-57249C2700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81E3DB-BDAB-40CA-ABA3-A3662C06881F}"/>
              </a:ext>
            </a:extLst>
          </p:cNvPr>
          <p:cNvSpPr>
            <a:spLocks noGrp="1"/>
          </p:cNvSpPr>
          <p:nvPr>
            <p:ph type="sldNum" sz="quarter" idx="12"/>
          </p:nvPr>
        </p:nvSpPr>
        <p:spPr/>
        <p:txBody>
          <a:bodyPr/>
          <a:lstStyle/>
          <a:p>
            <a:fld id="{1CF2D47E-0AF1-4C27-801F-64E3E5BF7F72}" type="slidenum">
              <a:rPr lang="en-US" smtClean="0"/>
              <a:t>‹#›</a:t>
            </a:fld>
            <a:endParaRPr lang="en-US"/>
          </a:p>
        </p:txBody>
      </p:sp>
    </p:spTree>
    <p:extLst>
      <p:ext uri="{BB962C8B-B14F-4D97-AF65-F5344CB8AC3E}">
        <p14:creationId xmlns:p14="http://schemas.microsoft.com/office/powerpoint/2010/main" val="7487795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08" indent="0" algn="ctr">
              <a:buNone/>
              <a:defRPr>
                <a:solidFill>
                  <a:schemeClr val="tx1">
                    <a:tint val="75000"/>
                  </a:schemeClr>
                </a:solidFill>
              </a:defRPr>
            </a:lvl2pPr>
            <a:lvl3pPr marL="609615" indent="0" algn="ctr">
              <a:buNone/>
              <a:defRPr>
                <a:solidFill>
                  <a:schemeClr val="tx1">
                    <a:tint val="75000"/>
                  </a:schemeClr>
                </a:solidFill>
              </a:defRPr>
            </a:lvl3pPr>
            <a:lvl4pPr marL="914423" indent="0" algn="ctr">
              <a:buNone/>
              <a:defRPr>
                <a:solidFill>
                  <a:schemeClr val="tx1">
                    <a:tint val="75000"/>
                  </a:schemeClr>
                </a:solidFill>
              </a:defRPr>
            </a:lvl4pPr>
            <a:lvl5pPr marL="1219230" indent="0" algn="ctr">
              <a:buNone/>
              <a:defRPr>
                <a:solidFill>
                  <a:schemeClr val="tx1">
                    <a:tint val="75000"/>
                  </a:schemeClr>
                </a:solidFill>
              </a:defRPr>
            </a:lvl5pPr>
            <a:lvl6pPr marL="1524038" indent="0" algn="ctr">
              <a:buNone/>
              <a:defRPr>
                <a:solidFill>
                  <a:schemeClr val="tx1">
                    <a:tint val="75000"/>
                  </a:schemeClr>
                </a:solidFill>
              </a:defRPr>
            </a:lvl6pPr>
            <a:lvl7pPr marL="1828845" indent="0" algn="ctr">
              <a:buNone/>
              <a:defRPr>
                <a:solidFill>
                  <a:schemeClr val="tx1">
                    <a:tint val="75000"/>
                  </a:schemeClr>
                </a:solidFill>
              </a:defRPr>
            </a:lvl7pPr>
            <a:lvl8pPr marL="2133653" indent="0" algn="ctr">
              <a:buNone/>
              <a:defRPr>
                <a:solidFill>
                  <a:schemeClr val="tx1">
                    <a:tint val="75000"/>
                  </a:schemeClr>
                </a:solidFill>
              </a:defRPr>
            </a:lvl8pPr>
            <a:lvl9pPr marL="243846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3/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00448645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61159180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6"/>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10"/>
            <a:ext cx="5181600" cy="1000125"/>
          </a:xfrm>
        </p:spPr>
        <p:txBody>
          <a:bodyPr anchor="b"/>
          <a:lstStyle>
            <a:lvl1pPr marL="0" indent="0">
              <a:buNone/>
              <a:defRPr sz="1333">
                <a:solidFill>
                  <a:schemeClr val="tx1">
                    <a:tint val="75000"/>
                  </a:schemeClr>
                </a:solidFill>
              </a:defRPr>
            </a:lvl1pPr>
            <a:lvl2pPr marL="304808" indent="0">
              <a:buNone/>
              <a:defRPr sz="1200">
                <a:solidFill>
                  <a:schemeClr val="tx1">
                    <a:tint val="75000"/>
                  </a:schemeClr>
                </a:solidFill>
              </a:defRPr>
            </a:lvl2pPr>
            <a:lvl3pPr marL="609615" indent="0">
              <a:buNone/>
              <a:defRPr sz="1067">
                <a:solidFill>
                  <a:schemeClr val="tx1">
                    <a:tint val="75000"/>
                  </a:schemeClr>
                </a:solidFill>
              </a:defRPr>
            </a:lvl3pPr>
            <a:lvl4pPr marL="914423" indent="0">
              <a:buNone/>
              <a:defRPr sz="933">
                <a:solidFill>
                  <a:schemeClr val="tx1">
                    <a:tint val="75000"/>
                  </a:schemeClr>
                </a:solidFill>
              </a:defRPr>
            </a:lvl4pPr>
            <a:lvl5pPr marL="1219230" indent="0">
              <a:buNone/>
              <a:defRPr sz="933">
                <a:solidFill>
                  <a:schemeClr val="tx1">
                    <a:tint val="75000"/>
                  </a:schemeClr>
                </a:solidFill>
              </a:defRPr>
            </a:lvl5pPr>
            <a:lvl6pPr marL="1524038" indent="0">
              <a:buNone/>
              <a:defRPr sz="933">
                <a:solidFill>
                  <a:schemeClr val="tx1">
                    <a:tint val="75000"/>
                  </a:schemeClr>
                </a:solidFill>
              </a:defRPr>
            </a:lvl6pPr>
            <a:lvl7pPr marL="1828845" indent="0">
              <a:buNone/>
              <a:defRPr sz="933">
                <a:solidFill>
                  <a:schemeClr val="tx1">
                    <a:tint val="75000"/>
                  </a:schemeClr>
                </a:solidFill>
              </a:defRPr>
            </a:lvl7pPr>
            <a:lvl8pPr marL="2133653" indent="0">
              <a:buNone/>
              <a:defRPr sz="933">
                <a:solidFill>
                  <a:schemeClr val="tx1">
                    <a:tint val="75000"/>
                  </a:schemeClr>
                </a:solidFill>
              </a:defRPr>
            </a:lvl8pPr>
            <a:lvl9pPr marL="2438461"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3/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46392418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3"/>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3"/>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3/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9119101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1" y="1023409"/>
            <a:ext cx="2693459" cy="426508"/>
          </a:xfrm>
        </p:spPr>
        <p:txBody>
          <a:bodyPr anchor="b"/>
          <a:lstStyle>
            <a:lvl1pPr marL="0" indent="0">
              <a:buNone/>
              <a:defRPr sz="1600" b="1"/>
            </a:lvl1pPr>
            <a:lvl2pPr marL="304808" indent="0">
              <a:buNone/>
              <a:defRPr sz="1333" b="1"/>
            </a:lvl2pPr>
            <a:lvl3pPr marL="609615" indent="0">
              <a:buNone/>
              <a:defRPr sz="1200" b="1"/>
            </a:lvl3pPr>
            <a:lvl4pPr marL="914423" indent="0">
              <a:buNone/>
              <a:defRPr sz="1067" b="1"/>
            </a:lvl4pPr>
            <a:lvl5pPr marL="1219230" indent="0">
              <a:buNone/>
              <a:defRPr sz="1067" b="1"/>
            </a:lvl5pPr>
            <a:lvl6pPr marL="1524038" indent="0">
              <a:buNone/>
              <a:defRPr sz="1067" b="1"/>
            </a:lvl6pPr>
            <a:lvl7pPr marL="1828845" indent="0">
              <a:buNone/>
              <a:defRPr sz="1067" b="1"/>
            </a:lvl7pPr>
            <a:lvl8pPr marL="2133653" indent="0">
              <a:buNone/>
              <a:defRPr sz="1067" b="1"/>
            </a:lvl8pPr>
            <a:lvl9pPr marL="2438461"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1"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5" y="1023409"/>
            <a:ext cx="2694517" cy="426508"/>
          </a:xfrm>
        </p:spPr>
        <p:txBody>
          <a:bodyPr anchor="b"/>
          <a:lstStyle>
            <a:lvl1pPr marL="0" indent="0">
              <a:buNone/>
              <a:defRPr sz="1600" b="1"/>
            </a:lvl1pPr>
            <a:lvl2pPr marL="304808" indent="0">
              <a:buNone/>
              <a:defRPr sz="1333" b="1"/>
            </a:lvl2pPr>
            <a:lvl3pPr marL="609615" indent="0">
              <a:buNone/>
              <a:defRPr sz="1200" b="1"/>
            </a:lvl3pPr>
            <a:lvl4pPr marL="914423" indent="0">
              <a:buNone/>
              <a:defRPr sz="1067" b="1"/>
            </a:lvl4pPr>
            <a:lvl5pPr marL="1219230" indent="0">
              <a:buNone/>
              <a:defRPr sz="1067" b="1"/>
            </a:lvl5pPr>
            <a:lvl6pPr marL="1524038" indent="0">
              <a:buNone/>
              <a:defRPr sz="1067" b="1"/>
            </a:lvl6pPr>
            <a:lvl7pPr marL="1828845" indent="0">
              <a:buNone/>
              <a:defRPr sz="1067" b="1"/>
            </a:lvl7pPr>
            <a:lvl8pPr marL="2133653" indent="0">
              <a:buNone/>
              <a:defRPr sz="1067" b="1"/>
            </a:lvl8pPr>
            <a:lvl9pPr marL="2438461"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5"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3/7/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65123121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44A63A4E-F370-4E43-88DF-FF35117A42C8}" type="datetimeFigureOut">
              <a:rPr lang="zh-CN" altLang="en-US" smtClean="0"/>
              <a:t>2024/3/7</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739E3902-3291-4BB3-9961-88462FB34554}" type="slidenum">
              <a:rPr lang="zh-CN" altLang="en-US" smtClean="0"/>
              <a:t>‹#›</a:t>
            </a:fld>
            <a:endParaRPr lang="zh-CN" altLang="en-US"/>
          </a:p>
        </p:txBody>
      </p:sp>
    </p:spTree>
    <p:extLst>
      <p:ext uri="{BB962C8B-B14F-4D97-AF65-F5344CB8AC3E}">
        <p14:creationId xmlns:p14="http://schemas.microsoft.com/office/powerpoint/2010/main" val="16311929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3/7/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4567314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7/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323771770"/>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2"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8" y="182037"/>
            <a:ext cx="3407834"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2" y="956737"/>
            <a:ext cx="2005542" cy="3127375"/>
          </a:xfrm>
        </p:spPr>
        <p:txBody>
          <a:bodyPr/>
          <a:lstStyle>
            <a:lvl1pPr marL="0" indent="0">
              <a:buNone/>
              <a:defRPr sz="933"/>
            </a:lvl1pPr>
            <a:lvl2pPr marL="304808" indent="0">
              <a:buNone/>
              <a:defRPr sz="800"/>
            </a:lvl2pPr>
            <a:lvl3pPr marL="609615" indent="0">
              <a:buNone/>
              <a:defRPr sz="667"/>
            </a:lvl3pPr>
            <a:lvl4pPr marL="914423" indent="0">
              <a:buNone/>
              <a:defRPr sz="600"/>
            </a:lvl4pPr>
            <a:lvl5pPr marL="1219230" indent="0">
              <a:buNone/>
              <a:defRPr sz="600"/>
            </a:lvl5pPr>
            <a:lvl6pPr marL="1524038" indent="0">
              <a:buNone/>
              <a:defRPr sz="600"/>
            </a:lvl6pPr>
            <a:lvl7pPr marL="1828845" indent="0">
              <a:buNone/>
              <a:defRPr sz="600"/>
            </a:lvl7pPr>
            <a:lvl8pPr marL="2133653" indent="0">
              <a:buNone/>
              <a:defRPr sz="600"/>
            </a:lvl8pPr>
            <a:lvl9pPr marL="2438461"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6430199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08" indent="0">
              <a:buNone/>
              <a:defRPr sz="1867"/>
            </a:lvl2pPr>
            <a:lvl3pPr marL="609615" indent="0">
              <a:buNone/>
              <a:defRPr sz="1600"/>
            </a:lvl3pPr>
            <a:lvl4pPr marL="914423" indent="0">
              <a:buNone/>
              <a:defRPr sz="1333"/>
            </a:lvl4pPr>
            <a:lvl5pPr marL="1219230" indent="0">
              <a:buNone/>
              <a:defRPr sz="1333"/>
            </a:lvl5pPr>
            <a:lvl6pPr marL="1524038" indent="0">
              <a:buNone/>
              <a:defRPr sz="1333"/>
            </a:lvl6pPr>
            <a:lvl7pPr marL="1828845" indent="0">
              <a:buNone/>
              <a:defRPr sz="1333"/>
            </a:lvl7pPr>
            <a:lvl8pPr marL="2133653" indent="0">
              <a:buNone/>
              <a:defRPr sz="1333"/>
            </a:lvl8pPr>
            <a:lvl9pPr marL="2438461"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08" indent="0">
              <a:buNone/>
              <a:defRPr sz="800"/>
            </a:lvl2pPr>
            <a:lvl3pPr marL="609615" indent="0">
              <a:buNone/>
              <a:defRPr sz="667"/>
            </a:lvl3pPr>
            <a:lvl4pPr marL="914423" indent="0">
              <a:buNone/>
              <a:defRPr sz="600"/>
            </a:lvl4pPr>
            <a:lvl5pPr marL="1219230" indent="0">
              <a:buNone/>
              <a:defRPr sz="600"/>
            </a:lvl5pPr>
            <a:lvl6pPr marL="1524038" indent="0">
              <a:buNone/>
              <a:defRPr sz="600"/>
            </a:lvl6pPr>
            <a:lvl7pPr marL="1828845" indent="0">
              <a:buNone/>
              <a:defRPr sz="600"/>
            </a:lvl7pPr>
            <a:lvl8pPr marL="2133653" indent="0">
              <a:buNone/>
              <a:defRPr sz="600"/>
            </a:lvl8pPr>
            <a:lvl9pPr marL="2438461"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0959599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2389310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5"/>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5"/>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66152486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27"/>
            <a:ext cx="10363200" cy="1470025"/>
          </a:xfrm>
        </p:spPr>
        <p:txBody>
          <a:bodyPr/>
          <a:lstStyle/>
          <a:p>
            <a:r>
              <a:rPr lang="zh-CN" altLang="en-US"/>
              <a:t>单击此处编辑母版标题样式</a:t>
            </a:r>
          </a:p>
        </p:txBody>
      </p:sp>
      <p:sp>
        <p:nvSpPr>
          <p:cNvPr id="3" name="副标题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402" indent="0" algn="ctr">
              <a:buNone/>
              <a:defRPr>
                <a:solidFill>
                  <a:schemeClr val="tx1">
                    <a:tint val="75000"/>
                  </a:schemeClr>
                </a:solidFill>
              </a:defRPr>
            </a:lvl2pPr>
            <a:lvl3pPr marL="1218804" indent="0" algn="ctr">
              <a:buNone/>
              <a:defRPr>
                <a:solidFill>
                  <a:schemeClr val="tx1">
                    <a:tint val="75000"/>
                  </a:schemeClr>
                </a:solidFill>
              </a:defRPr>
            </a:lvl3pPr>
            <a:lvl4pPr marL="1828206" indent="0" algn="ctr">
              <a:buNone/>
              <a:defRPr>
                <a:solidFill>
                  <a:schemeClr val="tx1">
                    <a:tint val="75000"/>
                  </a:schemeClr>
                </a:solidFill>
              </a:defRPr>
            </a:lvl4pPr>
            <a:lvl5pPr marL="2437608" indent="0" algn="ctr">
              <a:buNone/>
              <a:defRPr>
                <a:solidFill>
                  <a:schemeClr val="tx1">
                    <a:tint val="75000"/>
                  </a:schemeClr>
                </a:solidFill>
              </a:defRPr>
            </a:lvl5pPr>
            <a:lvl6pPr marL="3047009" indent="0" algn="ctr">
              <a:buNone/>
              <a:defRPr>
                <a:solidFill>
                  <a:schemeClr val="tx1">
                    <a:tint val="75000"/>
                  </a:schemeClr>
                </a:solidFill>
              </a:defRPr>
            </a:lvl6pPr>
            <a:lvl7pPr marL="3656411" indent="0" algn="ctr">
              <a:buNone/>
              <a:defRPr>
                <a:solidFill>
                  <a:schemeClr val="tx1">
                    <a:tint val="75000"/>
                  </a:schemeClr>
                </a:solidFill>
              </a:defRPr>
            </a:lvl7pPr>
            <a:lvl8pPr marL="4265813" indent="0" algn="ctr">
              <a:buNone/>
              <a:defRPr>
                <a:solidFill>
                  <a:schemeClr val="tx1">
                    <a:tint val="75000"/>
                  </a:schemeClr>
                </a:solidFill>
              </a:defRPr>
            </a:lvl8pPr>
            <a:lvl9pPr marL="4875215"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fld id="{D421E820-4398-486C-8A0E-AB272243CEDE}" type="datetimeFigureOut">
              <a:rPr lang="zh-CN" altLang="en-US" smtClean="0"/>
              <a:pPr/>
              <a:t>2024/3/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97E31A2-B2BC-4EB4-8B56-75304C41C08E}" type="slidenum">
              <a:rPr lang="zh-CN" altLang="en-US" smtClean="0"/>
              <a:pPr/>
              <a:t>‹#›</a:t>
            </a:fld>
            <a:endParaRPr lang="zh-CN" altLang="en-US"/>
          </a:p>
        </p:txBody>
      </p:sp>
    </p:spTree>
    <p:extLst>
      <p:ext uri="{BB962C8B-B14F-4D97-AF65-F5344CB8AC3E}">
        <p14:creationId xmlns:p14="http://schemas.microsoft.com/office/powerpoint/2010/main" val="3419710108"/>
      </p:ext>
    </p:extLst>
  </p:cSld>
  <p:clrMapOvr>
    <a:masterClrMapping/>
  </p:clrMapOvr>
  <p:transition advClick="0" advTm="0">
    <p:circl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421E820-4398-486C-8A0E-AB272243CEDE}" type="datetimeFigureOut">
              <a:rPr lang="zh-CN" altLang="en-US" smtClean="0"/>
              <a:pPr/>
              <a:t>2024/3/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97E31A2-B2BC-4EB4-8B56-75304C41C08E}" type="slidenum">
              <a:rPr lang="zh-CN" altLang="en-US" smtClean="0"/>
              <a:pPr/>
              <a:t>‹#›</a:t>
            </a:fld>
            <a:endParaRPr lang="zh-CN" altLang="en-US"/>
          </a:p>
        </p:txBody>
      </p:sp>
    </p:spTree>
    <p:extLst>
      <p:ext uri="{BB962C8B-B14F-4D97-AF65-F5344CB8AC3E}">
        <p14:creationId xmlns:p14="http://schemas.microsoft.com/office/powerpoint/2010/main" val="365041314"/>
      </p:ext>
    </p:extLst>
  </p:cSld>
  <p:clrMapOvr>
    <a:masterClrMapping/>
  </p:clrMapOvr>
  <p:transition advClick="0" advTm="0">
    <p:circl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4" y="4406901"/>
            <a:ext cx="10363200" cy="1362075"/>
          </a:xfrm>
        </p:spPr>
        <p:txBody>
          <a:bodyPr anchor="t"/>
          <a:lstStyle>
            <a:lvl1pPr algn="l">
              <a:defRPr sz="5332" b="1" cap="all"/>
            </a:lvl1pPr>
          </a:lstStyle>
          <a:p>
            <a:r>
              <a:rPr lang="zh-CN" altLang="en-US"/>
              <a:t>单击此处编辑母版标题样式</a:t>
            </a:r>
          </a:p>
        </p:txBody>
      </p:sp>
      <p:sp>
        <p:nvSpPr>
          <p:cNvPr id="3" name="文本占位符 2"/>
          <p:cNvSpPr>
            <a:spLocks noGrp="1"/>
          </p:cNvSpPr>
          <p:nvPr>
            <p:ph type="body" idx="1"/>
          </p:nvPr>
        </p:nvSpPr>
        <p:spPr>
          <a:xfrm>
            <a:off x="963084" y="2906713"/>
            <a:ext cx="10363200" cy="1500188"/>
          </a:xfrm>
        </p:spPr>
        <p:txBody>
          <a:bodyPr anchor="b"/>
          <a:lstStyle>
            <a:lvl1pPr marL="0" indent="0">
              <a:buNone/>
              <a:defRPr sz="2666">
                <a:solidFill>
                  <a:schemeClr val="tx1">
                    <a:tint val="75000"/>
                  </a:schemeClr>
                </a:solidFill>
              </a:defRPr>
            </a:lvl1pPr>
            <a:lvl2pPr marL="609402" indent="0">
              <a:buNone/>
              <a:defRPr sz="2399">
                <a:solidFill>
                  <a:schemeClr val="tx1">
                    <a:tint val="75000"/>
                  </a:schemeClr>
                </a:solidFill>
              </a:defRPr>
            </a:lvl2pPr>
            <a:lvl3pPr marL="1218804" indent="0">
              <a:buNone/>
              <a:defRPr sz="2133">
                <a:solidFill>
                  <a:schemeClr val="tx1">
                    <a:tint val="75000"/>
                  </a:schemeClr>
                </a:solidFill>
              </a:defRPr>
            </a:lvl3pPr>
            <a:lvl4pPr marL="1828206" indent="0">
              <a:buNone/>
              <a:defRPr sz="1866">
                <a:solidFill>
                  <a:schemeClr val="tx1">
                    <a:tint val="75000"/>
                  </a:schemeClr>
                </a:solidFill>
              </a:defRPr>
            </a:lvl4pPr>
            <a:lvl5pPr marL="2437608" indent="0">
              <a:buNone/>
              <a:defRPr sz="1866">
                <a:solidFill>
                  <a:schemeClr val="tx1">
                    <a:tint val="75000"/>
                  </a:schemeClr>
                </a:solidFill>
              </a:defRPr>
            </a:lvl5pPr>
            <a:lvl6pPr marL="3047009" indent="0">
              <a:buNone/>
              <a:defRPr sz="1866">
                <a:solidFill>
                  <a:schemeClr val="tx1">
                    <a:tint val="75000"/>
                  </a:schemeClr>
                </a:solidFill>
              </a:defRPr>
            </a:lvl6pPr>
            <a:lvl7pPr marL="3656411" indent="0">
              <a:buNone/>
              <a:defRPr sz="1866">
                <a:solidFill>
                  <a:schemeClr val="tx1">
                    <a:tint val="75000"/>
                  </a:schemeClr>
                </a:solidFill>
              </a:defRPr>
            </a:lvl7pPr>
            <a:lvl8pPr marL="4265813" indent="0">
              <a:buNone/>
              <a:defRPr sz="1866">
                <a:solidFill>
                  <a:schemeClr val="tx1">
                    <a:tint val="75000"/>
                  </a:schemeClr>
                </a:solidFill>
              </a:defRPr>
            </a:lvl8pPr>
            <a:lvl9pPr marL="4875215" indent="0">
              <a:buNone/>
              <a:defRPr sz="1866">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D421E820-4398-486C-8A0E-AB272243CEDE}" type="datetimeFigureOut">
              <a:rPr lang="zh-CN" altLang="en-US" smtClean="0"/>
              <a:pPr/>
              <a:t>2024/3/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97E31A2-B2BC-4EB4-8B56-75304C41C08E}" type="slidenum">
              <a:rPr lang="zh-CN" altLang="en-US" smtClean="0"/>
              <a:pPr/>
              <a:t>‹#›</a:t>
            </a:fld>
            <a:endParaRPr lang="zh-CN" altLang="en-US"/>
          </a:p>
        </p:txBody>
      </p:sp>
    </p:spTree>
    <p:extLst>
      <p:ext uri="{BB962C8B-B14F-4D97-AF65-F5344CB8AC3E}">
        <p14:creationId xmlns:p14="http://schemas.microsoft.com/office/powerpoint/2010/main" val="530664024"/>
      </p:ext>
    </p:extLst>
  </p:cSld>
  <p:clrMapOvr>
    <a:masterClrMapping/>
  </p:clrMapOvr>
  <p:transition advClick="0" advTm="0">
    <p:circl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600" y="1200151"/>
            <a:ext cx="5384800" cy="3395664"/>
          </a:xfrm>
        </p:spPr>
        <p:txBody>
          <a:bodyPr/>
          <a:lstStyle>
            <a:lvl1pPr>
              <a:defRPr sz="3732"/>
            </a:lvl1pPr>
            <a:lvl2pPr>
              <a:defRPr sz="3199"/>
            </a:lvl2pPr>
            <a:lvl3pPr>
              <a:defRPr sz="2666"/>
            </a:lvl3pPr>
            <a:lvl4pPr>
              <a:defRPr sz="2399"/>
            </a:lvl4pPr>
            <a:lvl5pPr>
              <a:defRPr sz="2399"/>
            </a:lvl5pPr>
            <a:lvl6pPr>
              <a:defRPr sz="2399"/>
            </a:lvl6pPr>
            <a:lvl7pPr>
              <a:defRPr sz="2399"/>
            </a:lvl7pPr>
            <a:lvl8pPr>
              <a:defRPr sz="2399"/>
            </a:lvl8pPr>
            <a:lvl9pPr>
              <a:defRPr sz="2399"/>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7600" y="1200151"/>
            <a:ext cx="5384800" cy="3395664"/>
          </a:xfrm>
        </p:spPr>
        <p:txBody>
          <a:bodyPr/>
          <a:lstStyle>
            <a:lvl1pPr>
              <a:defRPr sz="3732"/>
            </a:lvl1pPr>
            <a:lvl2pPr>
              <a:defRPr sz="3199"/>
            </a:lvl2pPr>
            <a:lvl3pPr>
              <a:defRPr sz="2666"/>
            </a:lvl3pPr>
            <a:lvl4pPr>
              <a:defRPr sz="2399"/>
            </a:lvl4pPr>
            <a:lvl5pPr>
              <a:defRPr sz="2399"/>
            </a:lvl5pPr>
            <a:lvl6pPr>
              <a:defRPr sz="2399"/>
            </a:lvl6pPr>
            <a:lvl7pPr>
              <a:defRPr sz="2399"/>
            </a:lvl7pPr>
            <a:lvl8pPr>
              <a:defRPr sz="2399"/>
            </a:lvl8pPr>
            <a:lvl9pPr>
              <a:defRPr sz="2399"/>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D421E820-4398-486C-8A0E-AB272243CEDE}" type="datetimeFigureOut">
              <a:rPr lang="zh-CN" altLang="en-US" smtClean="0"/>
              <a:pPr/>
              <a:t>2024/3/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97E31A2-B2BC-4EB4-8B56-75304C41C08E}" type="slidenum">
              <a:rPr lang="zh-CN" altLang="en-US" smtClean="0"/>
              <a:pPr/>
              <a:t>‹#›</a:t>
            </a:fld>
            <a:endParaRPr lang="zh-CN" altLang="en-US"/>
          </a:p>
        </p:txBody>
      </p:sp>
    </p:spTree>
    <p:extLst>
      <p:ext uri="{BB962C8B-B14F-4D97-AF65-F5344CB8AC3E}">
        <p14:creationId xmlns:p14="http://schemas.microsoft.com/office/powerpoint/2010/main" val="3225618"/>
      </p:ext>
    </p:extLst>
  </p:cSld>
  <p:clrMapOvr>
    <a:masterClrMapping/>
  </p:clrMapOvr>
  <p:transition advClick="0" advTm="0">
    <p:circl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44A63A4E-F370-4E43-88DF-FF35117A42C8}" type="datetimeFigureOut">
              <a:rPr lang="zh-CN" altLang="en-US" smtClean="0"/>
              <a:t>2024/3/7</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39E3902-3291-4BB3-9961-88462FB34554}" type="slidenum">
              <a:rPr lang="zh-CN" altLang="en-US" smtClean="0"/>
              <a:t>‹#›</a:t>
            </a:fld>
            <a:endParaRPr lang="zh-CN" altLang="en-US"/>
          </a:p>
        </p:txBody>
      </p:sp>
    </p:spTree>
    <p:extLst>
      <p:ext uri="{BB962C8B-B14F-4D97-AF65-F5344CB8AC3E}">
        <p14:creationId xmlns:p14="http://schemas.microsoft.com/office/powerpoint/2010/main" val="13513323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9"/>
            <a:ext cx="10972800" cy="114300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600" y="1535113"/>
            <a:ext cx="5386917" cy="639762"/>
          </a:xfrm>
        </p:spPr>
        <p:txBody>
          <a:bodyPr anchor="b"/>
          <a:lstStyle>
            <a:lvl1pPr marL="0" indent="0">
              <a:buNone/>
              <a:defRPr sz="3199" b="1"/>
            </a:lvl1pPr>
            <a:lvl2pPr marL="609402" indent="0">
              <a:buNone/>
              <a:defRPr sz="2666" b="1"/>
            </a:lvl2pPr>
            <a:lvl3pPr marL="1218804" indent="0">
              <a:buNone/>
              <a:defRPr sz="2399" b="1"/>
            </a:lvl3pPr>
            <a:lvl4pPr marL="1828206" indent="0">
              <a:buNone/>
              <a:defRPr sz="2133" b="1"/>
            </a:lvl4pPr>
            <a:lvl5pPr marL="2437608" indent="0">
              <a:buNone/>
              <a:defRPr sz="2133" b="1"/>
            </a:lvl5pPr>
            <a:lvl6pPr marL="3047009" indent="0">
              <a:buNone/>
              <a:defRPr sz="2133" b="1"/>
            </a:lvl6pPr>
            <a:lvl7pPr marL="3656411" indent="0">
              <a:buNone/>
              <a:defRPr sz="2133" b="1"/>
            </a:lvl7pPr>
            <a:lvl8pPr marL="4265813" indent="0">
              <a:buNone/>
              <a:defRPr sz="2133" b="1"/>
            </a:lvl8pPr>
            <a:lvl9pPr marL="4875215" indent="0">
              <a:buNone/>
              <a:defRPr sz="2133" b="1"/>
            </a:lvl9pPr>
          </a:lstStyle>
          <a:p>
            <a:pPr lvl="0"/>
            <a:r>
              <a:rPr lang="zh-CN" altLang="en-US"/>
              <a:t>单击此处编辑母版文本样式</a:t>
            </a:r>
          </a:p>
        </p:txBody>
      </p:sp>
      <p:sp>
        <p:nvSpPr>
          <p:cNvPr id="4" name="内容占位符 3"/>
          <p:cNvSpPr>
            <a:spLocks noGrp="1"/>
          </p:cNvSpPr>
          <p:nvPr>
            <p:ph sz="half" idx="2"/>
          </p:nvPr>
        </p:nvSpPr>
        <p:spPr>
          <a:xfrm>
            <a:off x="609600" y="2174876"/>
            <a:ext cx="5386917" cy="3951288"/>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3369" y="1535113"/>
            <a:ext cx="5389033" cy="639762"/>
          </a:xfrm>
        </p:spPr>
        <p:txBody>
          <a:bodyPr anchor="b"/>
          <a:lstStyle>
            <a:lvl1pPr marL="0" indent="0">
              <a:buNone/>
              <a:defRPr sz="3199" b="1"/>
            </a:lvl1pPr>
            <a:lvl2pPr marL="609402" indent="0">
              <a:buNone/>
              <a:defRPr sz="2666" b="1"/>
            </a:lvl2pPr>
            <a:lvl3pPr marL="1218804" indent="0">
              <a:buNone/>
              <a:defRPr sz="2399" b="1"/>
            </a:lvl3pPr>
            <a:lvl4pPr marL="1828206" indent="0">
              <a:buNone/>
              <a:defRPr sz="2133" b="1"/>
            </a:lvl4pPr>
            <a:lvl5pPr marL="2437608" indent="0">
              <a:buNone/>
              <a:defRPr sz="2133" b="1"/>
            </a:lvl5pPr>
            <a:lvl6pPr marL="3047009" indent="0">
              <a:buNone/>
              <a:defRPr sz="2133" b="1"/>
            </a:lvl6pPr>
            <a:lvl7pPr marL="3656411" indent="0">
              <a:buNone/>
              <a:defRPr sz="2133" b="1"/>
            </a:lvl7pPr>
            <a:lvl8pPr marL="4265813" indent="0">
              <a:buNone/>
              <a:defRPr sz="2133" b="1"/>
            </a:lvl8pPr>
            <a:lvl9pPr marL="4875215" indent="0">
              <a:buNone/>
              <a:defRPr sz="2133" b="1"/>
            </a:lvl9pPr>
          </a:lstStyle>
          <a:p>
            <a:pPr lvl="0"/>
            <a:r>
              <a:rPr lang="zh-CN" altLang="en-US"/>
              <a:t>单击此处编辑母版文本样式</a:t>
            </a:r>
          </a:p>
        </p:txBody>
      </p:sp>
      <p:sp>
        <p:nvSpPr>
          <p:cNvPr id="6" name="内容占位符 5"/>
          <p:cNvSpPr>
            <a:spLocks noGrp="1"/>
          </p:cNvSpPr>
          <p:nvPr>
            <p:ph sz="quarter" idx="4"/>
          </p:nvPr>
        </p:nvSpPr>
        <p:spPr>
          <a:xfrm>
            <a:off x="6193369" y="2174876"/>
            <a:ext cx="5389033" cy="3951288"/>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D421E820-4398-486C-8A0E-AB272243CEDE}" type="datetimeFigureOut">
              <a:rPr lang="zh-CN" altLang="en-US" smtClean="0"/>
              <a:pPr/>
              <a:t>2024/3/7</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B97E31A2-B2BC-4EB4-8B56-75304C41C08E}" type="slidenum">
              <a:rPr lang="zh-CN" altLang="en-US" smtClean="0"/>
              <a:pPr/>
              <a:t>‹#›</a:t>
            </a:fld>
            <a:endParaRPr lang="zh-CN" altLang="en-US"/>
          </a:p>
        </p:txBody>
      </p:sp>
    </p:spTree>
    <p:extLst>
      <p:ext uri="{BB962C8B-B14F-4D97-AF65-F5344CB8AC3E}">
        <p14:creationId xmlns:p14="http://schemas.microsoft.com/office/powerpoint/2010/main" val="1938607928"/>
      </p:ext>
    </p:extLst>
  </p:cSld>
  <p:clrMapOvr>
    <a:masterClrMapping/>
  </p:clrMapOvr>
  <p:transition advClick="0" advTm="0">
    <p:circl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D421E820-4398-486C-8A0E-AB272243CEDE}" type="datetimeFigureOut">
              <a:rPr lang="zh-CN" altLang="en-US" smtClean="0"/>
              <a:pPr/>
              <a:t>2024/3/7</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97E31A2-B2BC-4EB4-8B56-75304C41C08E}" type="slidenum">
              <a:rPr lang="zh-CN" altLang="en-US" smtClean="0"/>
              <a:pPr/>
              <a:t>‹#›</a:t>
            </a:fld>
            <a:endParaRPr lang="zh-CN" altLang="en-US"/>
          </a:p>
        </p:txBody>
      </p:sp>
    </p:spTree>
    <p:extLst>
      <p:ext uri="{BB962C8B-B14F-4D97-AF65-F5344CB8AC3E}">
        <p14:creationId xmlns:p14="http://schemas.microsoft.com/office/powerpoint/2010/main" val="1548356564"/>
      </p:ext>
    </p:extLst>
  </p:cSld>
  <p:clrMapOvr>
    <a:masterClrMapping/>
  </p:clrMapOvr>
  <p:transition advClick="0" advTm="0">
    <p:circl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a:blip r:embed="rId2" cstate="print"/>
          <a:srcRect/>
          <a:stretch>
            <a:fillRect/>
          </a:stretch>
        </p:blipFill>
        <p:spPr bwMode="auto">
          <a:xfrm>
            <a:off x="0" y="-4231"/>
            <a:ext cx="12192000" cy="6862232"/>
          </a:xfrm>
          <a:prstGeom prst="rect">
            <a:avLst/>
          </a:prstGeom>
          <a:noFill/>
          <a:ln w="9525">
            <a:noFill/>
            <a:miter lim="800000"/>
            <a:headEnd/>
            <a:tailEnd/>
          </a:ln>
          <a:effectLst/>
        </p:spPr>
      </p:pic>
      <p:pic>
        <p:nvPicPr>
          <p:cNvPr id="8" name="图片 1">
            <a:extLst>
              <a:ext uri="{FF2B5EF4-FFF2-40B4-BE49-F238E27FC236}">
                <a16:creationId xmlns:a16="http://schemas.microsoft.com/office/drawing/2014/main" id="{DF40FDAF-6CBA-4BE6-A769-7C3BE5DD1F7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16272"/>
          <a:stretch/>
        </p:blipFill>
        <p:spPr>
          <a:xfrm>
            <a:off x="1" y="0"/>
            <a:ext cx="12195764" cy="6858000"/>
          </a:xfrm>
          <a:prstGeom prst="rect">
            <a:avLst/>
          </a:prstGeom>
        </p:spPr>
      </p:pic>
      <p:sp>
        <p:nvSpPr>
          <p:cNvPr id="2" name="日期占位符 1"/>
          <p:cNvSpPr>
            <a:spLocks noGrp="1"/>
          </p:cNvSpPr>
          <p:nvPr>
            <p:ph type="dt" sz="half" idx="10"/>
          </p:nvPr>
        </p:nvSpPr>
        <p:spPr/>
        <p:txBody>
          <a:bodyPr/>
          <a:lstStyle/>
          <a:p>
            <a:fld id="{D421E820-4398-486C-8A0E-AB272243CEDE}" type="datetimeFigureOut">
              <a:rPr lang="zh-CN" altLang="en-US" smtClean="0"/>
              <a:pPr/>
              <a:t>2024/3/7</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97E31A2-B2BC-4EB4-8B56-75304C41C08E}" type="slidenum">
              <a:rPr lang="zh-CN" altLang="en-US" smtClean="0"/>
              <a:pPr/>
              <a:t>‹#›</a:t>
            </a:fld>
            <a:endParaRPr lang="zh-CN" altLang="en-US"/>
          </a:p>
        </p:txBody>
      </p:sp>
      <p:sp>
        <p:nvSpPr>
          <p:cNvPr id="10" name="Rectangle: Diagonal Corners Snipped 9">
            <a:extLst>
              <a:ext uri="{FF2B5EF4-FFF2-40B4-BE49-F238E27FC236}">
                <a16:creationId xmlns:a16="http://schemas.microsoft.com/office/drawing/2014/main" id="{F8513E65-4002-4444-939C-088655585408}"/>
              </a:ext>
            </a:extLst>
          </p:cNvPr>
          <p:cNvSpPr/>
          <p:nvPr userDrawn="1"/>
        </p:nvSpPr>
        <p:spPr>
          <a:xfrm>
            <a:off x="192608" y="136526"/>
            <a:ext cx="11806784" cy="6584950"/>
          </a:xfrm>
          <a:prstGeom prst="snip2DiagRect">
            <a:avLst>
              <a:gd name="adj1" fmla="val 0"/>
              <a:gd name="adj2" fmla="val 12493"/>
            </a:avLst>
          </a:prstGeom>
          <a:solidFill>
            <a:schemeClr val="bg1">
              <a:alpha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11" name="图片 1">
            <a:extLst>
              <a:ext uri="{FF2B5EF4-FFF2-40B4-BE49-F238E27FC236}">
                <a16:creationId xmlns:a16="http://schemas.microsoft.com/office/drawing/2014/main" id="{088E1946-123A-4138-9CCF-D5CC4DEE8CA4}"/>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rcRect t="74552" b="6616"/>
          <a:stretch/>
        </p:blipFill>
        <p:spPr>
          <a:xfrm>
            <a:off x="0" y="4630119"/>
            <a:ext cx="12192000" cy="2227881"/>
          </a:xfrm>
          <a:prstGeom prst="rect">
            <a:avLst/>
          </a:prstGeom>
        </p:spPr>
      </p:pic>
      <p:pic>
        <p:nvPicPr>
          <p:cNvPr id="12" name="图片 9">
            <a:extLst>
              <a:ext uri="{FF2B5EF4-FFF2-40B4-BE49-F238E27FC236}">
                <a16:creationId xmlns:a16="http://schemas.microsoft.com/office/drawing/2014/main" id="{AC5D7C95-665A-451E-8EBA-90B877EDDC4E}"/>
              </a:ext>
            </a:extLst>
          </p:cNvPr>
          <p:cNvPicPr>
            <a:picLocks noChangeAspect="1"/>
          </p:cNvPicPr>
          <p:nvPr userDrawn="1"/>
        </p:nvPicPr>
        <p:blipFill rotWithShape="1">
          <a:blip r:embed="rId6">
            <a:duotone>
              <a:prstClr val="black"/>
              <a:schemeClr val="bg1">
                <a:tint val="45000"/>
                <a:satMod val="400000"/>
              </a:schemeClr>
            </a:duotone>
            <a:alphaModFix amt="50000"/>
            <a:extLst>
              <a:ext uri="{BEBA8EAE-BF5A-486C-A8C5-ECC9F3942E4B}">
                <a14:imgProps xmlns:a14="http://schemas.microsoft.com/office/drawing/2010/main">
                  <a14:imgLayer r:embed="rId7">
                    <a14:imgEffect>
                      <a14:saturation sat="400000"/>
                    </a14:imgEffect>
                  </a14:imgLayer>
                </a14:imgProps>
              </a:ext>
              <a:ext uri="{28A0092B-C50C-407E-A947-70E740481C1C}">
                <a14:useLocalDpi xmlns:a14="http://schemas.microsoft.com/office/drawing/2010/main" val="0"/>
              </a:ext>
            </a:extLst>
          </a:blip>
          <a:srcRect t="8286" b="26080"/>
          <a:stretch/>
        </p:blipFill>
        <p:spPr>
          <a:xfrm flipV="1">
            <a:off x="11510" y="1"/>
            <a:ext cx="12168981" cy="1613543"/>
          </a:xfrm>
          <a:prstGeom prst="rect">
            <a:avLst/>
          </a:prstGeom>
        </p:spPr>
      </p:pic>
    </p:spTree>
    <p:extLst>
      <p:ext uri="{BB962C8B-B14F-4D97-AF65-F5344CB8AC3E}">
        <p14:creationId xmlns:p14="http://schemas.microsoft.com/office/powerpoint/2010/main" val="2423880683"/>
      </p:ext>
    </p:extLst>
  </p:cSld>
  <p:clrMapOvr>
    <a:masterClrMapping/>
  </p:clrMapOvr>
  <p:transition advClick="0" advTm="0">
    <p:circl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421E820-4398-486C-8A0E-AB272243CEDE}" type="datetimeFigureOut">
              <a:rPr lang="zh-CN" altLang="en-US" smtClean="0"/>
              <a:pPr/>
              <a:t>2024/3/7</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97E31A2-B2BC-4EB4-8B56-75304C41C08E}" type="slidenum">
              <a:rPr lang="zh-CN" altLang="en-US" smtClean="0"/>
              <a:pPr/>
              <a:t>‹#›</a:t>
            </a:fld>
            <a:endParaRPr lang="zh-CN" altLang="en-US"/>
          </a:p>
        </p:txBody>
      </p:sp>
      <p:pic>
        <p:nvPicPr>
          <p:cNvPr id="7" name="图片 1">
            <a:extLst>
              <a:ext uri="{FF2B5EF4-FFF2-40B4-BE49-F238E27FC236}">
                <a16:creationId xmlns:a16="http://schemas.microsoft.com/office/drawing/2014/main" id="{A4D81879-231E-4D89-A718-93F5CE15FF1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6272"/>
          <a:stretch/>
        </p:blipFill>
        <p:spPr>
          <a:xfrm>
            <a:off x="1" y="0"/>
            <a:ext cx="12195764" cy="6858000"/>
          </a:xfrm>
          <a:prstGeom prst="rect">
            <a:avLst/>
          </a:prstGeom>
        </p:spPr>
      </p:pic>
    </p:spTree>
    <p:extLst>
      <p:ext uri="{BB962C8B-B14F-4D97-AF65-F5344CB8AC3E}">
        <p14:creationId xmlns:p14="http://schemas.microsoft.com/office/powerpoint/2010/main" val="3747726173"/>
      </p:ext>
    </p:extLst>
  </p:cSld>
  <p:clrMapOvr>
    <a:masterClrMapping/>
  </p:clrMapOvr>
  <p:transition advClick="0" advTm="0">
    <p:circl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4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421E820-4398-486C-8A0E-AB272243CEDE}" type="datetimeFigureOut">
              <a:rPr lang="zh-CN" altLang="en-US" smtClean="0"/>
              <a:pPr/>
              <a:t>2024/3/7</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97E31A2-B2BC-4EB4-8B56-75304C41C08E}" type="slidenum">
              <a:rPr lang="zh-CN" altLang="en-US" smtClean="0"/>
              <a:pPr/>
              <a:t>‹#›</a:t>
            </a:fld>
            <a:endParaRPr lang="zh-CN" altLang="en-US"/>
          </a:p>
        </p:txBody>
      </p:sp>
      <p:pic>
        <p:nvPicPr>
          <p:cNvPr id="7" name="图片 1">
            <a:extLst>
              <a:ext uri="{FF2B5EF4-FFF2-40B4-BE49-F238E27FC236}">
                <a16:creationId xmlns:a16="http://schemas.microsoft.com/office/drawing/2014/main" id="{A4D81879-231E-4D89-A718-93F5CE15FF1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6272"/>
          <a:stretch/>
        </p:blipFill>
        <p:spPr>
          <a:xfrm>
            <a:off x="1" y="0"/>
            <a:ext cx="12195764" cy="6858000"/>
          </a:xfrm>
          <a:prstGeom prst="rect">
            <a:avLst/>
          </a:prstGeom>
        </p:spPr>
      </p:pic>
      <p:pic>
        <p:nvPicPr>
          <p:cNvPr id="8" name="图片 1">
            <a:extLst>
              <a:ext uri="{FF2B5EF4-FFF2-40B4-BE49-F238E27FC236}">
                <a16:creationId xmlns:a16="http://schemas.microsoft.com/office/drawing/2014/main" id="{A595FEC1-E7A6-4044-90AF-7E96CF2B8A99}"/>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val="0"/>
              </a:ext>
            </a:extLst>
          </a:blip>
          <a:srcRect t="74552" b="6616"/>
          <a:stretch/>
        </p:blipFill>
        <p:spPr>
          <a:xfrm>
            <a:off x="0" y="4630119"/>
            <a:ext cx="12192000" cy="2227881"/>
          </a:xfrm>
          <a:prstGeom prst="rect">
            <a:avLst/>
          </a:prstGeom>
        </p:spPr>
      </p:pic>
      <p:pic>
        <p:nvPicPr>
          <p:cNvPr id="10" name="图片 9">
            <a:extLst>
              <a:ext uri="{FF2B5EF4-FFF2-40B4-BE49-F238E27FC236}">
                <a16:creationId xmlns:a16="http://schemas.microsoft.com/office/drawing/2014/main" id="{75705617-01FA-42ED-B88F-D727034AA215}"/>
              </a:ext>
            </a:extLst>
          </p:cNvPr>
          <p:cNvPicPr>
            <a:picLocks noChangeAspect="1"/>
          </p:cNvPicPr>
          <p:nvPr userDrawn="1"/>
        </p:nvPicPr>
        <p:blipFill rotWithShape="1">
          <a:blip r:embed="rId5">
            <a:duotone>
              <a:prstClr val="black"/>
              <a:schemeClr val="bg1">
                <a:tint val="45000"/>
                <a:satMod val="400000"/>
              </a:schemeClr>
            </a:duotone>
            <a:alphaModFix amt="50000"/>
            <a:extLst>
              <a:ext uri="{BEBA8EAE-BF5A-486C-A8C5-ECC9F3942E4B}">
                <a14:imgProps xmlns:a14="http://schemas.microsoft.com/office/drawing/2010/main">
                  <a14:imgLayer r:embed="rId6">
                    <a14:imgEffect>
                      <a14:saturation sat="400000"/>
                    </a14:imgEffect>
                  </a14:imgLayer>
                </a14:imgProps>
              </a:ext>
              <a:ext uri="{28A0092B-C50C-407E-A947-70E740481C1C}">
                <a14:useLocalDpi xmlns:a14="http://schemas.microsoft.com/office/drawing/2010/main" val="0"/>
              </a:ext>
            </a:extLst>
          </a:blip>
          <a:srcRect t="8286" b="26080"/>
          <a:stretch/>
        </p:blipFill>
        <p:spPr>
          <a:xfrm flipV="1">
            <a:off x="11510" y="1"/>
            <a:ext cx="12168981" cy="1613543"/>
          </a:xfrm>
          <a:prstGeom prst="rect">
            <a:avLst/>
          </a:prstGeom>
        </p:spPr>
      </p:pic>
    </p:spTree>
    <p:extLst>
      <p:ext uri="{BB962C8B-B14F-4D97-AF65-F5344CB8AC3E}">
        <p14:creationId xmlns:p14="http://schemas.microsoft.com/office/powerpoint/2010/main" val="2612579824"/>
      </p:ext>
    </p:extLst>
  </p:cSld>
  <p:clrMapOvr>
    <a:masterClrMapping/>
  </p:clrMapOvr>
  <p:transition advClick="0" advTm="0">
    <p:circl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2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421E820-4398-486C-8A0E-AB272243CEDE}" type="datetimeFigureOut">
              <a:rPr lang="zh-CN" altLang="en-US" smtClean="0"/>
              <a:pPr/>
              <a:t>2024/3/7</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97E31A2-B2BC-4EB4-8B56-75304C41C08E}" type="slidenum">
              <a:rPr lang="zh-CN" altLang="en-US" smtClean="0"/>
              <a:pPr/>
              <a:t>‹#›</a:t>
            </a:fld>
            <a:endParaRPr lang="zh-CN" altLang="en-US"/>
          </a:p>
        </p:txBody>
      </p:sp>
      <p:pic>
        <p:nvPicPr>
          <p:cNvPr id="4098" name="Picture 2"/>
          <p:cNvPicPr>
            <a:picLocks noChangeAspect="1" noChangeArrowheads="1"/>
          </p:cNvPicPr>
          <p:nvPr userDrawn="1"/>
        </p:nvPicPr>
        <p:blipFill>
          <a:blip r:embed="rId2" cstate="print"/>
          <a:srcRect/>
          <a:stretch>
            <a:fillRect/>
          </a:stretch>
        </p:blipFill>
        <p:spPr bwMode="auto">
          <a:xfrm>
            <a:off x="0" y="-4231"/>
            <a:ext cx="12192000" cy="6862232"/>
          </a:xfrm>
          <a:prstGeom prst="rect">
            <a:avLst/>
          </a:prstGeom>
          <a:noFill/>
          <a:ln w="9525">
            <a:noFill/>
            <a:miter lim="800000"/>
            <a:headEnd/>
            <a:tailEnd/>
          </a:ln>
          <a:effectLst/>
        </p:spPr>
      </p:pic>
      <p:pic>
        <p:nvPicPr>
          <p:cNvPr id="8" name="图片 1">
            <a:extLst>
              <a:ext uri="{FF2B5EF4-FFF2-40B4-BE49-F238E27FC236}">
                <a16:creationId xmlns:a16="http://schemas.microsoft.com/office/drawing/2014/main" id="{5D126FC8-9F20-49F7-9EA3-4740BA8327B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16272"/>
          <a:stretch/>
        </p:blipFill>
        <p:spPr>
          <a:xfrm>
            <a:off x="1" y="0"/>
            <a:ext cx="12195764" cy="6858000"/>
          </a:xfrm>
          <a:prstGeom prst="rect">
            <a:avLst/>
          </a:prstGeom>
        </p:spPr>
      </p:pic>
      <p:sp>
        <p:nvSpPr>
          <p:cNvPr id="6" name="Rectangle: Rounded Corners 5">
            <a:extLst>
              <a:ext uri="{FF2B5EF4-FFF2-40B4-BE49-F238E27FC236}">
                <a16:creationId xmlns:a16="http://schemas.microsoft.com/office/drawing/2014/main" id="{D7F840CA-5B21-4AB5-AD84-7721F0B06B38}"/>
              </a:ext>
            </a:extLst>
          </p:cNvPr>
          <p:cNvSpPr/>
          <p:nvPr userDrawn="1"/>
        </p:nvSpPr>
        <p:spPr>
          <a:xfrm>
            <a:off x="167342" y="151086"/>
            <a:ext cx="11857317" cy="6555831"/>
          </a:xfrm>
          <a:prstGeom prst="roundRect">
            <a:avLst/>
          </a:prstGeom>
          <a:solidFill>
            <a:schemeClr val="bg1">
              <a:alpha val="6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9" name="图片 1">
            <a:extLst>
              <a:ext uri="{FF2B5EF4-FFF2-40B4-BE49-F238E27FC236}">
                <a16:creationId xmlns:a16="http://schemas.microsoft.com/office/drawing/2014/main" id="{0F9AFD29-F245-4B04-9E2A-959964F7B316}"/>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rcRect t="74552" b="6616"/>
          <a:stretch/>
        </p:blipFill>
        <p:spPr>
          <a:xfrm>
            <a:off x="0" y="4630119"/>
            <a:ext cx="12192000" cy="2227881"/>
          </a:xfrm>
          <a:prstGeom prst="rect">
            <a:avLst/>
          </a:prstGeom>
        </p:spPr>
      </p:pic>
      <p:pic>
        <p:nvPicPr>
          <p:cNvPr id="11" name="图片 9">
            <a:extLst>
              <a:ext uri="{FF2B5EF4-FFF2-40B4-BE49-F238E27FC236}">
                <a16:creationId xmlns:a16="http://schemas.microsoft.com/office/drawing/2014/main" id="{AF3738A3-B838-42C1-B856-150901C986F4}"/>
              </a:ext>
            </a:extLst>
          </p:cNvPr>
          <p:cNvPicPr>
            <a:picLocks noChangeAspect="1"/>
          </p:cNvPicPr>
          <p:nvPr userDrawn="1"/>
        </p:nvPicPr>
        <p:blipFill rotWithShape="1">
          <a:blip r:embed="rId6">
            <a:duotone>
              <a:prstClr val="black"/>
              <a:schemeClr val="bg1">
                <a:tint val="45000"/>
                <a:satMod val="400000"/>
              </a:schemeClr>
            </a:duotone>
            <a:alphaModFix amt="70000"/>
            <a:extLst>
              <a:ext uri="{BEBA8EAE-BF5A-486C-A8C5-ECC9F3942E4B}">
                <a14:imgProps xmlns:a14="http://schemas.microsoft.com/office/drawing/2010/main">
                  <a14:imgLayer r:embed="rId7">
                    <a14:imgEffect>
                      <a14:saturation sat="400000"/>
                    </a14:imgEffect>
                  </a14:imgLayer>
                </a14:imgProps>
              </a:ext>
              <a:ext uri="{28A0092B-C50C-407E-A947-70E740481C1C}">
                <a14:useLocalDpi xmlns:a14="http://schemas.microsoft.com/office/drawing/2010/main" val="0"/>
              </a:ext>
            </a:extLst>
          </a:blip>
          <a:srcRect t="8286" b="26080"/>
          <a:stretch/>
        </p:blipFill>
        <p:spPr>
          <a:xfrm flipV="1">
            <a:off x="11510" y="1"/>
            <a:ext cx="12168981" cy="1613543"/>
          </a:xfrm>
          <a:prstGeom prst="rect">
            <a:avLst/>
          </a:prstGeom>
        </p:spPr>
      </p:pic>
    </p:spTree>
    <p:extLst>
      <p:ext uri="{BB962C8B-B14F-4D97-AF65-F5344CB8AC3E}">
        <p14:creationId xmlns:p14="http://schemas.microsoft.com/office/powerpoint/2010/main" val="630388727"/>
      </p:ext>
    </p:extLst>
  </p:cSld>
  <p:clrMapOvr>
    <a:masterClrMapping/>
  </p:clrMapOvr>
  <p:transition advClick="0" advTm="0">
    <p:circl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421E820-4398-486C-8A0E-AB272243CEDE}" type="datetimeFigureOut">
              <a:rPr lang="zh-CN" altLang="en-US" smtClean="0"/>
              <a:pPr/>
              <a:t>2024/3/7</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97E31A2-B2BC-4EB4-8B56-75304C41C08E}" type="slidenum">
              <a:rPr lang="zh-CN" altLang="en-US" smtClean="0"/>
              <a:pPr/>
              <a:t>‹#›</a:t>
            </a:fld>
            <a:endParaRPr lang="zh-CN" altLang="en-US"/>
          </a:p>
        </p:txBody>
      </p:sp>
      <p:pic>
        <p:nvPicPr>
          <p:cNvPr id="4098" name="Picture 2"/>
          <p:cNvPicPr>
            <a:picLocks noChangeAspect="1" noChangeArrowheads="1"/>
          </p:cNvPicPr>
          <p:nvPr userDrawn="1"/>
        </p:nvPicPr>
        <p:blipFill>
          <a:blip r:embed="rId2" cstate="print"/>
          <a:srcRect/>
          <a:stretch>
            <a:fillRect/>
          </a:stretch>
        </p:blipFill>
        <p:spPr bwMode="auto">
          <a:xfrm>
            <a:off x="0" y="-4231"/>
            <a:ext cx="12192000" cy="6862232"/>
          </a:xfrm>
          <a:prstGeom prst="rect">
            <a:avLst/>
          </a:prstGeom>
          <a:noFill/>
          <a:ln w="9525">
            <a:noFill/>
            <a:miter lim="800000"/>
            <a:headEnd/>
            <a:tailEnd/>
          </a:ln>
          <a:effectLst/>
        </p:spPr>
      </p:pic>
      <p:pic>
        <p:nvPicPr>
          <p:cNvPr id="8" name="图片 1">
            <a:extLst>
              <a:ext uri="{FF2B5EF4-FFF2-40B4-BE49-F238E27FC236}">
                <a16:creationId xmlns:a16="http://schemas.microsoft.com/office/drawing/2014/main" id="{2D6EFD80-EF67-4A2D-9F71-2C47E7E164A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16272"/>
          <a:stretch/>
        </p:blipFill>
        <p:spPr>
          <a:xfrm>
            <a:off x="1" y="0"/>
            <a:ext cx="12195764" cy="6858000"/>
          </a:xfrm>
          <a:prstGeom prst="rect">
            <a:avLst/>
          </a:prstGeom>
        </p:spPr>
      </p:pic>
      <p:sp>
        <p:nvSpPr>
          <p:cNvPr id="5" name="Rectangle: Rounded Corners 4">
            <a:extLst>
              <a:ext uri="{FF2B5EF4-FFF2-40B4-BE49-F238E27FC236}">
                <a16:creationId xmlns:a16="http://schemas.microsoft.com/office/drawing/2014/main" id="{5DA334B4-7A47-4382-B5A3-409C826FC008}"/>
              </a:ext>
            </a:extLst>
          </p:cNvPr>
          <p:cNvSpPr/>
          <p:nvPr userDrawn="1"/>
        </p:nvSpPr>
        <p:spPr>
          <a:xfrm>
            <a:off x="167342" y="151086"/>
            <a:ext cx="11857317" cy="6555831"/>
          </a:xfrm>
          <a:prstGeom prst="roundRect">
            <a:avLst/>
          </a:prstGeom>
          <a:solidFill>
            <a:schemeClr val="bg1"/>
          </a:solidFill>
          <a:ln>
            <a:solidFill>
              <a:schemeClr val="bg1"/>
            </a:solid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9" name="图片 1">
            <a:extLst>
              <a:ext uri="{FF2B5EF4-FFF2-40B4-BE49-F238E27FC236}">
                <a16:creationId xmlns:a16="http://schemas.microsoft.com/office/drawing/2014/main" id="{CCF04750-AEB0-475A-85CA-C5A167F7B062}"/>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rcRect t="74552" b="6616"/>
          <a:stretch/>
        </p:blipFill>
        <p:spPr>
          <a:xfrm>
            <a:off x="0" y="4630119"/>
            <a:ext cx="12192000" cy="2227881"/>
          </a:xfrm>
          <a:prstGeom prst="rect">
            <a:avLst/>
          </a:prstGeom>
        </p:spPr>
      </p:pic>
      <p:pic>
        <p:nvPicPr>
          <p:cNvPr id="11" name="图片 9">
            <a:extLst>
              <a:ext uri="{FF2B5EF4-FFF2-40B4-BE49-F238E27FC236}">
                <a16:creationId xmlns:a16="http://schemas.microsoft.com/office/drawing/2014/main" id="{3079EE2C-AA5F-4FD1-B64D-D6CB133C520A}"/>
              </a:ext>
            </a:extLst>
          </p:cNvPr>
          <p:cNvPicPr>
            <a:picLocks noChangeAspect="1"/>
          </p:cNvPicPr>
          <p:nvPr userDrawn="1"/>
        </p:nvPicPr>
        <p:blipFill rotWithShape="1">
          <a:blip r:embed="rId6">
            <a:duotone>
              <a:prstClr val="black"/>
              <a:schemeClr val="bg1">
                <a:tint val="45000"/>
                <a:satMod val="400000"/>
              </a:schemeClr>
            </a:duotone>
            <a:alphaModFix amt="50000"/>
            <a:extLst>
              <a:ext uri="{BEBA8EAE-BF5A-486C-A8C5-ECC9F3942E4B}">
                <a14:imgProps xmlns:a14="http://schemas.microsoft.com/office/drawing/2010/main">
                  <a14:imgLayer r:embed="rId7">
                    <a14:imgEffect>
                      <a14:saturation sat="400000"/>
                    </a14:imgEffect>
                  </a14:imgLayer>
                </a14:imgProps>
              </a:ext>
              <a:ext uri="{28A0092B-C50C-407E-A947-70E740481C1C}">
                <a14:useLocalDpi xmlns:a14="http://schemas.microsoft.com/office/drawing/2010/main" val="0"/>
              </a:ext>
            </a:extLst>
          </a:blip>
          <a:srcRect t="8286" b="26080"/>
          <a:stretch/>
        </p:blipFill>
        <p:spPr>
          <a:xfrm flipV="1">
            <a:off x="11510" y="1"/>
            <a:ext cx="12168981" cy="1613543"/>
          </a:xfrm>
          <a:prstGeom prst="rect">
            <a:avLst/>
          </a:prstGeom>
        </p:spPr>
      </p:pic>
    </p:spTree>
    <p:extLst>
      <p:ext uri="{BB962C8B-B14F-4D97-AF65-F5344CB8AC3E}">
        <p14:creationId xmlns:p14="http://schemas.microsoft.com/office/powerpoint/2010/main" val="2066873398"/>
      </p:ext>
    </p:extLst>
  </p:cSld>
  <p:clrMapOvr>
    <a:masterClrMapping/>
  </p:clrMapOvr>
  <p:transition advClick="0" advTm="0">
    <p:circl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6" name="Picture 2" descr="Ai là triệu phú/Phiên bản 8 (2015-2017) | Wiki Ai là triệu phú | Fandom">
            <a:extLst>
              <a:ext uri="{FF2B5EF4-FFF2-40B4-BE49-F238E27FC236}">
                <a16:creationId xmlns:a16="http://schemas.microsoft.com/office/drawing/2014/main" id="{DF4651B7-5DDB-422B-AC49-A7EA3BEA836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BDA3A0D9-1A66-49B6-B787-4A1A5836B54E}"/>
              </a:ext>
            </a:extLst>
          </p:cNvPr>
          <p:cNvSpPr txBox="1"/>
          <p:nvPr userDrawn="1"/>
        </p:nvSpPr>
        <p:spPr>
          <a:xfrm>
            <a:off x="0" y="1"/>
            <a:ext cx="1920213" cy="461537"/>
          </a:xfrm>
          <a:prstGeom prst="rect">
            <a:avLst/>
          </a:prstGeom>
          <a:noFill/>
        </p:spPr>
        <p:txBody>
          <a:bodyPr wrap="square" rtlCol="0">
            <a:spAutoFit/>
          </a:bodyPr>
          <a:lstStyle/>
          <a:p>
            <a:pPr algn="ctr"/>
            <a:r>
              <a:rPr lang="en-US" sz="2399">
                <a:solidFill>
                  <a:srgbClr val="002060"/>
                </a:solidFill>
                <a:latin typeface="Times New Roman" panose="02020603050405020304" pitchFamily="18" charset="0"/>
                <a:cs typeface="Times New Roman" panose="02020603050405020304" pitchFamily="18" charset="0"/>
              </a:rPr>
              <a:t>EduFive</a:t>
            </a:r>
          </a:p>
        </p:txBody>
      </p:sp>
      <p:sp>
        <p:nvSpPr>
          <p:cNvPr id="8" name="TextBox 7">
            <a:extLst>
              <a:ext uri="{FF2B5EF4-FFF2-40B4-BE49-F238E27FC236}">
                <a16:creationId xmlns:a16="http://schemas.microsoft.com/office/drawing/2014/main" id="{0D6FBD2E-E760-4DA2-8B54-52424A5B6380}"/>
              </a:ext>
            </a:extLst>
          </p:cNvPr>
          <p:cNvSpPr txBox="1"/>
          <p:nvPr userDrawn="1"/>
        </p:nvSpPr>
        <p:spPr>
          <a:xfrm>
            <a:off x="10560496" y="6365710"/>
            <a:ext cx="1920213" cy="461537"/>
          </a:xfrm>
          <a:prstGeom prst="rect">
            <a:avLst/>
          </a:prstGeom>
          <a:noFill/>
        </p:spPr>
        <p:txBody>
          <a:bodyPr wrap="square" rtlCol="0">
            <a:spAutoFit/>
          </a:bodyPr>
          <a:lstStyle/>
          <a:p>
            <a:pPr algn="ctr"/>
            <a:r>
              <a:rPr lang="en-US" sz="2399">
                <a:solidFill>
                  <a:srgbClr val="002060"/>
                </a:solidFill>
                <a:latin typeface="Times New Roman" panose="02020603050405020304" pitchFamily="18" charset="0"/>
                <a:cs typeface="Times New Roman" panose="02020603050405020304" pitchFamily="18" charset="0"/>
              </a:rPr>
              <a:t>EduFive</a:t>
            </a:r>
          </a:p>
        </p:txBody>
      </p:sp>
    </p:spTree>
    <p:extLst>
      <p:ext uri="{BB962C8B-B14F-4D97-AF65-F5344CB8AC3E}">
        <p14:creationId xmlns:p14="http://schemas.microsoft.com/office/powerpoint/2010/main" val="2294941044"/>
      </p:ext>
    </p:extLst>
  </p:cSld>
  <p:clrMapOvr>
    <a:masterClrMapping/>
  </p:clrMapOvr>
  <p:transition advClick="0" advTm="0">
    <p:circl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2" y="273051"/>
            <a:ext cx="4011084" cy="1162051"/>
          </a:xfrm>
        </p:spPr>
        <p:txBody>
          <a:bodyPr anchor="b"/>
          <a:lstStyle>
            <a:lvl1pPr algn="l">
              <a:defRPr sz="2666" b="1"/>
            </a:lvl1pPr>
          </a:lstStyle>
          <a:p>
            <a:r>
              <a:rPr lang="zh-CN" altLang="en-US"/>
              <a:t>单击此处编辑母版标题样式</a:t>
            </a:r>
          </a:p>
        </p:txBody>
      </p:sp>
      <p:sp>
        <p:nvSpPr>
          <p:cNvPr id="3" name="内容占位符 2"/>
          <p:cNvSpPr>
            <a:spLocks noGrp="1"/>
          </p:cNvSpPr>
          <p:nvPr>
            <p:ph idx="1"/>
          </p:nvPr>
        </p:nvSpPr>
        <p:spPr>
          <a:xfrm>
            <a:off x="4766733" y="273050"/>
            <a:ext cx="6815667" cy="5853113"/>
          </a:xfrm>
        </p:spPr>
        <p:txBody>
          <a:bodyPr/>
          <a:lstStyle>
            <a:lvl1pPr>
              <a:defRPr sz="4265"/>
            </a:lvl1pPr>
            <a:lvl2pPr>
              <a:defRPr sz="3732"/>
            </a:lvl2pPr>
            <a:lvl3pPr>
              <a:defRPr sz="3199"/>
            </a:lvl3pPr>
            <a:lvl4pPr>
              <a:defRPr sz="2666"/>
            </a:lvl4pPr>
            <a:lvl5pPr>
              <a:defRPr sz="2666"/>
            </a:lvl5pPr>
            <a:lvl6pPr>
              <a:defRPr sz="2666"/>
            </a:lvl6pPr>
            <a:lvl7pPr>
              <a:defRPr sz="2666"/>
            </a:lvl7pPr>
            <a:lvl8pPr>
              <a:defRPr sz="2666"/>
            </a:lvl8pPr>
            <a:lvl9pPr>
              <a:defRPr sz="2666"/>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602" y="1435102"/>
            <a:ext cx="4011084" cy="4691062"/>
          </a:xfrm>
        </p:spPr>
        <p:txBody>
          <a:bodyPr/>
          <a:lstStyle>
            <a:lvl1pPr marL="0" indent="0">
              <a:buNone/>
              <a:defRPr sz="1866"/>
            </a:lvl1pPr>
            <a:lvl2pPr marL="609402" indent="0">
              <a:buNone/>
              <a:defRPr sz="1599"/>
            </a:lvl2pPr>
            <a:lvl3pPr marL="1218804" indent="0">
              <a:buNone/>
              <a:defRPr sz="1333"/>
            </a:lvl3pPr>
            <a:lvl4pPr marL="1828206" indent="0">
              <a:buNone/>
              <a:defRPr sz="1200"/>
            </a:lvl4pPr>
            <a:lvl5pPr marL="2437608" indent="0">
              <a:buNone/>
              <a:defRPr sz="1200"/>
            </a:lvl5pPr>
            <a:lvl6pPr marL="3047009" indent="0">
              <a:buNone/>
              <a:defRPr sz="1200"/>
            </a:lvl6pPr>
            <a:lvl7pPr marL="3656411" indent="0">
              <a:buNone/>
              <a:defRPr sz="1200"/>
            </a:lvl7pPr>
            <a:lvl8pPr marL="4265813" indent="0">
              <a:buNone/>
              <a:defRPr sz="1200"/>
            </a:lvl8pPr>
            <a:lvl9pPr marL="4875215" indent="0">
              <a:buNone/>
              <a:defRPr sz="12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D421E820-4398-486C-8A0E-AB272243CEDE}" type="datetimeFigureOut">
              <a:rPr lang="zh-CN" altLang="en-US" smtClean="0"/>
              <a:pPr/>
              <a:t>2024/3/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97E31A2-B2BC-4EB4-8B56-75304C41C08E}" type="slidenum">
              <a:rPr lang="zh-CN" altLang="en-US" smtClean="0"/>
              <a:pPr/>
              <a:t>‹#›</a:t>
            </a:fld>
            <a:endParaRPr lang="zh-CN" altLang="en-US"/>
          </a:p>
        </p:txBody>
      </p:sp>
    </p:spTree>
    <p:extLst>
      <p:ext uri="{BB962C8B-B14F-4D97-AF65-F5344CB8AC3E}">
        <p14:creationId xmlns:p14="http://schemas.microsoft.com/office/powerpoint/2010/main" val="2696578169"/>
      </p:ext>
    </p:extLst>
  </p:cSld>
  <p:clrMapOvr>
    <a:masterClrMapping/>
  </p:clrMapOvr>
  <p:transition advClick="0" advTm="0">
    <p:circl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7" y="4800600"/>
            <a:ext cx="7315200" cy="566738"/>
          </a:xfrm>
        </p:spPr>
        <p:txBody>
          <a:bodyPr anchor="b"/>
          <a:lstStyle>
            <a:lvl1pPr algn="l">
              <a:defRPr sz="2666" b="1"/>
            </a:lvl1pPr>
          </a:lstStyle>
          <a:p>
            <a:r>
              <a:rPr lang="zh-CN" altLang="en-US"/>
              <a:t>单击此处编辑母版标题样式</a:t>
            </a:r>
          </a:p>
        </p:txBody>
      </p:sp>
      <p:sp>
        <p:nvSpPr>
          <p:cNvPr id="3" name="图片占位符 2"/>
          <p:cNvSpPr>
            <a:spLocks noGrp="1"/>
          </p:cNvSpPr>
          <p:nvPr>
            <p:ph type="pic" idx="1"/>
          </p:nvPr>
        </p:nvSpPr>
        <p:spPr>
          <a:xfrm>
            <a:off x="2389717" y="612776"/>
            <a:ext cx="7315200" cy="4114800"/>
          </a:xfrm>
        </p:spPr>
        <p:txBody>
          <a:bodyPr/>
          <a:lstStyle>
            <a:lvl1pPr marL="0" indent="0">
              <a:buNone/>
              <a:defRPr sz="4265"/>
            </a:lvl1pPr>
            <a:lvl2pPr marL="609402" indent="0">
              <a:buNone/>
              <a:defRPr sz="3732"/>
            </a:lvl2pPr>
            <a:lvl3pPr marL="1218804" indent="0">
              <a:buNone/>
              <a:defRPr sz="3199"/>
            </a:lvl3pPr>
            <a:lvl4pPr marL="1828206" indent="0">
              <a:buNone/>
              <a:defRPr sz="2666"/>
            </a:lvl4pPr>
            <a:lvl5pPr marL="2437608" indent="0">
              <a:buNone/>
              <a:defRPr sz="2666"/>
            </a:lvl5pPr>
            <a:lvl6pPr marL="3047009" indent="0">
              <a:buNone/>
              <a:defRPr sz="2666"/>
            </a:lvl6pPr>
            <a:lvl7pPr marL="3656411" indent="0">
              <a:buNone/>
              <a:defRPr sz="2666"/>
            </a:lvl7pPr>
            <a:lvl8pPr marL="4265813" indent="0">
              <a:buNone/>
              <a:defRPr sz="2666"/>
            </a:lvl8pPr>
            <a:lvl9pPr marL="4875215" indent="0">
              <a:buNone/>
              <a:defRPr sz="2666"/>
            </a:lvl9pPr>
          </a:lstStyle>
          <a:p>
            <a:endParaRPr lang="zh-CN" altLang="en-US"/>
          </a:p>
        </p:txBody>
      </p:sp>
      <p:sp>
        <p:nvSpPr>
          <p:cNvPr id="4" name="文本占位符 3"/>
          <p:cNvSpPr>
            <a:spLocks noGrp="1"/>
          </p:cNvSpPr>
          <p:nvPr>
            <p:ph type="body" sz="half" idx="2"/>
          </p:nvPr>
        </p:nvSpPr>
        <p:spPr>
          <a:xfrm>
            <a:off x="2389717" y="5367338"/>
            <a:ext cx="7315200" cy="804862"/>
          </a:xfrm>
        </p:spPr>
        <p:txBody>
          <a:bodyPr/>
          <a:lstStyle>
            <a:lvl1pPr marL="0" indent="0">
              <a:buNone/>
              <a:defRPr sz="1866"/>
            </a:lvl1pPr>
            <a:lvl2pPr marL="609402" indent="0">
              <a:buNone/>
              <a:defRPr sz="1599"/>
            </a:lvl2pPr>
            <a:lvl3pPr marL="1218804" indent="0">
              <a:buNone/>
              <a:defRPr sz="1333"/>
            </a:lvl3pPr>
            <a:lvl4pPr marL="1828206" indent="0">
              <a:buNone/>
              <a:defRPr sz="1200"/>
            </a:lvl4pPr>
            <a:lvl5pPr marL="2437608" indent="0">
              <a:buNone/>
              <a:defRPr sz="1200"/>
            </a:lvl5pPr>
            <a:lvl6pPr marL="3047009" indent="0">
              <a:buNone/>
              <a:defRPr sz="1200"/>
            </a:lvl6pPr>
            <a:lvl7pPr marL="3656411" indent="0">
              <a:buNone/>
              <a:defRPr sz="1200"/>
            </a:lvl7pPr>
            <a:lvl8pPr marL="4265813" indent="0">
              <a:buNone/>
              <a:defRPr sz="1200"/>
            </a:lvl8pPr>
            <a:lvl9pPr marL="4875215" indent="0">
              <a:buNone/>
              <a:defRPr sz="12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D421E820-4398-486C-8A0E-AB272243CEDE}" type="datetimeFigureOut">
              <a:rPr lang="zh-CN" altLang="en-US" smtClean="0"/>
              <a:pPr/>
              <a:t>2024/3/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97E31A2-B2BC-4EB4-8B56-75304C41C08E}" type="slidenum">
              <a:rPr lang="zh-CN" altLang="en-US" smtClean="0"/>
              <a:pPr/>
              <a:t>‹#›</a:t>
            </a:fld>
            <a:endParaRPr lang="zh-CN" altLang="en-US"/>
          </a:p>
        </p:txBody>
      </p:sp>
    </p:spTree>
    <p:extLst>
      <p:ext uri="{BB962C8B-B14F-4D97-AF65-F5344CB8AC3E}">
        <p14:creationId xmlns:p14="http://schemas.microsoft.com/office/powerpoint/2010/main" val="4201069680"/>
      </p:ext>
    </p:extLst>
  </p:cSld>
  <p:clrMapOvr>
    <a:masterClrMapping/>
  </p:clrMapOvr>
  <p:transition advClick="0" advTm="0">
    <p:circl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44A63A4E-F370-4E43-88DF-FF35117A42C8}" type="datetimeFigureOut">
              <a:rPr lang="zh-CN" altLang="en-US" smtClean="0"/>
              <a:t>2024/3/7</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739E3902-3291-4BB3-9961-88462FB34554}" type="slidenum">
              <a:rPr lang="zh-CN" altLang="en-US" smtClean="0"/>
              <a:t>‹#›</a:t>
            </a:fld>
            <a:endParaRPr lang="zh-CN" altLang="en-US"/>
          </a:p>
        </p:txBody>
      </p:sp>
    </p:spTree>
    <p:extLst>
      <p:ext uri="{BB962C8B-B14F-4D97-AF65-F5344CB8AC3E}">
        <p14:creationId xmlns:p14="http://schemas.microsoft.com/office/powerpoint/2010/main" val="101545297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421E820-4398-486C-8A0E-AB272243CEDE}" type="datetimeFigureOut">
              <a:rPr lang="zh-CN" altLang="en-US" smtClean="0"/>
              <a:pPr/>
              <a:t>2024/3/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97E31A2-B2BC-4EB4-8B56-75304C41C08E}" type="slidenum">
              <a:rPr lang="zh-CN" altLang="en-US" smtClean="0"/>
              <a:pPr/>
              <a:t>‹#›</a:t>
            </a:fld>
            <a:endParaRPr lang="zh-CN" altLang="en-US"/>
          </a:p>
        </p:txBody>
      </p:sp>
    </p:spTree>
    <p:extLst>
      <p:ext uri="{BB962C8B-B14F-4D97-AF65-F5344CB8AC3E}">
        <p14:creationId xmlns:p14="http://schemas.microsoft.com/office/powerpoint/2010/main" val="1485637391"/>
      </p:ext>
    </p:extLst>
  </p:cSld>
  <p:clrMapOvr>
    <a:masterClrMapping/>
  </p:clrMapOvr>
  <p:transition advClick="0" advTm="0">
    <p:circl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206376"/>
            <a:ext cx="2743200" cy="43894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600" y="206376"/>
            <a:ext cx="8026400" cy="43894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421E820-4398-486C-8A0E-AB272243CEDE}" type="datetimeFigureOut">
              <a:rPr lang="zh-CN" altLang="en-US" smtClean="0"/>
              <a:pPr/>
              <a:t>2024/3/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97E31A2-B2BC-4EB4-8B56-75304C41C08E}" type="slidenum">
              <a:rPr lang="zh-CN" altLang="en-US" smtClean="0"/>
              <a:pPr/>
              <a:t>‹#›</a:t>
            </a:fld>
            <a:endParaRPr lang="zh-CN" altLang="en-US"/>
          </a:p>
        </p:txBody>
      </p:sp>
    </p:spTree>
    <p:extLst>
      <p:ext uri="{BB962C8B-B14F-4D97-AF65-F5344CB8AC3E}">
        <p14:creationId xmlns:p14="http://schemas.microsoft.com/office/powerpoint/2010/main" val="3460326997"/>
      </p:ext>
    </p:extLst>
  </p:cSld>
  <p:clrMapOvr>
    <a:masterClrMapping/>
  </p:clrMapOvr>
  <p:transition advClick="0" advTm="0">
    <p:circl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标题和内容">
    <p:bg>
      <p:bgPr>
        <a:solidFill>
          <a:srgbClr val="FCFCF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221528"/>
      </p:ext>
    </p:extLst>
  </p:cSld>
  <p:clrMapOvr>
    <a:masterClrMapping/>
  </p:clrMapOvr>
  <p:transition advClick="0" advTm="0">
    <p:circl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462557"/>
      </p:ext>
    </p:extLst>
  </p:cSld>
  <p:clrMapOvr>
    <a:masterClrMapping/>
  </p:clrMapOvr>
  <p:transition advClick="0" advTm="0">
    <p:circl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8"/>
        <p:cNvGrpSpPr/>
        <p:nvPr/>
      </p:nvGrpSpPr>
      <p:grpSpPr>
        <a:xfrm>
          <a:off x="0" y="0"/>
          <a:ext cx="0" cy="0"/>
          <a:chOff x="0" y="0"/>
          <a:chExt cx="0" cy="0"/>
        </a:xfrm>
      </p:grpSpPr>
      <p:grpSp>
        <p:nvGrpSpPr>
          <p:cNvPr id="9" name="Google Shape;9;p2"/>
          <p:cNvGrpSpPr/>
          <p:nvPr/>
        </p:nvGrpSpPr>
        <p:grpSpPr>
          <a:xfrm>
            <a:off x="215334" y="365100"/>
            <a:ext cx="11611433" cy="6148800"/>
            <a:chOff x="161500" y="273825"/>
            <a:chExt cx="8708575" cy="4611600"/>
          </a:xfrm>
        </p:grpSpPr>
        <p:sp>
          <p:nvSpPr>
            <p:cNvPr id="10" name="Google Shape;10;p2"/>
            <p:cNvSpPr/>
            <p:nvPr/>
          </p:nvSpPr>
          <p:spPr>
            <a:xfrm>
              <a:off x="341975" y="273825"/>
              <a:ext cx="8528100" cy="4611600"/>
            </a:xfrm>
            <a:prstGeom prst="roundRect">
              <a:avLst>
                <a:gd name="adj" fmla="val 4554"/>
              </a:avLst>
            </a:prstGeom>
            <a:solidFill>
              <a:srgbClr val="DBBC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 name="Google Shape;11;p2"/>
            <p:cNvSpPr/>
            <p:nvPr/>
          </p:nvSpPr>
          <p:spPr>
            <a:xfrm>
              <a:off x="435991" y="785819"/>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 name="Google Shape;12;p2"/>
            <p:cNvSpPr/>
            <p:nvPr/>
          </p:nvSpPr>
          <p:spPr>
            <a:xfrm>
              <a:off x="435991" y="1266244"/>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 name="Google Shape;13;p2"/>
            <p:cNvSpPr/>
            <p:nvPr/>
          </p:nvSpPr>
          <p:spPr>
            <a:xfrm>
              <a:off x="435991" y="1746669"/>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 name="Google Shape;14;p2"/>
            <p:cNvSpPr/>
            <p:nvPr/>
          </p:nvSpPr>
          <p:spPr>
            <a:xfrm>
              <a:off x="435991" y="2247494"/>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 name="Google Shape;15;p2"/>
            <p:cNvSpPr/>
            <p:nvPr/>
          </p:nvSpPr>
          <p:spPr>
            <a:xfrm>
              <a:off x="435991" y="2707519"/>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 name="Google Shape;16;p2"/>
            <p:cNvSpPr/>
            <p:nvPr/>
          </p:nvSpPr>
          <p:spPr>
            <a:xfrm>
              <a:off x="435991" y="3187944"/>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 name="Google Shape;17;p2"/>
            <p:cNvSpPr/>
            <p:nvPr/>
          </p:nvSpPr>
          <p:spPr>
            <a:xfrm>
              <a:off x="435991" y="3668369"/>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 name="Google Shape;18;p2"/>
            <p:cNvSpPr/>
            <p:nvPr/>
          </p:nvSpPr>
          <p:spPr>
            <a:xfrm>
              <a:off x="435991" y="4169194"/>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 name="Google Shape;19;p2"/>
            <p:cNvSpPr/>
            <p:nvPr/>
          </p:nvSpPr>
          <p:spPr>
            <a:xfrm>
              <a:off x="161500" y="228829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 name="Google Shape;20;p2"/>
            <p:cNvSpPr/>
            <p:nvPr/>
          </p:nvSpPr>
          <p:spPr>
            <a:xfrm>
              <a:off x="161500" y="274831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1" name="Google Shape;21;p2"/>
            <p:cNvSpPr/>
            <p:nvPr/>
          </p:nvSpPr>
          <p:spPr>
            <a:xfrm>
              <a:off x="161500" y="322874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 name="Google Shape;22;p2"/>
            <p:cNvSpPr/>
            <p:nvPr/>
          </p:nvSpPr>
          <p:spPr>
            <a:xfrm>
              <a:off x="161500" y="370916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 name="Google Shape;23;p2"/>
            <p:cNvSpPr/>
            <p:nvPr/>
          </p:nvSpPr>
          <p:spPr>
            <a:xfrm>
              <a:off x="161500" y="420999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 name="Google Shape;24;p2"/>
            <p:cNvSpPr/>
            <p:nvPr/>
          </p:nvSpPr>
          <p:spPr>
            <a:xfrm>
              <a:off x="161500" y="178746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 name="Google Shape;25;p2"/>
            <p:cNvSpPr/>
            <p:nvPr/>
          </p:nvSpPr>
          <p:spPr>
            <a:xfrm>
              <a:off x="161500" y="130704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6" name="Google Shape;26;p2"/>
            <p:cNvSpPr/>
            <p:nvPr/>
          </p:nvSpPr>
          <p:spPr>
            <a:xfrm>
              <a:off x="161500" y="82661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27" name="Google Shape;27;p2"/>
          <p:cNvGrpSpPr/>
          <p:nvPr/>
        </p:nvGrpSpPr>
        <p:grpSpPr>
          <a:xfrm>
            <a:off x="1657355" y="1261467"/>
            <a:ext cx="9171147" cy="4356400"/>
            <a:chOff x="1243016" y="946100"/>
            <a:chExt cx="6878360" cy="3267300"/>
          </a:xfrm>
        </p:grpSpPr>
        <p:sp>
          <p:nvSpPr>
            <p:cNvPr id="28" name="Google Shape;28;p2"/>
            <p:cNvSpPr/>
            <p:nvPr/>
          </p:nvSpPr>
          <p:spPr>
            <a:xfrm>
              <a:off x="1282876" y="946100"/>
              <a:ext cx="6838500" cy="3267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29" name="Google Shape;29;p2"/>
            <p:cNvGrpSpPr/>
            <p:nvPr/>
          </p:nvGrpSpPr>
          <p:grpSpPr>
            <a:xfrm>
              <a:off x="1243016" y="1124944"/>
              <a:ext cx="155400" cy="2878072"/>
              <a:chOff x="1243016" y="1124944"/>
              <a:chExt cx="155400" cy="2878072"/>
            </a:xfrm>
          </p:grpSpPr>
          <p:sp>
            <p:nvSpPr>
              <p:cNvPr id="30" name="Google Shape;30;p2"/>
              <p:cNvSpPr/>
              <p:nvPr/>
            </p:nvSpPr>
            <p:spPr>
              <a:xfrm>
                <a:off x="1243016" y="1124944"/>
                <a:ext cx="155400" cy="155400"/>
              </a:xfrm>
              <a:prstGeom prst="ellipse">
                <a:avLst/>
              </a:prstGeom>
              <a:solidFill>
                <a:srgbClr val="DBBC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1" name="Google Shape;31;p2"/>
              <p:cNvSpPr/>
              <p:nvPr/>
            </p:nvSpPr>
            <p:spPr>
              <a:xfrm>
                <a:off x="1243016" y="1513897"/>
                <a:ext cx="155400" cy="155400"/>
              </a:xfrm>
              <a:prstGeom prst="ellipse">
                <a:avLst/>
              </a:prstGeom>
              <a:solidFill>
                <a:srgbClr val="DBBC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2" name="Google Shape;32;p2"/>
              <p:cNvSpPr/>
              <p:nvPr/>
            </p:nvSpPr>
            <p:spPr>
              <a:xfrm>
                <a:off x="1243016" y="1902850"/>
                <a:ext cx="155400" cy="155400"/>
              </a:xfrm>
              <a:prstGeom prst="ellipse">
                <a:avLst/>
              </a:prstGeom>
              <a:solidFill>
                <a:srgbClr val="DBBC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3" name="Google Shape;33;p2"/>
              <p:cNvSpPr/>
              <p:nvPr/>
            </p:nvSpPr>
            <p:spPr>
              <a:xfrm>
                <a:off x="1243016" y="2291803"/>
                <a:ext cx="155400" cy="155400"/>
              </a:xfrm>
              <a:prstGeom prst="ellipse">
                <a:avLst/>
              </a:prstGeom>
              <a:solidFill>
                <a:srgbClr val="DBBC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4" name="Google Shape;34;p2"/>
              <p:cNvSpPr/>
              <p:nvPr/>
            </p:nvSpPr>
            <p:spPr>
              <a:xfrm>
                <a:off x="1243016" y="2680756"/>
                <a:ext cx="155400" cy="155400"/>
              </a:xfrm>
              <a:prstGeom prst="ellipse">
                <a:avLst/>
              </a:prstGeom>
              <a:solidFill>
                <a:srgbClr val="DBBC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5" name="Google Shape;35;p2"/>
              <p:cNvSpPr/>
              <p:nvPr/>
            </p:nvSpPr>
            <p:spPr>
              <a:xfrm>
                <a:off x="1243016" y="3069709"/>
                <a:ext cx="155400" cy="155400"/>
              </a:xfrm>
              <a:prstGeom prst="ellipse">
                <a:avLst/>
              </a:prstGeom>
              <a:solidFill>
                <a:srgbClr val="DBBC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6" name="Google Shape;36;p2"/>
              <p:cNvSpPr/>
              <p:nvPr/>
            </p:nvSpPr>
            <p:spPr>
              <a:xfrm>
                <a:off x="1243016" y="3458663"/>
                <a:ext cx="155400" cy="155400"/>
              </a:xfrm>
              <a:prstGeom prst="ellipse">
                <a:avLst/>
              </a:prstGeom>
              <a:solidFill>
                <a:srgbClr val="DBBC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7" name="Google Shape;37;p2"/>
              <p:cNvSpPr/>
              <p:nvPr/>
            </p:nvSpPr>
            <p:spPr>
              <a:xfrm>
                <a:off x="1243016" y="3847616"/>
                <a:ext cx="155400" cy="155400"/>
              </a:xfrm>
              <a:prstGeom prst="ellipse">
                <a:avLst/>
              </a:prstGeom>
              <a:solidFill>
                <a:srgbClr val="DBBC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sp>
        <p:nvSpPr>
          <p:cNvPr id="38" name="Google Shape;38;p2"/>
          <p:cNvSpPr txBox="1">
            <a:spLocks noGrp="1"/>
          </p:cNvSpPr>
          <p:nvPr>
            <p:ph type="ctrTitle"/>
          </p:nvPr>
        </p:nvSpPr>
        <p:spPr>
          <a:xfrm>
            <a:off x="2493261" y="1919433"/>
            <a:ext cx="7564400" cy="2229600"/>
          </a:xfrm>
          <a:prstGeom prst="rect">
            <a:avLst/>
          </a:prstGeom>
        </p:spPr>
        <p:txBody>
          <a:bodyPr spcFirstLastPara="1" wrap="square" lIns="91425" tIns="91425" rIns="91425" bIns="91425" anchor="ctr" anchorCtr="0">
            <a:noAutofit/>
          </a:bodyPr>
          <a:lstStyle>
            <a:lvl1pPr lvl="0" algn="ctr">
              <a:lnSpc>
                <a:spcPct val="90000"/>
              </a:lnSpc>
              <a:spcBef>
                <a:spcPts val="0"/>
              </a:spcBef>
              <a:spcAft>
                <a:spcPts val="0"/>
              </a:spcAft>
              <a:buSzPts val="5200"/>
              <a:buNone/>
              <a:defRPr sz="8000">
                <a:latin typeface="Londrina Solid"/>
                <a:ea typeface="Londrina Solid"/>
                <a:cs typeface="Londrina Solid"/>
                <a:sym typeface="Londrina Solid"/>
              </a:defRPr>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39" name="Google Shape;39;p2"/>
          <p:cNvSpPr txBox="1">
            <a:spLocks noGrp="1"/>
          </p:cNvSpPr>
          <p:nvPr>
            <p:ph type="subTitle" idx="1"/>
          </p:nvPr>
        </p:nvSpPr>
        <p:spPr>
          <a:xfrm>
            <a:off x="3359877" y="4473100"/>
            <a:ext cx="5821600" cy="5248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2400"/>
            </a:lvl1pPr>
            <a:lvl2pPr lvl="1" algn="ctr" rtl="0">
              <a:lnSpc>
                <a:spcPct val="100000"/>
              </a:lnSpc>
              <a:spcBef>
                <a:spcPts val="0"/>
              </a:spcBef>
              <a:spcAft>
                <a:spcPts val="0"/>
              </a:spcAft>
              <a:buSzPts val="1800"/>
              <a:buNone/>
              <a:defRPr sz="2400"/>
            </a:lvl2pPr>
            <a:lvl3pPr lvl="2" algn="ctr" rtl="0">
              <a:lnSpc>
                <a:spcPct val="100000"/>
              </a:lnSpc>
              <a:spcBef>
                <a:spcPts val="0"/>
              </a:spcBef>
              <a:spcAft>
                <a:spcPts val="0"/>
              </a:spcAft>
              <a:buSzPts val="1800"/>
              <a:buNone/>
              <a:defRPr sz="2400"/>
            </a:lvl3pPr>
            <a:lvl4pPr lvl="3" algn="ctr" rtl="0">
              <a:lnSpc>
                <a:spcPct val="100000"/>
              </a:lnSpc>
              <a:spcBef>
                <a:spcPts val="0"/>
              </a:spcBef>
              <a:spcAft>
                <a:spcPts val="0"/>
              </a:spcAft>
              <a:buSzPts val="1800"/>
              <a:buNone/>
              <a:defRPr sz="2400"/>
            </a:lvl4pPr>
            <a:lvl5pPr lvl="4" algn="ctr" rtl="0">
              <a:lnSpc>
                <a:spcPct val="100000"/>
              </a:lnSpc>
              <a:spcBef>
                <a:spcPts val="0"/>
              </a:spcBef>
              <a:spcAft>
                <a:spcPts val="0"/>
              </a:spcAft>
              <a:buSzPts val="1800"/>
              <a:buNone/>
              <a:defRPr sz="2400"/>
            </a:lvl5pPr>
            <a:lvl6pPr lvl="5" algn="ctr" rtl="0">
              <a:lnSpc>
                <a:spcPct val="100000"/>
              </a:lnSpc>
              <a:spcBef>
                <a:spcPts val="0"/>
              </a:spcBef>
              <a:spcAft>
                <a:spcPts val="0"/>
              </a:spcAft>
              <a:buSzPts val="1800"/>
              <a:buNone/>
              <a:defRPr sz="2400"/>
            </a:lvl6pPr>
            <a:lvl7pPr lvl="6" algn="ctr" rtl="0">
              <a:lnSpc>
                <a:spcPct val="100000"/>
              </a:lnSpc>
              <a:spcBef>
                <a:spcPts val="0"/>
              </a:spcBef>
              <a:spcAft>
                <a:spcPts val="0"/>
              </a:spcAft>
              <a:buSzPts val="1800"/>
              <a:buNone/>
              <a:defRPr sz="2400"/>
            </a:lvl7pPr>
            <a:lvl8pPr lvl="7" algn="ctr" rtl="0">
              <a:lnSpc>
                <a:spcPct val="100000"/>
              </a:lnSpc>
              <a:spcBef>
                <a:spcPts val="0"/>
              </a:spcBef>
              <a:spcAft>
                <a:spcPts val="0"/>
              </a:spcAft>
              <a:buSzPts val="1800"/>
              <a:buNone/>
              <a:defRPr sz="2400"/>
            </a:lvl8pPr>
            <a:lvl9pPr lvl="8" algn="ctr" rtl="0">
              <a:lnSpc>
                <a:spcPct val="100000"/>
              </a:lnSpc>
              <a:spcBef>
                <a:spcPts val="0"/>
              </a:spcBef>
              <a:spcAft>
                <a:spcPts val="0"/>
              </a:spcAft>
              <a:buSzPts val="1800"/>
              <a:buNone/>
              <a:defRPr sz="2400"/>
            </a:lvl9pPr>
          </a:lstStyle>
          <a:p>
            <a:endParaRPr/>
          </a:p>
        </p:txBody>
      </p:sp>
    </p:spTree>
    <p:extLst>
      <p:ext uri="{BB962C8B-B14F-4D97-AF65-F5344CB8AC3E}">
        <p14:creationId xmlns:p14="http://schemas.microsoft.com/office/powerpoint/2010/main" val="13384372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bg>
      <p:bgPr>
        <a:solidFill>
          <a:schemeClr val="accent3"/>
        </a:solidFill>
        <a:effectLst/>
      </p:bgPr>
    </p:bg>
    <p:spTree>
      <p:nvGrpSpPr>
        <p:cNvPr id="1" name="Shape 287"/>
        <p:cNvGrpSpPr/>
        <p:nvPr/>
      </p:nvGrpSpPr>
      <p:grpSpPr>
        <a:xfrm>
          <a:off x="0" y="0"/>
          <a:ext cx="0" cy="0"/>
          <a:chOff x="0" y="0"/>
          <a:chExt cx="0" cy="0"/>
        </a:xfrm>
      </p:grpSpPr>
      <p:grpSp>
        <p:nvGrpSpPr>
          <p:cNvPr id="288" name="Google Shape;288;p9"/>
          <p:cNvGrpSpPr/>
          <p:nvPr/>
        </p:nvGrpSpPr>
        <p:grpSpPr>
          <a:xfrm>
            <a:off x="-1135833" y="365100"/>
            <a:ext cx="12962600" cy="6148800"/>
            <a:chOff x="-851875" y="273825"/>
            <a:chExt cx="9721950" cy="4611600"/>
          </a:xfrm>
        </p:grpSpPr>
        <p:sp>
          <p:nvSpPr>
            <p:cNvPr id="289" name="Google Shape;289;p9"/>
            <p:cNvSpPr/>
            <p:nvPr/>
          </p:nvSpPr>
          <p:spPr>
            <a:xfrm>
              <a:off x="341975" y="273825"/>
              <a:ext cx="8528100" cy="4611600"/>
            </a:xfrm>
            <a:prstGeom prst="roundRect">
              <a:avLst>
                <a:gd name="adj" fmla="val 4554"/>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0" name="Google Shape;290;p9"/>
            <p:cNvSpPr/>
            <p:nvPr/>
          </p:nvSpPr>
          <p:spPr>
            <a:xfrm>
              <a:off x="-851875" y="273825"/>
              <a:ext cx="1153200" cy="4611600"/>
            </a:xfrm>
            <a:prstGeom prst="roundRect">
              <a:avLst>
                <a:gd name="adj" fmla="val 22757"/>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291" name="Google Shape;291;p9"/>
            <p:cNvGrpSpPr/>
            <p:nvPr/>
          </p:nvGrpSpPr>
          <p:grpSpPr>
            <a:xfrm>
              <a:off x="81691" y="785819"/>
              <a:ext cx="155400" cy="3538775"/>
              <a:chOff x="435991" y="785819"/>
              <a:chExt cx="155400" cy="3538775"/>
            </a:xfrm>
          </p:grpSpPr>
          <p:sp>
            <p:nvSpPr>
              <p:cNvPr id="292" name="Google Shape;292;p9"/>
              <p:cNvSpPr/>
              <p:nvPr/>
            </p:nvSpPr>
            <p:spPr>
              <a:xfrm>
                <a:off x="435991" y="7858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3" name="Google Shape;293;p9"/>
              <p:cNvSpPr/>
              <p:nvPr/>
            </p:nvSpPr>
            <p:spPr>
              <a:xfrm>
                <a:off x="435991" y="12662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4" name="Google Shape;294;p9"/>
              <p:cNvSpPr/>
              <p:nvPr/>
            </p:nvSpPr>
            <p:spPr>
              <a:xfrm>
                <a:off x="435991" y="17466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5" name="Google Shape;295;p9"/>
              <p:cNvSpPr/>
              <p:nvPr/>
            </p:nvSpPr>
            <p:spPr>
              <a:xfrm>
                <a:off x="435991" y="22474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6" name="Google Shape;296;p9"/>
              <p:cNvSpPr/>
              <p:nvPr/>
            </p:nvSpPr>
            <p:spPr>
              <a:xfrm>
                <a:off x="435991" y="27075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7" name="Google Shape;297;p9"/>
              <p:cNvSpPr/>
              <p:nvPr/>
            </p:nvSpPr>
            <p:spPr>
              <a:xfrm>
                <a:off x="435991" y="31879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8" name="Google Shape;298;p9"/>
              <p:cNvSpPr/>
              <p:nvPr/>
            </p:nvSpPr>
            <p:spPr>
              <a:xfrm>
                <a:off x="435991" y="36683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9" name="Google Shape;299;p9"/>
              <p:cNvSpPr/>
              <p:nvPr/>
            </p:nvSpPr>
            <p:spPr>
              <a:xfrm>
                <a:off x="435991" y="41691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300" name="Google Shape;300;p9"/>
            <p:cNvGrpSpPr/>
            <p:nvPr/>
          </p:nvGrpSpPr>
          <p:grpSpPr>
            <a:xfrm>
              <a:off x="435991" y="785819"/>
              <a:ext cx="155400" cy="3538775"/>
              <a:chOff x="435991" y="785819"/>
              <a:chExt cx="155400" cy="3538775"/>
            </a:xfrm>
          </p:grpSpPr>
          <p:sp>
            <p:nvSpPr>
              <p:cNvPr id="301" name="Google Shape;301;p9"/>
              <p:cNvSpPr/>
              <p:nvPr/>
            </p:nvSpPr>
            <p:spPr>
              <a:xfrm>
                <a:off x="435991" y="7858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02" name="Google Shape;302;p9"/>
              <p:cNvSpPr/>
              <p:nvPr/>
            </p:nvSpPr>
            <p:spPr>
              <a:xfrm>
                <a:off x="435991" y="12662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03" name="Google Shape;303;p9"/>
              <p:cNvSpPr/>
              <p:nvPr/>
            </p:nvSpPr>
            <p:spPr>
              <a:xfrm>
                <a:off x="435991" y="17466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04" name="Google Shape;304;p9"/>
              <p:cNvSpPr/>
              <p:nvPr/>
            </p:nvSpPr>
            <p:spPr>
              <a:xfrm>
                <a:off x="435991" y="22474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05" name="Google Shape;305;p9"/>
              <p:cNvSpPr/>
              <p:nvPr/>
            </p:nvSpPr>
            <p:spPr>
              <a:xfrm>
                <a:off x="435991" y="27075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06" name="Google Shape;306;p9"/>
              <p:cNvSpPr/>
              <p:nvPr/>
            </p:nvSpPr>
            <p:spPr>
              <a:xfrm>
                <a:off x="435991" y="31879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07" name="Google Shape;307;p9"/>
              <p:cNvSpPr/>
              <p:nvPr/>
            </p:nvSpPr>
            <p:spPr>
              <a:xfrm>
                <a:off x="435991" y="36683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08" name="Google Shape;308;p9"/>
              <p:cNvSpPr/>
              <p:nvPr/>
            </p:nvSpPr>
            <p:spPr>
              <a:xfrm>
                <a:off x="435991" y="41691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309" name="Google Shape;309;p9"/>
            <p:cNvGrpSpPr/>
            <p:nvPr/>
          </p:nvGrpSpPr>
          <p:grpSpPr>
            <a:xfrm>
              <a:off x="161500" y="826619"/>
              <a:ext cx="352200" cy="3457175"/>
              <a:chOff x="161500" y="826619"/>
              <a:chExt cx="352200" cy="3457175"/>
            </a:xfrm>
          </p:grpSpPr>
          <p:sp>
            <p:nvSpPr>
              <p:cNvPr id="310" name="Google Shape;310;p9"/>
              <p:cNvSpPr/>
              <p:nvPr/>
            </p:nvSpPr>
            <p:spPr>
              <a:xfrm>
                <a:off x="161500" y="228829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11" name="Google Shape;311;p9"/>
              <p:cNvSpPr/>
              <p:nvPr/>
            </p:nvSpPr>
            <p:spPr>
              <a:xfrm>
                <a:off x="161500" y="274831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12" name="Google Shape;312;p9"/>
              <p:cNvSpPr/>
              <p:nvPr/>
            </p:nvSpPr>
            <p:spPr>
              <a:xfrm>
                <a:off x="161500" y="322874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13" name="Google Shape;313;p9"/>
              <p:cNvSpPr/>
              <p:nvPr/>
            </p:nvSpPr>
            <p:spPr>
              <a:xfrm>
                <a:off x="161500" y="370916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14" name="Google Shape;314;p9"/>
              <p:cNvSpPr/>
              <p:nvPr/>
            </p:nvSpPr>
            <p:spPr>
              <a:xfrm>
                <a:off x="161500" y="420999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15" name="Google Shape;315;p9"/>
              <p:cNvSpPr/>
              <p:nvPr/>
            </p:nvSpPr>
            <p:spPr>
              <a:xfrm>
                <a:off x="161500" y="178746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16" name="Google Shape;316;p9"/>
              <p:cNvSpPr/>
              <p:nvPr/>
            </p:nvSpPr>
            <p:spPr>
              <a:xfrm>
                <a:off x="161500" y="130704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17" name="Google Shape;317;p9"/>
              <p:cNvSpPr/>
              <p:nvPr/>
            </p:nvSpPr>
            <p:spPr>
              <a:xfrm>
                <a:off x="161500" y="82661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cxnSp>
          <p:nvCxnSpPr>
            <p:cNvPr id="318" name="Google Shape;318;p9"/>
            <p:cNvCxnSpPr/>
            <p:nvPr/>
          </p:nvCxnSpPr>
          <p:spPr>
            <a:xfrm>
              <a:off x="843750" y="288625"/>
              <a:ext cx="0" cy="4588500"/>
            </a:xfrm>
            <a:prstGeom prst="straightConnector1">
              <a:avLst/>
            </a:prstGeom>
            <a:noFill/>
            <a:ln w="19050" cap="rnd" cmpd="sng">
              <a:solidFill>
                <a:schemeClr val="accent1"/>
              </a:solidFill>
              <a:prstDash val="dot"/>
              <a:round/>
              <a:headEnd type="none" w="med" len="med"/>
              <a:tailEnd type="none" w="med" len="med"/>
            </a:ln>
          </p:spPr>
        </p:cxnSp>
      </p:grpSp>
      <p:grpSp>
        <p:nvGrpSpPr>
          <p:cNvPr id="319" name="Google Shape;319;p9"/>
          <p:cNvGrpSpPr/>
          <p:nvPr/>
        </p:nvGrpSpPr>
        <p:grpSpPr>
          <a:xfrm>
            <a:off x="2406013" y="1487199"/>
            <a:ext cx="7745453" cy="3883600"/>
            <a:chOff x="1931858" y="1215607"/>
            <a:chExt cx="5809090" cy="2912700"/>
          </a:xfrm>
        </p:grpSpPr>
        <p:sp>
          <p:nvSpPr>
            <p:cNvPr id="320" name="Google Shape;320;p9"/>
            <p:cNvSpPr/>
            <p:nvPr/>
          </p:nvSpPr>
          <p:spPr>
            <a:xfrm>
              <a:off x="1990548" y="1215607"/>
              <a:ext cx="5750400" cy="29127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21" name="Google Shape;321;p9"/>
            <p:cNvSpPr/>
            <p:nvPr/>
          </p:nvSpPr>
          <p:spPr>
            <a:xfrm rot="5400000" flipH="1">
              <a:off x="1931858" y="3265627"/>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22" name="Google Shape;322;p9"/>
            <p:cNvSpPr/>
            <p:nvPr/>
          </p:nvSpPr>
          <p:spPr>
            <a:xfrm rot="5400000" flipH="1">
              <a:off x="1931858" y="2853802"/>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23" name="Google Shape;323;p9"/>
            <p:cNvSpPr/>
            <p:nvPr/>
          </p:nvSpPr>
          <p:spPr>
            <a:xfrm rot="5400000" flipH="1">
              <a:off x="1931858" y="2441977"/>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24" name="Google Shape;324;p9"/>
            <p:cNvSpPr/>
            <p:nvPr/>
          </p:nvSpPr>
          <p:spPr>
            <a:xfrm rot="5400000" flipH="1">
              <a:off x="1931858" y="2030152"/>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25" name="Google Shape;325;p9"/>
            <p:cNvSpPr/>
            <p:nvPr/>
          </p:nvSpPr>
          <p:spPr>
            <a:xfrm rot="5400000" flipH="1">
              <a:off x="1931858" y="1618327"/>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26" name="Google Shape;326;p9"/>
            <p:cNvSpPr/>
            <p:nvPr/>
          </p:nvSpPr>
          <p:spPr>
            <a:xfrm rot="5400000" flipH="1">
              <a:off x="1931858" y="3677452"/>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327" name="Google Shape;327;p9"/>
          <p:cNvSpPr txBox="1">
            <a:spLocks noGrp="1"/>
          </p:cNvSpPr>
          <p:nvPr>
            <p:ph type="subTitle" idx="1"/>
          </p:nvPr>
        </p:nvSpPr>
        <p:spPr>
          <a:xfrm>
            <a:off x="3582000" y="3225033"/>
            <a:ext cx="5393600" cy="1429200"/>
          </a:xfrm>
          <a:prstGeom prst="rect">
            <a:avLst/>
          </a:prstGeom>
        </p:spPr>
        <p:txBody>
          <a:bodyPr spcFirstLastPara="1" wrap="square" lIns="91425" tIns="91425" rIns="91425" bIns="91425" anchor="ctr" anchorCtr="0">
            <a:noAutofit/>
          </a:bodyPr>
          <a:lstStyle>
            <a:lvl1pPr lvl="0" algn="ctr">
              <a:lnSpc>
                <a:spcPct val="100000"/>
              </a:lnSpc>
              <a:spcBef>
                <a:spcPts val="0"/>
              </a:spcBef>
              <a:spcAft>
                <a:spcPts val="0"/>
              </a:spcAft>
              <a:buSzPts val="1400"/>
              <a:buNone/>
              <a:defRPr/>
            </a:lvl1pPr>
            <a:lvl2pPr lvl="1" algn="ctr">
              <a:lnSpc>
                <a:spcPct val="100000"/>
              </a:lnSpc>
              <a:spcBef>
                <a:spcPts val="0"/>
              </a:spcBef>
              <a:spcAft>
                <a:spcPts val="0"/>
              </a:spcAft>
              <a:buSzPts val="1400"/>
              <a:buNone/>
              <a:defRPr/>
            </a:lvl2pPr>
            <a:lvl3pPr lvl="2" algn="ctr">
              <a:lnSpc>
                <a:spcPct val="100000"/>
              </a:lnSpc>
              <a:spcBef>
                <a:spcPts val="0"/>
              </a:spcBef>
              <a:spcAft>
                <a:spcPts val="0"/>
              </a:spcAft>
              <a:buSzPts val="1400"/>
              <a:buNone/>
              <a:defRPr/>
            </a:lvl3pPr>
            <a:lvl4pPr lvl="3" algn="ctr">
              <a:lnSpc>
                <a:spcPct val="100000"/>
              </a:lnSpc>
              <a:spcBef>
                <a:spcPts val="0"/>
              </a:spcBef>
              <a:spcAft>
                <a:spcPts val="0"/>
              </a:spcAft>
              <a:buSzPts val="1400"/>
              <a:buNone/>
              <a:defRPr/>
            </a:lvl4pPr>
            <a:lvl5pPr lvl="4" algn="ctr">
              <a:lnSpc>
                <a:spcPct val="100000"/>
              </a:lnSpc>
              <a:spcBef>
                <a:spcPts val="0"/>
              </a:spcBef>
              <a:spcAft>
                <a:spcPts val="0"/>
              </a:spcAft>
              <a:buSzPts val="1400"/>
              <a:buNone/>
              <a:defRPr/>
            </a:lvl5pPr>
            <a:lvl6pPr lvl="5" algn="ctr">
              <a:lnSpc>
                <a:spcPct val="100000"/>
              </a:lnSpc>
              <a:spcBef>
                <a:spcPts val="0"/>
              </a:spcBef>
              <a:spcAft>
                <a:spcPts val="0"/>
              </a:spcAft>
              <a:buSzPts val="1400"/>
              <a:buNone/>
              <a:defRPr/>
            </a:lvl6pPr>
            <a:lvl7pPr lvl="6" algn="ctr">
              <a:lnSpc>
                <a:spcPct val="100000"/>
              </a:lnSpc>
              <a:spcBef>
                <a:spcPts val="0"/>
              </a:spcBef>
              <a:spcAft>
                <a:spcPts val="0"/>
              </a:spcAft>
              <a:buSzPts val="1400"/>
              <a:buNone/>
              <a:defRPr/>
            </a:lvl7pPr>
            <a:lvl8pPr lvl="7" algn="ctr">
              <a:lnSpc>
                <a:spcPct val="100000"/>
              </a:lnSpc>
              <a:spcBef>
                <a:spcPts val="0"/>
              </a:spcBef>
              <a:spcAft>
                <a:spcPts val="0"/>
              </a:spcAft>
              <a:buSzPts val="1400"/>
              <a:buNone/>
              <a:defRPr/>
            </a:lvl8pPr>
            <a:lvl9pPr lvl="8" algn="ctr">
              <a:lnSpc>
                <a:spcPct val="100000"/>
              </a:lnSpc>
              <a:spcBef>
                <a:spcPts val="0"/>
              </a:spcBef>
              <a:spcAft>
                <a:spcPts val="0"/>
              </a:spcAft>
              <a:buSzPts val="1400"/>
              <a:buNone/>
              <a:defRPr/>
            </a:lvl9pPr>
          </a:lstStyle>
          <a:p>
            <a:endParaRPr/>
          </a:p>
        </p:txBody>
      </p:sp>
      <p:sp>
        <p:nvSpPr>
          <p:cNvPr id="328" name="Google Shape;328;p9"/>
          <p:cNvSpPr txBox="1">
            <a:spLocks noGrp="1"/>
          </p:cNvSpPr>
          <p:nvPr>
            <p:ph type="title"/>
          </p:nvPr>
        </p:nvSpPr>
        <p:spPr>
          <a:xfrm>
            <a:off x="4062533" y="2449335"/>
            <a:ext cx="44228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grpSp>
        <p:nvGrpSpPr>
          <p:cNvPr id="329" name="Google Shape;329;p9"/>
          <p:cNvGrpSpPr/>
          <p:nvPr/>
        </p:nvGrpSpPr>
        <p:grpSpPr>
          <a:xfrm>
            <a:off x="11033997" y="5912061"/>
            <a:ext cx="207200" cy="207200"/>
            <a:chOff x="1666623" y="2623621"/>
            <a:chExt cx="155400" cy="155400"/>
          </a:xfrm>
        </p:grpSpPr>
        <p:sp>
          <p:nvSpPr>
            <p:cNvPr id="330" name="Google Shape;330;p9"/>
            <p:cNvSpPr/>
            <p:nvPr/>
          </p:nvSpPr>
          <p:spPr>
            <a:xfrm>
              <a:off x="1666623" y="2623621"/>
              <a:ext cx="155400" cy="155400"/>
            </a:xfrm>
            <a:prstGeom prst="star4">
              <a:avLst>
                <a:gd name="adj" fmla="val 21474"/>
              </a:avLst>
            </a:prstGeom>
            <a:noFill/>
            <a:ln w="76200" cap="flat" cmpd="sng">
              <a:solidFill>
                <a:schemeClr val="lt1"/>
              </a:solidFill>
              <a:prstDash val="solid"/>
              <a:round/>
              <a:headEnd type="none" w="sm" len="sm"/>
              <a:tailEnd type="none" w="sm" len="sm"/>
            </a:ln>
            <a:effectLst>
              <a:outerShdw dist="57150" dir="960000" algn="bl" rotWithShape="0">
                <a:schemeClr val="dk1">
                  <a:alpha val="26000"/>
                </a:scheme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2400"/>
            </a:p>
          </p:txBody>
        </p:sp>
        <p:sp>
          <p:nvSpPr>
            <p:cNvPr id="331" name="Google Shape;331;p9"/>
            <p:cNvSpPr/>
            <p:nvPr/>
          </p:nvSpPr>
          <p:spPr>
            <a:xfrm>
              <a:off x="1666623" y="2623621"/>
              <a:ext cx="155400" cy="155400"/>
            </a:xfrm>
            <a:prstGeom prst="star4">
              <a:avLst>
                <a:gd name="adj" fmla="val 23855"/>
              </a:avLst>
            </a:prstGeom>
            <a:solidFill>
              <a:schemeClr val="lt2"/>
            </a:solidFill>
            <a:ln w="19050"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2400"/>
            </a:p>
          </p:txBody>
        </p:sp>
      </p:grpSp>
      <p:grpSp>
        <p:nvGrpSpPr>
          <p:cNvPr id="332" name="Google Shape;332;p9"/>
          <p:cNvGrpSpPr/>
          <p:nvPr/>
        </p:nvGrpSpPr>
        <p:grpSpPr>
          <a:xfrm>
            <a:off x="10598464" y="1170511"/>
            <a:ext cx="207200" cy="207200"/>
            <a:chOff x="1666623" y="2623621"/>
            <a:chExt cx="155400" cy="155400"/>
          </a:xfrm>
        </p:grpSpPr>
        <p:sp>
          <p:nvSpPr>
            <p:cNvPr id="333" name="Google Shape;333;p9"/>
            <p:cNvSpPr/>
            <p:nvPr/>
          </p:nvSpPr>
          <p:spPr>
            <a:xfrm>
              <a:off x="1666623" y="2623621"/>
              <a:ext cx="155400" cy="155400"/>
            </a:xfrm>
            <a:prstGeom prst="star4">
              <a:avLst>
                <a:gd name="adj" fmla="val 21474"/>
              </a:avLst>
            </a:prstGeom>
            <a:noFill/>
            <a:ln w="76200" cap="flat" cmpd="sng">
              <a:solidFill>
                <a:schemeClr val="lt1"/>
              </a:solidFill>
              <a:prstDash val="solid"/>
              <a:round/>
              <a:headEnd type="none" w="sm" len="sm"/>
              <a:tailEnd type="none" w="sm" len="sm"/>
            </a:ln>
            <a:effectLst>
              <a:outerShdw dist="57150" dir="960000" algn="bl" rotWithShape="0">
                <a:schemeClr val="dk1">
                  <a:alpha val="26000"/>
                </a:scheme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2400"/>
            </a:p>
          </p:txBody>
        </p:sp>
        <p:sp>
          <p:nvSpPr>
            <p:cNvPr id="334" name="Google Shape;334;p9"/>
            <p:cNvSpPr/>
            <p:nvPr/>
          </p:nvSpPr>
          <p:spPr>
            <a:xfrm>
              <a:off x="1666623" y="2623621"/>
              <a:ext cx="155400" cy="155400"/>
            </a:xfrm>
            <a:prstGeom prst="star4">
              <a:avLst>
                <a:gd name="adj" fmla="val 23855"/>
              </a:avLst>
            </a:prstGeom>
            <a:solidFill>
              <a:schemeClr val="dk2"/>
            </a:solidFill>
            <a:ln w="19050"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2400"/>
            </a:p>
          </p:txBody>
        </p:sp>
      </p:grpSp>
      <p:grpSp>
        <p:nvGrpSpPr>
          <p:cNvPr id="335" name="Google Shape;335;p9"/>
          <p:cNvGrpSpPr/>
          <p:nvPr/>
        </p:nvGrpSpPr>
        <p:grpSpPr>
          <a:xfrm rot="-5107757" flipH="1">
            <a:off x="10858955" y="578288"/>
            <a:ext cx="600759" cy="658729"/>
            <a:chOff x="1584644" y="2497374"/>
            <a:chExt cx="450609" cy="494091"/>
          </a:xfrm>
        </p:grpSpPr>
        <p:sp>
          <p:nvSpPr>
            <p:cNvPr id="336" name="Google Shape;336;p9"/>
            <p:cNvSpPr/>
            <p:nvPr/>
          </p:nvSpPr>
          <p:spPr>
            <a:xfrm rot="-2029707">
              <a:off x="1679395" y="2534520"/>
              <a:ext cx="261108" cy="419799"/>
            </a:xfrm>
            <a:custGeom>
              <a:avLst/>
              <a:gdLst/>
              <a:ahLst/>
              <a:cxnLst/>
              <a:rect l="l" t="t" r="r" b="b"/>
              <a:pathLst>
                <a:path w="5025" h="8079" extrusionOk="0">
                  <a:moveTo>
                    <a:pt x="1735" y="1110"/>
                  </a:moveTo>
                  <a:cubicBezTo>
                    <a:pt x="1957" y="1110"/>
                    <a:pt x="2179" y="1166"/>
                    <a:pt x="2360" y="1319"/>
                  </a:cubicBezTo>
                  <a:cubicBezTo>
                    <a:pt x="2789" y="1666"/>
                    <a:pt x="2859" y="2208"/>
                    <a:pt x="2540" y="2679"/>
                  </a:cubicBezTo>
                  <a:cubicBezTo>
                    <a:pt x="2401" y="2859"/>
                    <a:pt x="2276" y="3054"/>
                    <a:pt x="2206" y="3276"/>
                  </a:cubicBezTo>
                  <a:cubicBezTo>
                    <a:pt x="2110" y="3526"/>
                    <a:pt x="2151" y="3623"/>
                    <a:pt x="2401" y="3748"/>
                  </a:cubicBezTo>
                  <a:cubicBezTo>
                    <a:pt x="2512" y="3818"/>
                    <a:pt x="2637" y="3859"/>
                    <a:pt x="2762" y="3914"/>
                  </a:cubicBezTo>
                  <a:cubicBezTo>
                    <a:pt x="2970" y="4012"/>
                    <a:pt x="3150" y="4151"/>
                    <a:pt x="3261" y="4358"/>
                  </a:cubicBezTo>
                  <a:cubicBezTo>
                    <a:pt x="3428" y="4664"/>
                    <a:pt x="3415" y="4983"/>
                    <a:pt x="3193" y="5261"/>
                  </a:cubicBezTo>
                  <a:cubicBezTo>
                    <a:pt x="3054" y="5455"/>
                    <a:pt x="2928" y="5663"/>
                    <a:pt x="2832" y="5885"/>
                  </a:cubicBezTo>
                  <a:cubicBezTo>
                    <a:pt x="2721" y="6149"/>
                    <a:pt x="2762" y="6246"/>
                    <a:pt x="3039" y="6344"/>
                  </a:cubicBezTo>
                  <a:cubicBezTo>
                    <a:pt x="3206" y="6399"/>
                    <a:pt x="3387" y="6440"/>
                    <a:pt x="3581" y="6482"/>
                  </a:cubicBezTo>
                  <a:cubicBezTo>
                    <a:pt x="3692" y="6510"/>
                    <a:pt x="3775" y="6566"/>
                    <a:pt x="3831" y="6662"/>
                  </a:cubicBezTo>
                  <a:cubicBezTo>
                    <a:pt x="3900" y="6760"/>
                    <a:pt x="3859" y="6884"/>
                    <a:pt x="3748" y="6927"/>
                  </a:cubicBezTo>
                  <a:cubicBezTo>
                    <a:pt x="3678" y="6954"/>
                    <a:pt x="3609" y="6968"/>
                    <a:pt x="3539" y="6968"/>
                  </a:cubicBezTo>
                  <a:lnTo>
                    <a:pt x="3470" y="6968"/>
                  </a:lnTo>
                  <a:cubicBezTo>
                    <a:pt x="3220" y="6912"/>
                    <a:pt x="2943" y="6871"/>
                    <a:pt x="2706" y="6746"/>
                  </a:cubicBezTo>
                  <a:cubicBezTo>
                    <a:pt x="2304" y="6551"/>
                    <a:pt x="2179" y="6205"/>
                    <a:pt x="2318" y="5774"/>
                  </a:cubicBezTo>
                  <a:cubicBezTo>
                    <a:pt x="2401" y="5552"/>
                    <a:pt x="2526" y="5344"/>
                    <a:pt x="2651" y="5150"/>
                  </a:cubicBezTo>
                  <a:cubicBezTo>
                    <a:pt x="2678" y="5108"/>
                    <a:pt x="2706" y="5080"/>
                    <a:pt x="2734" y="5052"/>
                  </a:cubicBezTo>
                  <a:cubicBezTo>
                    <a:pt x="2970" y="4719"/>
                    <a:pt x="2915" y="4553"/>
                    <a:pt x="2540" y="4373"/>
                  </a:cubicBezTo>
                  <a:cubicBezTo>
                    <a:pt x="2484" y="4345"/>
                    <a:pt x="2415" y="4317"/>
                    <a:pt x="2401" y="4303"/>
                  </a:cubicBezTo>
                  <a:cubicBezTo>
                    <a:pt x="2262" y="4247"/>
                    <a:pt x="2151" y="4206"/>
                    <a:pt x="2068" y="4151"/>
                  </a:cubicBezTo>
                  <a:cubicBezTo>
                    <a:pt x="1749" y="3984"/>
                    <a:pt x="1624" y="3707"/>
                    <a:pt x="1666" y="3346"/>
                  </a:cubicBezTo>
                  <a:cubicBezTo>
                    <a:pt x="1707" y="3068"/>
                    <a:pt x="1846" y="2818"/>
                    <a:pt x="1999" y="2582"/>
                  </a:cubicBezTo>
                  <a:cubicBezTo>
                    <a:pt x="2068" y="2485"/>
                    <a:pt x="2138" y="2387"/>
                    <a:pt x="2193" y="2276"/>
                  </a:cubicBezTo>
                  <a:cubicBezTo>
                    <a:pt x="2345" y="1971"/>
                    <a:pt x="2206" y="1693"/>
                    <a:pt x="1888" y="1582"/>
                  </a:cubicBezTo>
                  <a:cubicBezTo>
                    <a:pt x="1735" y="1541"/>
                    <a:pt x="1568" y="1541"/>
                    <a:pt x="1416" y="1541"/>
                  </a:cubicBezTo>
                  <a:cubicBezTo>
                    <a:pt x="1207" y="1541"/>
                    <a:pt x="1179" y="1486"/>
                    <a:pt x="1166" y="1388"/>
                  </a:cubicBezTo>
                  <a:cubicBezTo>
                    <a:pt x="1138" y="1277"/>
                    <a:pt x="1222" y="1180"/>
                    <a:pt x="1374" y="1153"/>
                  </a:cubicBezTo>
                  <a:cubicBezTo>
                    <a:pt x="1499" y="1125"/>
                    <a:pt x="1624" y="1110"/>
                    <a:pt x="1735" y="1110"/>
                  </a:cubicBezTo>
                  <a:close/>
                  <a:moveTo>
                    <a:pt x="1735" y="0"/>
                  </a:moveTo>
                  <a:cubicBezTo>
                    <a:pt x="1555" y="0"/>
                    <a:pt x="1360" y="15"/>
                    <a:pt x="1152" y="56"/>
                  </a:cubicBezTo>
                  <a:cubicBezTo>
                    <a:pt x="763" y="139"/>
                    <a:pt x="444" y="361"/>
                    <a:pt x="250" y="666"/>
                  </a:cubicBezTo>
                  <a:cubicBezTo>
                    <a:pt x="56" y="958"/>
                    <a:pt x="0" y="1319"/>
                    <a:pt x="83" y="1652"/>
                  </a:cubicBezTo>
                  <a:cubicBezTo>
                    <a:pt x="167" y="1985"/>
                    <a:pt x="333" y="2235"/>
                    <a:pt x="583" y="2415"/>
                  </a:cubicBezTo>
                  <a:cubicBezTo>
                    <a:pt x="639" y="2457"/>
                    <a:pt x="707" y="2485"/>
                    <a:pt x="763" y="2513"/>
                  </a:cubicBezTo>
                  <a:cubicBezTo>
                    <a:pt x="680" y="2721"/>
                    <a:pt x="596" y="2943"/>
                    <a:pt x="569" y="3207"/>
                  </a:cubicBezTo>
                  <a:cubicBezTo>
                    <a:pt x="458" y="3970"/>
                    <a:pt x="777" y="4664"/>
                    <a:pt x="1416" y="5067"/>
                  </a:cubicBezTo>
                  <a:cubicBezTo>
                    <a:pt x="1374" y="5178"/>
                    <a:pt x="1318" y="5289"/>
                    <a:pt x="1277" y="5413"/>
                  </a:cubicBezTo>
                  <a:cubicBezTo>
                    <a:pt x="944" y="6371"/>
                    <a:pt x="1305" y="7287"/>
                    <a:pt x="2206" y="7745"/>
                  </a:cubicBezTo>
                  <a:cubicBezTo>
                    <a:pt x="2567" y="7926"/>
                    <a:pt x="2928" y="7995"/>
                    <a:pt x="3220" y="8050"/>
                  </a:cubicBezTo>
                  <a:lnTo>
                    <a:pt x="3276" y="8050"/>
                  </a:lnTo>
                  <a:cubicBezTo>
                    <a:pt x="3359" y="8078"/>
                    <a:pt x="3456" y="8078"/>
                    <a:pt x="3539" y="8078"/>
                  </a:cubicBezTo>
                  <a:cubicBezTo>
                    <a:pt x="3748" y="8078"/>
                    <a:pt x="3955" y="8037"/>
                    <a:pt x="4164" y="7954"/>
                  </a:cubicBezTo>
                  <a:cubicBezTo>
                    <a:pt x="4525" y="7815"/>
                    <a:pt x="4803" y="7523"/>
                    <a:pt x="4914" y="7162"/>
                  </a:cubicBezTo>
                  <a:cubicBezTo>
                    <a:pt x="5025" y="6788"/>
                    <a:pt x="4969" y="6385"/>
                    <a:pt x="4760" y="6066"/>
                  </a:cubicBezTo>
                  <a:cubicBezTo>
                    <a:pt x="4636" y="5872"/>
                    <a:pt x="4483" y="5705"/>
                    <a:pt x="4288" y="5594"/>
                  </a:cubicBezTo>
                  <a:cubicBezTo>
                    <a:pt x="4399" y="5372"/>
                    <a:pt x="4455" y="5136"/>
                    <a:pt x="4483" y="4900"/>
                  </a:cubicBezTo>
                  <a:cubicBezTo>
                    <a:pt x="4511" y="4539"/>
                    <a:pt x="4427" y="4178"/>
                    <a:pt x="4247" y="3831"/>
                  </a:cubicBezTo>
                  <a:cubicBezTo>
                    <a:pt x="4081" y="3540"/>
                    <a:pt x="3859" y="3303"/>
                    <a:pt x="3581" y="3109"/>
                  </a:cubicBezTo>
                  <a:cubicBezTo>
                    <a:pt x="4081" y="2193"/>
                    <a:pt x="3886" y="1110"/>
                    <a:pt x="3054" y="444"/>
                  </a:cubicBezTo>
                  <a:cubicBezTo>
                    <a:pt x="2693" y="153"/>
                    <a:pt x="2249" y="0"/>
                    <a:pt x="1735" y="0"/>
                  </a:cubicBezTo>
                  <a:close/>
                </a:path>
              </a:pathLst>
            </a:custGeom>
            <a:solidFill>
              <a:schemeClr val="lt1"/>
            </a:solidFill>
            <a:ln>
              <a:noFill/>
            </a:ln>
            <a:effectLst>
              <a:outerShdw dist="57150" dir="1140000" algn="bl" rotWithShape="0">
                <a:schemeClr val="dk1">
                  <a:alpha val="26000"/>
                </a:scheme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37" name="Google Shape;337;p9"/>
            <p:cNvSpPr/>
            <p:nvPr/>
          </p:nvSpPr>
          <p:spPr>
            <a:xfrm rot="-2029707">
              <a:off x="1738538" y="2592090"/>
              <a:ext cx="143518" cy="304496"/>
            </a:xfrm>
            <a:custGeom>
              <a:avLst/>
              <a:gdLst/>
              <a:ahLst/>
              <a:cxnLst/>
              <a:rect l="l" t="t" r="r" b="b"/>
              <a:pathLst>
                <a:path w="2762" h="5860" extrusionOk="0">
                  <a:moveTo>
                    <a:pt x="600" y="0"/>
                  </a:moveTo>
                  <a:cubicBezTo>
                    <a:pt x="480" y="0"/>
                    <a:pt x="358" y="16"/>
                    <a:pt x="236" y="41"/>
                  </a:cubicBezTo>
                  <a:cubicBezTo>
                    <a:pt x="84" y="68"/>
                    <a:pt x="0" y="165"/>
                    <a:pt x="28" y="276"/>
                  </a:cubicBezTo>
                  <a:cubicBezTo>
                    <a:pt x="41" y="374"/>
                    <a:pt x="69" y="429"/>
                    <a:pt x="278" y="429"/>
                  </a:cubicBezTo>
                  <a:cubicBezTo>
                    <a:pt x="430" y="429"/>
                    <a:pt x="597" y="429"/>
                    <a:pt x="750" y="470"/>
                  </a:cubicBezTo>
                  <a:cubicBezTo>
                    <a:pt x="1068" y="581"/>
                    <a:pt x="1207" y="859"/>
                    <a:pt x="1055" y="1164"/>
                  </a:cubicBezTo>
                  <a:cubicBezTo>
                    <a:pt x="1000" y="1275"/>
                    <a:pt x="930" y="1373"/>
                    <a:pt x="861" y="1470"/>
                  </a:cubicBezTo>
                  <a:cubicBezTo>
                    <a:pt x="708" y="1706"/>
                    <a:pt x="569" y="1956"/>
                    <a:pt x="528" y="2234"/>
                  </a:cubicBezTo>
                  <a:cubicBezTo>
                    <a:pt x="486" y="2595"/>
                    <a:pt x="611" y="2872"/>
                    <a:pt x="930" y="3039"/>
                  </a:cubicBezTo>
                  <a:cubicBezTo>
                    <a:pt x="1013" y="3094"/>
                    <a:pt x="1124" y="3135"/>
                    <a:pt x="1263" y="3191"/>
                  </a:cubicBezTo>
                  <a:cubicBezTo>
                    <a:pt x="1277" y="3205"/>
                    <a:pt x="1346" y="3233"/>
                    <a:pt x="1402" y="3261"/>
                  </a:cubicBezTo>
                  <a:cubicBezTo>
                    <a:pt x="1777" y="3441"/>
                    <a:pt x="1832" y="3607"/>
                    <a:pt x="1596" y="3940"/>
                  </a:cubicBezTo>
                  <a:cubicBezTo>
                    <a:pt x="1568" y="3968"/>
                    <a:pt x="1540" y="3996"/>
                    <a:pt x="1513" y="4038"/>
                  </a:cubicBezTo>
                  <a:cubicBezTo>
                    <a:pt x="1388" y="4232"/>
                    <a:pt x="1263" y="4440"/>
                    <a:pt x="1180" y="4662"/>
                  </a:cubicBezTo>
                  <a:cubicBezTo>
                    <a:pt x="1041" y="5093"/>
                    <a:pt x="1166" y="5439"/>
                    <a:pt x="1568" y="5634"/>
                  </a:cubicBezTo>
                  <a:cubicBezTo>
                    <a:pt x="1805" y="5759"/>
                    <a:pt x="2082" y="5800"/>
                    <a:pt x="2332" y="5856"/>
                  </a:cubicBezTo>
                  <a:cubicBezTo>
                    <a:pt x="2350" y="5858"/>
                    <a:pt x="2369" y="5860"/>
                    <a:pt x="2387" y="5860"/>
                  </a:cubicBezTo>
                  <a:cubicBezTo>
                    <a:pt x="2465" y="5860"/>
                    <a:pt x="2542" y="5837"/>
                    <a:pt x="2610" y="5815"/>
                  </a:cubicBezTo>
                  <a:cubicBezTo>
                    <a:pt x="2721" y="5772"/>
                    <a:pt x="2762" y="5648"/>
                    <a:pt x="2693" y="5550"/>
                  </a:cubicBezTo>
                  <a:cubicBezTo>
                    <a:pt x="2637" y="5454"/>
                    <a:pt x="2554" y="5398"/>
                    <a:pt x="2443" y="5370"/>
                  </a:cubicBezTo>
                  <a:cubicBezTo>
                    <a:pt x="2249" y="5328"/>
                    <a:pt x="2068" y="5287"/>
                    <a:pt x="1901" y="5232"/>
                  </a:cubicBezTo>
                  <a:cubicBezTo>
                    <a:pt x="1624" y="5134"/>
                    <a:pt x="1583" y="5037"/>
                    <a:pt x="1694" y="4773"/>
                  </a:cubicBezTo>
                  <a:cubicBezTo>
                    <a:pt x="1790" y="4551"/>
                    <a:pt x="1916" y="4343"/>
                    <a:pt x="2055" y="4149"/>
                  </a:cubicBezTo>
                  <a:cubicBezTo>
                    <a:pt x="2277" y="3871"/>
                    <a:pt x="2290" y="3552"/>
                    <a:pt x="2123" y="3246"/>
                  </a:cubicBezTo>
                  <a:cubicBezTo>
                    <a:pt x="2012" y="3039"/>
                    <a:pt x="1832" y="2900"/>
                    <a:pt x="1624" y="2802"/>
                  </a:cubicBezTo>
                  <a:cubicBezTo>
                    <a:pt x="1499" y="2747"/>
                    <a:pt x="1374" y="2706"/>
                    <a:pt x="1263" y="2636"/>
                  </a:cubicBezTo>
                  <a:cubicBezTo>
                    <a:pt x="1013" y="2511"/>
                    <a:pt x="972" y="2414"/>
                    <a:pt x="1068" y="2164"/>
                  </a:cubicBezTo>
                  <a:cubicBezTo>
                    <a:pt x="1138" y="1942"/>
                    <a:pt x="1263" y="1747"/>
                    <a:pt x="1402" y="1567"/>
                  </a:cubicBezTo>
                  <a:cubicBezTo>
                    <a:pt x="1721" y="1096"/>
                    <a:pt x="1651" y="554"/>
                    <a:pt x="1222" y="207"/>
                  </a:cubicBezTo>
                  <a:cubicBezTo>
                    <a:pt x="1033" y="54"/>
                    <a:pt x="821" y="0"/>
                    <a:pt x="60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24111190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98"/>
        <p:cNvGrpSpPr/>
        <p:nvPr/>
      </p:nvGrpSpPr>
      <p:grpSpPr>
        <a:xfrm>
          <a:off x="0" y="0"/>
          <a:ext cx="0" cy="0"/>
          <a:chOff x="0" y="0"/>
          <a:chExt cx="0" cy="0"/>
        </a:xfrm>
      </p:grpSpPr>
    </p:spTree>
    <p:extLst>
      <p:ext uri="{BB962C8B-B14F-4D97-AF65-F5344CB8AC3E}">
        <p14:creationId xmlns:p14="http://schemas.microsoft.com/office/powerpoint/2010/main" val="202960779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able of contents">
  <p:cSld name="Table of contents">
    <p:bg>
      <p:bgPr>
        <a:solidFill>
          <a:schemeClr val="accent3"/>
        </a:solidFill>
        <a:effectLst/>
      </p:bgPr>
    </p:bg>
    <p:spTree>
      <p:nvGrpSpPr>
        <p:cNvPr id="1" name="Shape 399"/>
        <p:cNvGrpSpPr/>
        <p:nvPr/>
      </p:nvGrpSpPr>
      <p:grpSpPr>
        <a:xfrm>
          <a:off x="0" y="0"/>
          <a:ext cx="0" cy="0"/>
          <a:chOff x="0" y="0"/>
          <a:chExt cx="0" cy="0"/>
        </a:xfrm>
      </p:grpSpPr>
      <p:grpSp>
        <p:nvGrpSpPr>
          <p:cNvPr id="400" name="Google Shape;400;p13"/>
          <p:cNvGrpSpPr/>
          <p:nvPr/>
        </p:nvGrpSpPr>
        <p:grpSpPr>
          <a:xfrm>
            <a:off x="-1135833" y="365100"/>
            <a:ext cx="12962600" cy="6148800"/>
            <a:chOff x="-851875" y="273825"/>
            <a:chExt cx="9721950" cy="4611600"/>
          </a:xfrm>
        </p:grpSpPr>
        <p:sp>
          <p:nvSpPr>
            <p:cNvPr id="401" name="Google Shape;401;p13"/>
            <p:cNvSpPr/>
            <p:nvPr/>
          </p:nvSpPr>
          <p:spPr>
            <a:xfrm>
              <a:off x="341975" y="273825"/>
              <a:ext cx="8528100" cy="4611600"/>
            </a:xfrm>
            <a:prstGeom prst="roundRect">
              <a:avLst>
                <a:gd name="adj" fmla="val 4554"/>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02" name="Google Shape;402;p13"/>
            <p:cNvSpPr/>
            <p:nvPr/>
          </p:nvSpPr>
          <p:spPr>
            <a:xfrm>
              <a:off x="-851875" y="273825"/>
              <a:ext cx="1153200" cy="4611600"/>
            </a:xfrm>
            <a:prstGeom prst="roundRect">
              <a:avLst>
                <a:gd name="adj" fmla="val 22757"/>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403" name="Google Shape;403;p13"/>
            <p:cNvGrpSpPr/>
            <p:nvPr/>
          </p:nvGrpSpPr>
          <p:grpSpPr>
            <a:xfrm>
              <a:off x="81691" y="785819"/>
              <a:ext cx="155400" cy="3538775"/>
              <a:chOff x="435991" y="785819"/>
              <a:chExt cx="155400" cy="3538775"/>
            </a:xfrm>
          </p:grpSpPr>
          <p:sp>
            <p:nvSpPr>
              <p:cNvPr id="404" name="Google Shape;404;p13"/>
              <p:cNvSpPr/>
              <p:nvPr/>
            </p:nvSpPr>
            <p:spPr>
              <a:xfrm>
                <a:off x="435991" y="7858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05" name="Google Shape;405;p13"/>
              <p:cNvSpPr/>
              <p:nvPr/>
            </p:nvSpPr>
            <p:spPr>
              <a:xfrm>
                <a:off x="435991" y="12662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06" name="Google Shape;406;p13"/>
              <p:cNvSpPr/>
              <p:nvPr/>
            </p:nvSpPr>
            <p:spPr>
              <a:xfrm>
                <a:off x="435991" y="17466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07" name="Google Shape;407;p13"/>
              <p:cNvSpPr/>
              <p:nvPr/>
            </p:nvSpPr>
            <p:spPr>
              <a:xfrm>
                <a:off x="435991" y="22474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08" name="Google Shape;408;p13"/>
              <p:cNvSpPr/>
              <p:nvPr/>
            </p:nvSpPr>
            <p:spPr>
              <a:xfrm>
                <a:off x="435991" y="27075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09" name="Google Shape;409;p13"/>
              <p:cNvSpPr/>
              <p:nvPr/>
            </p:nvSpPr>
            <p:spPr>
              <a:xfrm>
                <a:off x="435991" y="31879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0" name="Google Shape;410;p13"/>
              <p:cNvSpPr/>
              <p:nvPr/>
            </p:nvSpPr>
            <p:spPr>
              <a:xfrm>
                <a:off x="435991" y="36683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1" name="Google Shape;411;p13"/>
              <p:cNvSpPr/>
              <p:nvPr/>
            </p:nvSpPr>
            <p:spPr>
              <a:xfrm>
                <a:off x="435991" y="41691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412" name="Google Shape;412;p13"/>
            <p:cNvGrpSpPr/>
            <p:nvPr/>
          </p:nvGrpSpPr>
          <p:grpSpPr>
            <a:xfrm>
              <a:off x="435991" y="785819"/>
              <a:ext cx="155400" cy="3538775"/>
              <a:chOff x="435991" y="785819"/>
              <a:chExt cx="155400" cy="3538775"/>
            </a:xfrm>
          </p:grpSpPr>
          <p:sp>
            <p:nvSpPr>
              <p:cNvPr id="413" name="Google Shape;413;p13"/>
              <p:cNvSpPr/>
              <p:nvPr/>
            </p:nvSpPr>
            <p:spPr>
              <a:xfrm>
                <a:off x="435991" y="7858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4" name="Google Shape;414;p13"/>
              <p:cNvSpPr/>
              <p:nvPr/>
            </p:nvSpPr>
            <p:spPr>
              <a:xfrm>
                <a:off x="435991" y="12662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5" name="Google Shape;415;p13"/>
              <p:cNvSpPr/>
              <p:nvPr/>
            </p:nvSpPr>
            <p:spPr>
              <a:xfrm>
                <a:off x="435991" y="17466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6" name="Google Shape;416;p13"/>
              <p:cNvSpPr/>
              <p:nvPr/>
            </p:nvSpPr>
            <p:spPr>
              <a:xfrm>
                <a:off x="435991" y="22474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7" name="Google Shape;417;p13"/>
              <p:cNvSpPr/>
              <p:nvPr/>
            </p:nvSpPr>
            <p:spPr>
              <a:xfrm>
                <a:off x="435991" y="27075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8" name="Google Shape;418;p13"/>
              <p:cNvSpPr/>
              <p:nvPr/>
            </p:nvSpPr>
            <p:spPr>
              <a:xfrm>
                <a:off x="435991" y="31879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9" name="Google Shape;419;p13"/>
              <p:cNvSpPr/>
              <p:nvPr/>
            </p:nvSpPr>
            <p:spPr>
              <a:xfrm>
                <a:off x="435991" y="36683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20" name="Google Shape;420;p13"/>
              <p:cNvSpPr/>
              <p:nvPr/>
            </p:nvSpPr>
            <p:spPr>
              <a:xfrm>
                <a:off x="435991" y="41691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421" name="Google Shape;421;p13"/>
            <p:cNvGrpSpPr/>
            <p:nvPr/>
          </p:nvGrpSpPr>
          <p:grpSpPr>
            <a:xfrm>
              <a:off x="161500" y="826619"/>
              <a:ext cx="352200" cy="3457175"/>
              <a:chOff x="161500" y="826619"/>
              <a:chExt cx="352200" cy="3457175"/>
            </a:xfrm>
          </p:grpSpPr>
          <p:sp>
            <p:nvSpPr>
              <p:cNvPr id="422" name="Google Shape;422;p13"/>
              <p:cNvSpPr/>
              <p:nvPr/>
            </p:nvSpPr>
            <p:spPr>
              <a:xfrm>
                <a:off x="161500" y="228829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23" name="Google Shape;423;p13"/>
              <p:cNvSpPr/>
              <p:nvPr/>
            </p:nvSpPr>
            <p:spPr>
              <a:xfrm>
                <a:off x="161500" y="274831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24" name="Google Shape;424;p13"/>
              <p:cNvSpPr/>
              <p:nvPr/>
            </p:nvSpPr>
            <p:spPr>
              <a:xfrm>
                <a:off x="161500" y="322874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25" name="Google Shape;425;p13"/>
              <p:cNvSpPr/>
              <p:nvPr/>
            </p:nvSpPr>
            <p:spPr>
              <a:xfrm>
                <a:off x="161500" y="370916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26" name="Google Shape;426;p13"/>
              <p:cNvSpPr/>
              <p:nvPr/>
            </p:nvSpPr>
            <p:spPr>
              <a:xfrm>
                <a:off x="161500" y="420999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27" name="Google Shape;427;p13"/>
              <p:cNvSpPr/>
              <p:nvPr/>
            </p:nvSpPr>
            <p:spPr>
              <a:xfrm>
                <a:off x="161500" y="178746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28" name="Google Shape;428;p13"/>
              <p:cNvSpPr/>
              <p:nvPr/>
            </p:nvSpPr>
            <p:spPr>
              <a:xfrm>
                <a:off x="161500" y="130704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29" name="Google Shape;429;p13"/>
              <p:cNvSpPr/>
              <p:nvPr/>
            </p:nvSpPr>
            <p:spPr>
              <a:xfrm>
                <a:off x="161500" y="82661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cxnSp>
          <p:nvCxnSpPr>
            <p:cNvPr id="430" name="Google Shape;430;p13"/>
            <p:cNvCxnSpPr/>
            <p:nvPr/>
          </p:nvCxnSpPr>
          <p:spPr>
            <a:xfrm>
              <a:off x="843750" y="288625"/>
              <a:ext cx="0" cy="4588500"/>
            </a:xfrm>
            <a:prstGeom prst="straightConnector1">
              <a:avLst/>
            </a:prstGeom>
            <a:noFill/>
            <a:ln w="19050" cap="rnd" cmpd="sng">
              <a:solidFill>
                <a:schemeClr val="accent1"/>
              </a:solidFill>
              <a:prstDash val="dot"/>
              <a:round/>
              <a:headEnd type="none" w="med" len="med"/>
              <a:tailEnd type="none" w="med" len="med"/>
            </a:ln>
          </p:spPr>
        </p:cxnSp>
      </p:grpSp>
      <p:sp>
        <p:nvSpPr>
          <p:cNvPr id="431" name="Google Shape;431;p13"/>
          <p:cNvSpPr txBox="1">
            <a:spLocks noGrp="1"/>
          </p:cNvSpPr>
          <p:nvPr>
            <p:ph type="title"/>
          </p:nvPr>
        </p:nvSpPr>
        <p:spPr>
          <a:xfrm>
            <a:off x="1053733" y="716000"/>
            <a:ext cx="10187600" cy="4816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200"/>
              <a:buNone/>
              <a:defRPr>
                <a:solidFill>
                  <a:schemeClr val="accent1"/>
                </a:solidFill>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432" name="Google Shape;432;p13"/>
          <p:cNvSpPr txBox="1">
            <a:spLocks noGrp="1"/>
          </p:cNvSpPr>
          <p:nvPr>
            <p:ph type="title" idx="2"/>
          </p:nvPr>
        </p:nvSpPr>
        <p:spPr>
          <a:xfrm>
            <a:off x="3087413" y="2661876"/>
            <a:ext cx="2846800" cy="524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000"/>
              <a:buNone/>
              <a:defRPr sz="2933"/>
            </a:lvl1pPr>
            <a:lvl2pPr lvl="1" algn="ctr" rtl="0">
              <a:spcBef>
                <a:spcPts val="0"/>
              </a:spcBef>
              <a:spcAft>
                <a:spcPts val="0"/>
              </a:spcAft>
              <a:buSzPts val="2000"/>
              <a:buNone/>
              <a:defRPr sz="2667"/>
            </a:lvl2pPr>
            <a:lvl3pPr lvl="2" algn="ctr" rtl="0">
              <a:spcBef>
                <a:spcPts val="0"/>
              </a:spcBef>
              <a:spcAft>
                <a:spcPts val="0"/>
              </a:spcAft>
              <a:buSzPts val="2000"/>
              <a:buNone/>
              <a:defRPr sz="2667"/>
            </a:lvl3pPr>
            <a:lvl4pPr lvl="3" algn="ctr" rtl="0">
              <a:spcBef>
                <a:spcPts val="0"/>
              </a:spcBef>
              <a:spcAft>
                <a:spcPts val="0"/>
              </a:spcAft>
              <a:buSzPts val="2000"/>
              <a:buNone/>
              <a:defRPr sz="2667"/>
            </a:lvl4pPr>
            <a:lvl5pPr lvl="4" algn="ctr" rtl="0">
              <a:spcBef>
                <a:spcPts val="0"/>
              </a:spcBef>
              <a:spcAft>
                <a:spcPts val="0"/>
              </a:spcAft>
              <a:buSzPts val="2000"/>
              <a:buNone/>
              <a:defRPr sz="2667"/>
            </a:lvl5pPr>
            <a:lvl6pPr lvl="5" algn="ctr" rtl="0">
              <a:spcBef>
                <a:spcPts val="0"/>
              </a:spcBef>
              <a:spcAft>
                <a:spcPts val="0"/>
              </a:spcAft>
              <a:buSzPts val="2000"/>
              <a:buNone/>
              <a:defRPr sz="2667"/>
            </a:lvl6pPr>
            <a:lvl7pPr lvl="6" algn="ctr" rtl="0">
              <a:spcBef>
                <a:spcPts val="0"/>
              </a:spcBef>
              <a:spcAft>
                <a:spcPts val="0"/>
              </a:spcAft>
              <a:buSzPts val="2000"/>
              <a:buNone/>
              <a:defRPr sz="2667"/>
            </a:lvl7pPr>
            <a:lvl8pPr lvl="7" algn="ctr" rtl="0">
              <a:spcBef>
                <a:spcPts val="0"/>
              </a:spcBef>
              <a:spcAft>
                <a:spcPts val="0"/>
              </a:spcAft>
              <a:buSzPts val="2000"/>
              <a:buNone/>
              <a:defRPr sz="2667"/>
            </a:lvl8pPr>
            <a:lvl9pPr lvl="8" algn="ctr" rtl="0">
              <a:spcBef>
                <a:spcPts val="0"/>
              </a:spcBef>
              <a:spcAft>
                <a:spcPts val="0"/>
              </a:spcAft>
              <a:buSzPts val="2000"/>
              <a:buNone/>
              <a:defRPr sz="2667"/>
            </a:lvl9pPr>
          </a:lstStyle>
          <a:p>
            <a:endParaRPr/>
          </a:p>
        </p:txBody>
      </p:sp>
      <p:sp>
        <p:nvSpPr>
          <p:cNvPr id="433" name="Google Shape;433;p13"/>
          <p:cNvSpPr txBox="1">
            <a:spLocks noGrp="1"/>
          </p:cNvSpPr>
          <p:nvPr>
            <p:ph type="subTitle" idx="1"/>
          </p:nvPr>
        </p:nvSpPr>
        <p:spPr>
          <a:xfrm>
            <a:off x="3087417" y="3186665"/>
            <a:ext cx="2846800" cy="6128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434" name="Google Shape;434;p13"/>
          <p:cNvSpPr txBox="1">
            <a:spLocks noGrp="1"/>
          </p:cNvSpPr>
          <p:nvPr>
            <p:ph type="title" idx="3" hasCustomPrompt="1"/>
          </p:nvPr>
        </p:nvSpPr>
        <p:spPr>
          <a:xfrm>
            <a:off x="3874000" y="2102165"/>
            <a:ext cx="1273600" cy="524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r>
              <a:t>xx%</a:t>
            </a:r>
          </a:p>
        </p:txBody>
      </p:sp>
      <p:sp>
        <p:nvSpPr>
          <p:cNvPr id="435" name="Google Shape;435;p13"/>
          <p:cNvSpPr txBox="1">
            <a:spLocks noGrp="1"/>
          </p:cNvSpPr>
          <p:nvPr>
            <p:ph type="title" idx="4"/>
          </p:nvPr>
        </p:nvSpPr>
        <p:spPr>
          <a:xfrm>
            <a:off x="6546248" y="2661876"/>
            <a:ext cx="2846800" cy="524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000"/>
              <a:buNone/>
              <a:defRPr sz="2933"/>
            </a:lvl1pPr>
            <a:lvl2pPr lvl="1" algn="ctr" rtl="0">
              <a:spcBef>
                <a:spcPts val="0"/>
              </a:spcBef>
              <a:spcAft>
                <a:spcPts val="0"/>
              </a:spcAft>
              <a:buSzPts val="2000"/>
              <a:buNone/>
              <a:defRPr sz="2667"/>
            </a:lvl2pPr>
            <a:lvl3pPr lvl="2" algn="ctr" rtl="0">
              <a:spcBef>
                <a:spcPts val="0"/>
              </a:spcBef>
              <a:spcAft>
                <a:spcPts val="0"/>
              </a:spcAft>
              <a:buSzPts val="2000"/>
              <a:buNone/>
              <a:defRPr sz="2667"/>
            </a:lvl3pPr>
            <a:lvl4pPr lvl="3" algn="ctr" rtl="0">
              <a:spcBef>
                <a:spcPts val="0"/>
              </a:spcBef>
              <a:spcAft>
                <a:spcPts val="0"/>
              </a:spcAft>
              <a:buSzPts val="2000"/>
              <a:buNone/>
              <a:defRPr sz="2667"/>
            </a:lvl4pPr>
            <a:lvl5pPr lvl="4" algn="ctr" rtl="0">
              <a:spcBef>
                <a:spcPts val="0"/>
              </a:spcBef>
              <a:spcAft>
                <a:spcPts val="0"/>
              </a:spcAft>
              <a:buSzPts val="2000"/>
              <a:buNone/>
              <a:defRPr sz="2667"/>
            </a:lvl5pPr>
            <a:lvl6pPr lvl="5" algn="ctr" rtl="0">
              <a:spcBef>
                <a:spcPts val="0"/>
              </a:spcBef>
              <a:spcAft>
                <a:spcPts val="0"/>
              </a:spcAft>
              <a:buSzPts val="2000"/>
              <a:buNone/>
              <a:defRPr sz="2667"/>
            </a:lvl6pPr>
            <a:lvl7pPr lvl="6" algn="ctr" rtl="0">
              <a:spcBef>
                <a:spcPts val="0"/>
              </a:spcBef>
              <a:spcAft>
                <a:spcPts val="0"/>
              </a:spcAft>
              <a:buSzPts val="2000"/>
              <a:buNone/>
              <a:defRPr sz="2667"/>
            </a:lvl7pPr>
            <a:lvl8pPr lvl="7" algn="ctr" rtl="0">
              <a:spcBef>
                <a:spcPts val="0"/>
              </a:spcBef>
              <a:spcAft>
                <a:spcPts val="0"/>
              </a:spcAft>
              <a:buSzPts val="2000"/>
              <a:buNone/>
              <a:defRPr sz="2667"/>
            </a:lvl8pPr>
            <a:lvl9pPr lvl="8" algn="ctr" rtl="0">
              <a:spcBef>
                <a:spcPts val="0"/>
              </a:spcBef>
              <a:spcAft>
                <a:spcPts val="0"/>
              </a:spcAft>
              <a:buSzPts val="2000"/>
              <a:buNone/>
              <a:defRPr sz="2667"/>
            </a:lvl9pPr>
          </a:lstStyle>
          <a:p>
            <a:endParaRPr/>
          </a:p>
        </p:txBody>
      </p:sp>
      <p:sp>
        <p:nvSpPr>
          <p:cNvPr id="436" name="Google Shape;436;p13"/>
          <p:cNvSpPr txBox="1">
            <a:spLocks noGrp="1"/>
          </p:cNvSpPr>
          <p:nvPr>
            <p:ph type="subTitle" idx="5"/>
          </p:nvPr>
        </p:nvSpPr>
        <p:spPr>
          <a:xfrm>
            <a:off x="6546248" y="3186665"/>
            <a:ext cx="2846800" cy="6128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437" name="Google Shape;437;p13"/>
          <p:cNvSpPr txBox="1">
            <a:spLocks noGrp="1"/>
          </p:cNvSpPr>
          <p:nvPr>
            <p:ph type="title" idx="6" hasCustomPrompt="1"/>
          </p:nvPr>
        </p:nvSpPr>
        <p:spPr>
          <a:xfrm>
            <a:off x="7332833" y="2102165"/>
            <a:ext cx="1273600" cy="524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r>
              <a:t>xx%</a:t>
            </a:r>
          </a:p>
        </p:txBody>
      </p:sp>
      <p:sp>
        <p:nvSpPr>
          <p:cNvPr id="438" name="Google Shape;438;p13"/>
          <p:cNvSpPr txBox="1">
            <a:spLocks noGrp="1"/>
          </p:cNvSpPr>
          <p:nvPr>
            <p:ph type="title" idx="7"/>
          </p:nvPr>
        </p:nvSpPr>
        <p:spPr>
          <a:xfrm>
            <a:off x="3087413" y="4650956"/>
            <a:ext cx="2846800" cy="524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000"/>
              <a:buNone/>
              <a:defRPr sz="2933"/>
            </a:lvl1pPr>
            <a:lvl2pPr lvl="1" algn="ctr" rtl="0">
              <a:spcBef>
                <a:spcPts val="0"/>
              </a:spcBef>
              <a:spcAft>
                <a:spcPts val="0"/>
              </a:spcAft>
              <a:buSzPts val="2000"/>
              <a:buNone/>
              <a:defRPr sz="2667"/>
            </a:lvl2pPr>
            <a:lvl3pPr lvl="2" algn="ctr" rtl="0">
              <a:spcBef>
                <a:spcPts val="0"/>
              </a:spcBef>
              <a:spcAft>
                <a:spcPts val="0"/>
              </a:spcAft>
              <a:buSzPts val="2000"/>
              <a:buNone/>
              <a:defRPr sz="2667"/>
            </a:lvl3pPr>
            <a:lvl4pPr lvl="3" algn="ctr" rtl="0">
              <a:spcBef>
                <a:spcPts val="0"/>
              </a:spcBef>
              <a:spcAft>
                <a:spcPts val="0"/>
              </a:spcAft>
              <a:buSzPts val="2000"/>
              <a:buNone/>
              <a:defRPr sz="2667"/>
            </a:lvl4pPr>
            <a:lvl5pPr lvl="4" algn="ctr" rtl="0">
              <a:spcBef>
                <a:spcPts val="0"/>
              </a:spcBef>
              <a:spcAft>
                <a:spcPts val="0"/>
              </a:spcAft>
              <a:buSzPts val="2000"/>
              <a:buNone/>
              <a:defRPr sz="2667"/>
            </a:lvl5pPr>
            <a:lvl6pPr lvl="5" algn="ctr" rtl="0">
              <a:spcBef>
                <a:spcPts val="0"/>
              </a:spcBef>
              <a:spcAft>
                <a:spcPts val="0"/>
              </a:spcAft>
              <a:buSzPts val="2000"/>
              <a:buNone/>
              <a:defRPr sz="2667"/>
            </a:lvl6pPr>
            <a:lvl7pPr lvl="6" algn="ctr" rtl="0">
              <a:spcBef>
                <a:spcPts val="0"/>
              </a:spcBef>
              <a:spcAft>
                <a:spcPts val="0"/>
              </a:spcAft>
              <a:buSzPts val="2000"/>
              <a:buNone/>
              <a:defRPr sz="2667"/>
            </a:lvl7pPr>
            <a:lvl8pPr lvl="7" algn="ctr" rtl="0">
              <a:spcBef>
                <a:spcPts val="0"/>
              </a:spcBef>
              <a:spcAft>
                <a:spcPts val="0"/>
              </a:spcAft>
              <a:buSzPts val="2000"/>
              <a:buNone/>
              <a:defRPr sz="2667"/>
            </a:lvl8pPr>
            <a:lvl9pPr lvl="8" algn="ctr" rtl="0">
              <a:spcBef>
                <a:spcPts val="0"/>
              </a:spcBef>
              <a:spcAft>
                <a:spcPts val="0"/>
              </a:spcAft>
              <a:buSzPts val="2000"/>
              <a:buNone/>
              <a:defRPr sz="2667"/>
            </a:lvl9pPr>
          </a:lstStyle>
          <a:p>
            <a:endParaRPr/>
          </a:p>
        </p:txBody>
      </p:sp>
      <p:sp>
        <p:nvSpPr>
          <p:cNvPr id="439" name="Google Shape;439;p13"/>
          <p:cNvSpPr txBox="1">
            <a:spLocks noGrp="1"/>
          </p:cNvSpPr>
          <p:nvPr>
            <p:ph type="subTitle" idx="8"/>
          </p:nvPr>
        </p:nvSpPr>
        <p:spPr>
          <a:xfrm>
            <a:off x="3087413" y="5175759"/>
            <a:ext cx="2846800" cy="6128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440" name="Google Shape;440;p13"/>
          <p:cNvSpPr txBox="1">
            <a:spLocks noGrp="1"/>
          </p:cNvSpPr>
          <p:nvPr>
            <p:ph type="title" idx="9" hasCustomPrompt="1"/>
          </p:nvPr>
        </p:nvSpPr>
        <p:spPr>
          <a:xfrm>
            <a:off x="3874000" y="4082167"/>
            <a:ext cx="1273600" cy="524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r>
              <a:t>xx%</a:t>
            </a:r>
          </a:p>
        </p:txBody>
      </p:sp>
      <p:sp>
        <p:nvSpPr>
          <p:cNvPr id="441" name="Google Shape;441;p13"/>
          <p:cNvSpPr txBox="1">
            <a:spLocks noGrp="1"/>
          </p:cNvSpPr>
          <p:nvPr>
            <p:ph type="title" idx="13"/>
          </p:nvPr>
        </p:nvSpPr>
        <p:spPr>
          <a:xfrm>
            <a:off x="6546248" y="4650956"/>
            <a:ext cx="2846800" cy="524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000"/>
              <a:buNone/>
              <a:defRPr sz="2933"/>
            </a:lvl1pPr>
            <a:lvl2pPr lvl="1" algn="ctr" rtl="0">
              <a:spcBef>
                <a:spcPts val="0"/>
              </a:spcBef>
              <a:spcAft>
                <a:spcPts val="0"/>
              </a:spcAft>
              <a:buSzPts val="2000"/>
              <a:buNone/>
              <a:defRPr sz="2667"/>
            </a:lvl2pPr>
            <a:lvl3pPr lvl="2" algn="ctr" rtl="0">
              <a:spcBef>
                <a:spcPts val="0"/>
              </a:spcBef>
              <a:spcAft>
                <a:spcPts val="0"/>
              </a:spcAft>
              <a:buSzPts val="2000"/>
              <a:buNone/>
              <a:defRPr sz="2667"/>
            </a:lvl3pPr>
            <a:lvl4pPr lvl="3" algn="ctr" rtl="0">
              <a:spcBef>
                <a:spcPts val="0"/>
              </a:spcBef>
              <a:spcAft>
                <a:spcPts val="0"/>
              </a:spcAft>
              <a:buSzPts val="2000"/>
              <a:buNone/>
              <a:defRPr sz="2667"/>
            </a:lvl4pPr>
            <a:lvl5pPr lvl="4" algn="ctr" rtl="0">
              <a:spcBef>
                <a:spcPts val="0"/>
              </a:spcBef>
              <a:spcAft>
                <a:spcPts val="0"/>
              </a:spcAft>
              <a:buSzPts val="2000"/>
              <a:buNone/>
              <a:defRPr sz="2667"/>
            </a:lvl5pPr>
            <a:lvl6pPr lvl="5" algn="ctr" rtl="0">
              <a:spcBef>
                <a:spcPts val="0"/>
              </a:spcBef>
              <a:spcAft>
                <a:spcPts val="0"/>
              </a:spcAft>
              <a:buSzPts val="2000"/>
              <a:buNone/>
              <a:defRPr sz="2667"/>
            </a:lvl6pPr>
            <a:lvl7pPr lvl="6" algn="ctr" rtl="0">
              <a:spcBef>
                <a:spcPts val="0"/>
              </a:spcBef>
              <a:spcAft>
                <a:spcPts val="0"/>
              </a:spcAft>
              <a:buSzPts val="2000"/>
              <a:buNone/>
              <a:defRPr sz="2667"/>
            </a:lvl7pPr>
            <a:lvl8pPr lvl="7" algn="ctr" rtl="0">
              <a:spcBef>
                <a:spcPts val="0"/>
              </a:spcBef>
              <a:spcAft>
                <a:spcPts val="0"/>
              </a:spcAft>
              <a:buSzPts val="2000"/>
              <a:buNone/>
              <a:defRPr sz="2667"/>
            </a:lvl8pPr>
            <a:lvl9pPr lvl="8" algn="ctr" rtl="0">
              <a:spcBef>
                <a:spcPts val="0"/>
              </a:spcBef>
              <a:spcAft>
                <a:spcPts val="0"/>
              </a:spcAft>
              <a:buSzPts val="2000"/>
              <a:buNone/>
              <a:defRPr sz="2667"/>
            </a:lvl9pPr>
          </a:lstStyle>
          <a:p>
            <a:endParaRPr/>
          </a:p>
        </p:txBody>
      </p:sp>
      <p:sp>
        <p:nvSpPr>
          <p:cNvPr id="442" name="Google Shape;442;p13"/>
          <p:cNvSpPr txBox="1">
            <a:spLocks noGrp="1"/>
          </p:cNvSpPr>
          <p:nvPr>
            <p:ph type="subTitle" idx="14"/>
          </p:nvPr>
        </p:nvSpPr>
        <p:spPr>
          <a:xfrm>
            <a:off x="6546248" y="5175759"/>
            <a:ext cx="2846800" cy="6128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443" name="Google Shape;443;p13"/>
          <p:cNvSpPr txBox="1">
            <a:spLocks noGrp="1"/>
          </p:cNvSpPr>
          <p:nvPr>
            <p:ph type="title" idx="15" hasCustomPrompt="1"/>
          </p:nvPr>
        </p:nvSpPr>
        <p:spPr>
          <a:xfrm>
            <a:off x="7332833" y="4082167"/>
            <a:ext cx="1273600" cy="524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r>
              <a:t>xx%</a:t>
            </a:r>
          </a:p>
        </p:txBody>
      </p:sp>
      <p:grpSp>
        <p:nvGrpSpPr>
          <p:cNvPr id="444" name="Google Shape;444;p13"/>
          <p:cNvGrpSpPr/>
          <p:nvPr/>
        </p:nvGrpSpPr>
        <p:grpSpPr>
          <a:xfrm>
            <a:off x="10403031" y="1234911"/>
            <a:ext cx="207200" cy="207200"/>
            <a:chOff x="1666623" y="2623621"/>
            <a:chExt cx="155400" cy="155400"/>
          </a:xfrm>
        </p:grpSpPr>
        <p:sp>
          <p:nvSpPr>
            <p:cNvPr id="445" name="Google Shape;445;p13"/>
            <p:cNvSpPr/>
            <p:nvPr/>
          </p:nvSpPr>
          <p:spPr>
            <a:xfrm>
              <a:off x="1666623" y="2623621"/>
              <a:ext cx="155400" cy="155400"/>
            </a:xfrm>
            <a:prstGeom prst="star4">
              <a:avLst>
                <a:gd name="adj" fmla="val 21474"/>
              </a:avLst>
            </a:prstGeom>
            <a:noFill/>
            <a:ln w="76200" cap="flat" cmpd="sng">
              <a:solidFill>
                <a:schemeClr val="lt1"/>
              </a:solidFill>
              <a:prstDash val="solid"/>
              <a:round/>
              <a:headEnd type="none" w="sm" len="sm"/>
              <a:tailEnd type="none" w="sm" len="sm"/>
            </a:ln>
            <a:effectLst>
              <a:outerShdw dist="57150" dir="960000" algn="bl" rotWithShape="0">
                <a:schemeClr val="dk1">
                  <a:alpha val="26000"/>
                </a:scheme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2400"/>
            </a:p>
          </p:txBody>
        </p:sp>
        <p:sp>
          <p:nvSpPr>
            <p:cNvPr id="446" name="Google Shape;446;p13"/>
            <p:cNvSpPr/>
            <p:nvPr/>
          </p:nvSpPr>
          <p:spPr>
            <a:xfrm>
              <a:off x="1666623" y="2623621"/>
              <a:ext cx="155400" cy="155400"/>
            </a:xfrm>
            <a:prstGeom prst="star4">
              <a:avLst>
                <a:gd name="adj" fmla="val 23855"/>
              </a:avLst>
            </a:prstGeom>
            <a:solidFill>
              <a:schemeClr val="lt2"/>
            </a:solidFill>
            <a:ln w="19050"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2400"/>
            </a:p>
          </p:txBody>
        </p:sp>
      </p:grpSp>
      <p:grpSp>
        <p:nvGrpSpPr>
          <p:cNvPr id="447" name="Google Shape;447;p13"/>
          <p:cNvGrpSpPr/>
          <p:nvPr/>
        </p:nvGrpSpPr>
        <p:grpSpPr>
          <a:xfrm flipH="1">
            <a:off x="10491642" y="1362815"/>
            <a:ext cx="600812" cy="658788"/>
            <a:chOff x="1584644" y="2497374"/>
            <a:chExt cx="450609" cy="494091"/>
          </a:xfrm>
        </p:grpSpPr>
        <p:sp>
          <p:nvSpPr>
            <p:cNvPr id="448" name="Google Shape;448;p13"/>
            <p:cNvSpPr/>
            <p:nvPr/>
          </p:nvSpPr>
          <p:spPr>
            <a:xfrm rot="-2029707">
              <a:off x="1679395" y="2534520"/>
              <a:ext cx="261108" cy="419799"/>
            </a:xfrm>
            <a:custGeom>
              <a:avLst/>
              <a:gdLst/>
              <a:ahLst/>
              <a:cxnLst/>
              <a:rect l="l" t="t" r="r" b="b"/>
              <a:pathLst>
                <a:path w="5025" h="8079" extrusionOk="0">
                  <a:moveTo>
                    <a:pt x="1735" y="1110"/>
                  </a:moveTo>
                  <a:cubicBezTo>
                    <a:pt x="1957" y="1110"/>
                    <a:pt x="2179" y="1166"/>
                    <a:pt x="2360" y="1319"/>
                  </a:cubicBezTo>
                  <a:cubicBezTo>
                    <a:pt x="2789" y="1666"/>
                    <a:pt x="2859" y="2208"/>
                    <a:pt x="2540" y="2679"/>
                  </a:cubicBezTo>
                  <a:cubicBezTo>
                    <a:pt x="2401" y="2859"/>
                    <a:pt x="2276" y="3054"/>
                    <a:pt x="2206" y="3276"/>
                  </a:cubicBezTo>
                  <a:cubicBezTo>
                    <a:pt x="2110" y="3526"/>
                    <a:pt x="2151" y="3623"/>
                    <a:pt x="2401" y="3748"/>
                  </a:cubicBezTo>
                  <a:cubicBezTo>
                    <a:pt x="2512" y="3818"/>
                    <a:pt x="2637" y="3859"/>
                    <a:pt x="2762" y="3914"/>
                  </a:cubicBezTo>
                  <a:cubicBezTo>
                    <a:pt x="2970" y="4012"/>
                    <a:pt x="3150" y="4151"/>
                    <a:pt x="3261" y="4358"/>
                  </a:cubicBezTo>
                  <a:cubicBezTo>
                    <a:pt x="3428" y="4664"/>
                    <a:pt x="3415" y="4983"/>
                    <a:pt x="3193" y="5261"/>
                  </a:cubicBezTo>
                  <a:cubicBezTo>
                    <a:pt x="3054" y="5455"/>
                    <a:pt x="2928" y="5663"/>
                    <a:pt x="2832" y="5885"/>
                  </a:cubicBezTo>
                  <a:cubicBezTo>
                    <a:pt x="2721" y="6149"/>
                    <a:pt x="2762" y="6246"/>
                    <a:pt x="3039" y="6344"/>
                  </a:cubicBezTo>
                  <a:cubicBezTo>
                    <a:pt x="3206" y="6399"/>
                    <a:pt x="3387" y="6440"/>
                    <a:pt x="3581" y="6482"/>
                  </a:cubicBezTo>
                  <a:cubicBezTo>
                    <a:pt x="3692" y="6510"/>
                    <a:pt x="3775" y="6566"/>
                    <a:pt x="3831" y="6662"/>
                  </a:cubicBezTo>
                  <a:cubicBezTo>
                    <a:pt x="3900" y="6760"/>
                    <a:pt x="3859" y="6884"/>
                    <a:pt x="3748" y="6927"/>
                  </a:cubicBezTo>
                  <a:cubicBezTo>
                    <a:pt x="3678" y="6954"/>
                    <a:pt x="3609" y="6968"/>
                    <a:pt x="3539" y="6968"/>
                  </a:cubicBezTo>
                  <a:lnTo>
                    <a:pt x="3470" y="6968"/>
                  </a:lnTo>
                  <a:cubicBezTo>
                    <a:pt x="3220" y="6912"/>
                    <a:pt x="2943" y="6871"/>
                    <a:pt x="2706" y="6746"/>
                  </a:cubicBezTo>
                  <a:cubicBezTo>
                    <a:pt x="2304" y="6551"/>
                    <a:pt x="2179" y="6205"/>
                    <a:pt x="2318" y="5774"/>
                  </a:cubicBezTo>
                  <a:cubicBezTo>
                    <a:pt x="2401" y="5552"/>
                    <a:pt x="2526" y="5344"/>
                    <a:pt x="2651" y="5150"/>
                  </a:cubicBezTo>
                  <a:cubicBezTo>
                    <a:pt x="2678" y="5108"/>
                    <a:pt x="2706" y="5080"/>
                    <a:pt x="2734" y="5052"/>
                  </a:cubicBezTo>
                  <a:cubicBezTo>
                    <a:pt x="2970" y="4719"/>
                    <a:pt x="2915" y="4553"/>
                    <a:pt x="2540" y="4373"/>
                  </a:cubicBezTo>
                  <a:cubicBezTo>
                    <a:pt x="2484" y="4345"/>
                    <a:pt x="2415" y="4317"/>
                    <a:pt x="2401" y="4303"/>
                  </a:cubicBezTo>
                  <a:cubicBezTo>
                    <a:pt x="2262" y="4247"/>
                    <a:pt x="2151" y="4206"/>
                    <a:pt x="2068" y="4151"/>
                  </a:cubicBezTo>
                  <a:cubicBezTo>
                    <a:pt x="1749" y="3984"/>
                    <a:pt x="1624" y="3707"/>
                    <a:pt x="1666" y="3346"/>
                  </a:cubicBezTo>
                  <a:cubicBezTo>
                    <a:pt x="1707" y="3068"/>
                    <a:pt x="1846" y="2818"/>
                    <a:pt x="1999" y="2582"/>
                  </a:cubicBezTo>
                  <a:cubicBezTo>
                    <a:pt x="2068" y="2485"/>
                    <a:pt x="2138" y="2387"/>
                    <a:pt x="2193" y="2276"/>
                  </a:cubicBezTo>
                  <a:cubicBezTo>
                    <a:pt x="2345" y="1971"/>
                    <a:pt x="2206" y="1693"/>
                    <a:pt x="1888" y="1582"/>
                  </a:cubicBezTo>
                  <a:cubicBezTo>
                    <a:pt x="1735" y="1541"/>
                    <a:pt x="1568" y="1541"/>
                    <a:pt x="1416" y="1541"/>
                  </a:cubicBezTo>
                  <a:cubicBezTo>
                    <a:pt x="1207" y="1541"/>
                    <a:pt x="1179" y="1486"/>
                    <a:pt x="1166" y="1388"/>
                  </a:cubicBezTo>
                  <a:cubicBezTo>
                    <a:pt x="1138" y="1277"/>
                    <a:pt x="1222" y="1180"/>
                    <a:pt x="1374" y="1153"/>
                  </a:cubicBezTo>
                  <a:cubicBezTo>
                    <a:pt x="1499" y="1125"/>
                    <a:pt x="1624" y="1110"/>
                    <a:pt x="1735" y="1110"/>
                  </a:cubicBezTo>
                  <a:close/>
                  <a:moveTo>
                    <a:pt x="1735" y="0"/>
                  </a:moveTo>
                  <a:cubicBezTo>
                    <a:pt x="1555" y="0"/>
                    <a:pt x="1360" y="15"/>
                    <a:pt x="1152" y="56"/>
                  </a:cubicBezTo>
                  <a:cubicBezTo>
                    <a:pt x="763" y="139"/>
                    <a:pt x="444" y="361"/>
                    <a:pt x="250" y="666"/>
                  </a:cubicBezTo>
                  <a:cubicBezTo>
                    <a:pt x="56" y="958"/>
                    <a:pt x="0" y="1319"/>
                    <a:pt x="83" y="1652"/>
                  </a:cubicBezTo>
                  <a:cubicBezTo>
                    <a:pt x="167" y="1985"/>
                    <a:pt x="333" y="2235"/>
                    <a:pt x="583" y="2415"/>
                  </a:cubicBezTo>
                  <a:cubicBezTo>
                    <a:pt x="639" y="2457"/>
                    <a:pt x="707" y="2485"/>
                    <a:pt x="763" y="2513"/>
                  </a:cubicBezTo>
                  <a:cubicBezTo>
                    <a:pt x="680" y="2721"/>
                    <a:pt x="596" y="2943"/>
                    <a:pt x="569" y="3207"/>
                  </a:cubicBezTo>
                  <a:cubicBezTo>
                    <a:pt x="458" y="3970"/>
                    <a:pt x="777" y="4664"/>
                    <a:pt x="1416" y="5067"/>
                  </a:cubicBezTo>
                  <a:cubicBezTo>
                    <a:pt x="1374" y="5178"/>
                    <a:pt x="1318" y="5289"/>
                    <a:pt x="1277" y="5413"/>
                  </a:cubicBezTo>
                  <a:cubicBezTo>
                    <a:pt x="944" y="6371"/>
                    <a:pt x="1305" y="7287"/>
                    <a:pt x="2206" y="7745"/>
                  </a:cubicBezTo>
                  <a:cubicBezTo>
                    <a:pt x="2567" y="7926"/>
                    <a:pt x="2928" y="7995"/>
                    <a:pt x="3220" y="8050"/>
                  </a:cubicBezTo>
                  <a:lnTo>
                    <a:pt x="3276" y="8050"/>
                  </a:lnTo>
                  <a:cubicBezTo>
                    <a:pt x="3359" y="8078"/>
                    <a:pt x="3456" y="8078"/>
                    <a:pt x="3539" y="8078"/>
                  </a:cubicBezTo>
                  <a:cubicBezTo>
                    <a:pt x="3748" y="8078"/>
                    <a:pt x="3955" y="8037"/>
                    <a:pt x="4164" y="7954"/>
                  </a:cubicBezTo>
                  <a:cubicBezTo>
                    <a:pt x="4525" y="7815"/>
                    <a:pt x="4803" y="7523"/>
                    <a:pt x="4914" y="7162"/>
                  </a:cubicBezTo>
                  <a:cubicBezTo>
                    <a:pt x="5025" y="6788"/>
                    <a:pt x="4969" y="6385"/>
                    <a:pt x="4760" y="6066"/>
                  </a:cubicBezTo>
                  <a:cubicBezTo>
                    <a:pt x="4636" y="5872"/>
                    <a:pt x="4483" y="5705"/>
                    <a:pt x="4288" y="5594"/>
                  </a:cubicBezTo>
                  <a:cubicBezTo>
                    <a:pt x="4399" y="5372"/>
                    <a:pt x="4455" y="5136"/>
                    <a:pt x="4483" y="4900"/>
                  </a:cubicBezTo>
                  <a:cubicBezTo>
                    <a:pt x="4511" y="4539"/>
                    <a:pt x="4427" y="4178"/>
                    <a:pt x="4247" y="3831"/>
                  </a:cubicBezTo>
                  <a:cubicBezTo>
                    <a:pt x="4081" y="3540"/>
                    <a:pt x="3859" y="3303"/>
                    <a:pt x="3581" y="3109"/>
                  </a:cubicBezTo>
                  <a:cubicBezTo>
                    <a:pt x="4081" y="2193"/>
                    <a:pt x="3886" y="1110"/>
                    <a:pt x="3054" y="444"/>
                  </a:cubicBezTo>
                  <a:cubicBezTo>
                    <a:pt x="2693" y="153"/>
                    <a:pt x="2249" y="0"/>
                    <a:pt x="1735" y="0"/>
                  </a:cubicBezTo>
                  <a:close/>
                </a:path>
              </a:pathLst>
            </a:custGeom>
            <a:solidFill>
              <a:schemeClr val="lt1"/>
            </a:solidFill>
            <a:ln>
              <a:noFill/>
            </a:ln>
            <a:effectLst>
              <a:outerShdw dist="57150" dir="1140000" algn="bl" rotWithShape="0">
                <a:schemeClr val="dk1">
                  <a:alpha val="26000"/>
                </a:scheme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9" name="Google Shape;449;p13"/>
            <p:cNvSpPr/>
            <p:nvPr/>
          </p:nvSpPr>
          <p:spPr>
            <a:xfrm rot="-2029707">
              <a:off x="1738538" y="2592090"/>
              <a:ext cx="143518" cy="304496"/>
            </a:xfrm>
            <a:custGeom>
              <a:avLst/>
              <a:gdLst/>
              <a:ahLst/>
              <a:cxnLst/>
              <a:rect l="l" t="t" r="r" b="b"/>
              <a:pathLst>
                <a:path w="2762" h="5860" extrusionOk="0">
                  <a:moveTo>
                    <a:pt x="600" y="0"/>
                  </a:moveTo>
                  <a:cubicBezTo>
                    <a:pt x="480" y="0"/>
                    <a:pt x="358" y="16"/>
                    <a:pt x="236" y="41"/>
                  </a:cubicBezTo>
                  <a:cubicBezTo>
                    <a:pt x="84" y="68"/>
                    <a:pt x="0" y="165"/>
                    <a:pt x="28" y="276"/>
                  </a:cubicBezTo>
                  <a:cubicBezTo>
                    <a:pt x="41" y="374"/>
                    <a:pt x="69" y="429"/>
                    <a:pt x="278" y="429"/>
                  </a:cubicBezTo>
                  <a:cubicBezTo>
                    <a:pt x="430" y="429"/>
                    <a:pt x="597" y="429"/>
                    <a:pt x="750" y="470"/>
                  </a:cubicBezTo>
                  <a:cubicBezTo>
                    <a:pt x="1068" y="581"/>
                    <a:pt x="1207" y="859"/>
                    <a:pt x="1055" y="1164"/>
                  </a:cubicBezTo>
                  <a:cubicBezTo>
                    <a:pt x="1000" y="1275"/>
                    <a:pt x="930" y="1373"/>
                    <a:pt x="861" y="1470"/>
                  </a:cubicBezTo>
                  <a:cubicBezTo>
                    <a:pt x="708" y="1706"/>
                    <a:pt x="569" y="1956"/>
                    <a:pt x="528" y="2234"/>
                  </a:cubicBezTo>
                  <a:cubicBezTo>
                    <a:pt x="486" y="2595"/>
                    <a:pt x="611" y="2872"/>
                    <a:pt x="930" y="3039"/>
                  </a:cubicBezTo>
                  <a:cubicBezTo>
                    <a:pt x="1013" y="3094"/>
                    <a:pt x="1124" y="3135"/>
                    <a:pt x="1263" y="3191"/>
                  </a:cubicBezTo>
                  <a:cubicBezTo>
                    <a:pt x="1277" y="3205"/>
                    <a:pt x="1346" y="3233"/>
                    <a:pt x="1402" y="3261"/>
                  </a:cubicBezTo>
                  <a:cubicBezTo>
                    <a:pt x="1777" y="3441"/>
                    <a:pt x="1832" y="3607"/>
                    <a:pt x="1596" y="3940"/>
                  </a:cubicBezTo>
                  <a:cubicBezTo>
                    <a:pt x="1568" y="3968"/>
                    <a:pt x="1540" y="3996"/>
                    <a:pt x="1513" y="4038"/>
                  </a:cubicBezTo>
                  <a:cubicBezTo>
                    <a:pt x="1388" y="4232"/>
                    <a:pt x="1263" y="4440"/>
                    <a:pt x="1180" y="4662"/>
                  </a:cubicBezTo>
                  <a:cubicBezTo>
                    <a:pt x="1041" y="5093"/>
                    <a:pt x="1166" y="5439"/>
                    <a:pt x="1568" y="5634"/>
                  </a:cubicBezTo>
                  <a:cubicBezTo>
                    <a:pt x="1805" y="5759"/>
                    <a:pt x="2082" y="5800"/>
                    <a:pt x="2332" y="5856"/>
                  </a:cubicBezTo>
                  <a:cubicBezTo>
                    <a:pt x="2350" y="5858"/>
                    <a:pt x="2369" y="5860"/>
                    <a:pt x="2387" y="5860"/>
                  </a:cubicBezTo>
                  <a:cubicBezTo>
                    <a:pt x="2465" y="5860"/>
                    <a:pt x="2542" y="5837"/>
                    <a:pt x="2610" y="5815"/>
                  </a:cubicBezTo>
                  <a:cubicBezTo>
                    <a:pt x="2721" y="5772"/>
                    <a:pt x="2762" y="5648"/>
                    <a:pt x="2693" y="5550"/>
                  </a:cubicBezTo>
                  <a:cubicBezTo>
                    <a:pt x="2637" y="5454"/>
                    <a:pt x="2554" y="5398"/>
                    <a:pt x="2443" y="5370"/>
                  </a:cubicBezTo>
                  <a:cubicBezTo>
                    <a:pt x="2249" y="5328"/>
                    <a:pt x="2068" y="5287"/>
                    <a:pt x="1901" y="5232"/>
                  </a:cubicBezTo>
                  <a:cubicBezTo>
                    <a:pt x="1624" y="5134"/>
                    <a:pt x="1583" y="5037"/>
                    <a:pt x="1694" y="4773"/>
                  </a:cubicBezTo>
                  <a:cubicBezTo>
                    <a:pt x="1790" y="4551"/>
                    <a:pt x="1916" y="4343"/>
                    <a:pt x="2055" y="4149"/>
                  </a:cubicBezTo>
                  <a:cubicBezTo>
                    <a:pt x="2277" y="3871"/>
                    <a:pt x="2290" y="3552"/>
                    <a:pt x="2123" y="3246"/>
                  </a:cubicBezTo>
                  <a:cubicBezTo>
                    <a:pt x="2012" y="3039"/>
                    <a:pt x="1832" y="2900"/>
                    <a:pt x="1624" y="2802"/>
                  </a:cubicBezTo>
                  <a:cubicBezTo>
                    <a:pt x="1499" y="2747"/>
                    <a:pt x="1374" y="2706"/>
                    <a:pt x="1263" y="2636"/>
                  </a:cubicBezTo>
                  <a:cubicBezTo>
                    <a:pt x="1013" y="2511"/>
                    <a:pt x="972" y="2414"/>
                    <a:pt x="1068" y="2164"/>
                  </a:cubicBezTo>
                  <a:cubicBezTo>
                    <a:pt x="1138" y="1942"/>
                    <a:pt x="1263" y="1747"/>
                    <a:pt x="1402" y="1567"/>
                  </a:cubicBezTo>
                  <a:cubicBezTo>
                    <a:pt x="1721" y="1096"/>
                    <a:pt x="1651" y="554"/>
                    <a:pt x="1222" y="207"/>
                  </a:cubicBezTo>
                  <a:cubicBezTo>
                    <a:pt x="1033" y="54"/>
                    <a:pt x="821" y="0"/>
                    <a:pt x="60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364926567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itle and two columns 1">
  <p:cSld name="Title and two columns 1">
    <p:bg>
      <p:bgPr>
        <a:solidFill>
          <a:schemeClr val="accent3"/>
        </a:solidFill>
        <a:effectLst/>
      </p:bgPr>
    </p:bg>
    <p:spTree>
      <p:nvGrpSpPr>
        <p:cNvPr id="1" name="Shape 551"/>
        <p:cNvGrpSpPr/>
        <p:nvPr/>
      </p:nvGrpSpPr>
      <p:grpSpPr>
        <a:xfrm>
          <a:off x="0" y="0"/>
          <a:ext cx="0" cy="0"/>
          <a:chOff x="0" y="0"/>
          <a:chExt cx="0" cy="0"/>
        </a:xfrm>
      </p:grpSpPr>
      <p:sp>
        <p:nvSpPr>
          <p:cNvPr id="552" name="Google Shape;552;p16"/>
          <p:cNvSpPr/>
          <p:nvPr/>
        </p:nvSpPr>
        <p:spPr>
          <a:xfrm>
            <a:off x="455967" y="365100"/>
            <a:ext cx="11370800" cy="6148800"/>
          </a:xfrm>
          <a:prstGeom prst="roundRect">
            <a:avLst>
              <a:gd name="adj" fmla="val 4554"/>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553" name="Google Shape;553;p16"/>
          <p:cNvGrpSpPr/>
          <p:nvPr/>
        </p:nvGrpSpPr>
        <p:grpSpPr>
          <a:xfrm>
            <a:off x="581321" y="1047759"/>
            <a:ext cx="207200" cy="4718367"/>
            <a:chOff x="435991" y="785819"/>
            <a:chExt cx="155400" cy="3538775"/>
          </a:xfrm>
        </p:grpSpPr>
        <p:sp>
          <p:nvSpPr>
            <p:cNvPr id="554" name="Google Shape;554;p16"/>
            <p:cNvSpPr/>
            <p:nvPr/>
          </p:nvSpPr>
          <p:spPr>
            <a:xfrm>
              <a:off x="435991" y="7858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55" name="Google Shape;555;p16"/>
            <p:cNvSpPr/>
            <p:nvPr/>
          </p:nvSpPr>
          <p:spPr>
            <a:xfrm>
              <a:off x="435991" y="12662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56" name="Google Shape;556;p16"/>
            <p:cNvSpPr/>
            <p:nvPr/>
          </p:nvSpPr>
          <p:spPr>
            <a:xfrm>
              <a:off x="435991" y="17466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57" name="Google Shape;557;p16"/>
            <p:cNvSpPr/>
            <p:nvPr/>
          </p:nvSpPr>
          <p:spPr>
            <a:xfrm>
              <a:off x="435991" y="22474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58" name="Google Shape;558;p16"/>
            <p:cNvSpPr/>
            <p:nvPr/>
          </p:nvSpPr>
          <p:spPr>
            <a:xfrm>
              <a:off x="435991" y="27075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59" name="Google Shape;559;p16"/>
            <p:cNvSpPr/>
            <p:nvPr/>
          </p:nvSpPr>
          <p:spPr>
            <a:xfrm>
              <a:off x="435991" y="31879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60" name="Google Shape;560;p16"/>
            <p:cNvSpPr/>
            <p:nvPr/>
          </p:nvSpPr>
          <p:spPr>
            <a:xfrm>
              <a:off x="435991" y="36683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61" name="Google Shape;561;p16"/>
            <p:cNvSpPr/>
            <p:nvPr/>
          </p:nvSpPr>
          <p:spPr>
            <a:xfrm>
              <a:off x="435991" y="41691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cxnSp>
        <p:nvCxnSpPr>
          <p:cNvPr id="562" name="Google Shape;562;p16"/>
          <p:cNvCxnSpPr/>
          <p:nvPr/>
        </p:nvCxnSpPr>
        <p:spPr>
          <a:xfrm>
            <a:off x="1125000" y="384833"/>
            <a:ext cx="0" cy="6118000"/>
          </a:xfrm>
          <a:prstGeom prst="straightConnector1">
            <a:avLst/>
          </a:prstGeom>
          <a:noFill/>
          <a:ln w="19050" cap="rnd" cmpd="sng">
            <a:solidFill>
              <a:schemeClr val="accent1"/>
            </a:solidFill>
            <a:prstDash val="dot"/>
            <a:round/>
            <a:headEnd type="none" w="med" len="med"/>
            <a:tailEnd type="none" w="med" len="med"/>
          </a:ln>
        </p:spPr>
      </p:cxnSp>
      <p:sp>
        <p:nvSpPr>
          <p:cNvPr id="563" name="Google Shape;563;p16"/>
          <p:cNvSpPr txBox="1">
            <a:spLocks noGrp="1"/>
          </p:cNvSpPr>
          <p:nvPr>
            <p:ph type="title"/>
          </p:nvPr>
        </p:nvSpPr>
        <p:spPr>
          <a:xfrm>
            <a:off x="1299467" y="716000"/>
            <a:ext cx="9942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200"/>
              <a:buNone/>
              <a:defRPr>
                <a:solidFill>
                  <a:schemeClr val="accent1"/>
                </a:solidFill>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564" name="Google Shape;564;p16"/>
          <p:cNvSpPr txBox="1">
            <a:spLocks noGrp="1"/>
          </p:cNvSpPr>
          <p:nvPr>
            <p:ph type="subTitle" idx="1"/>
          </p:nvPr>
        </p:nvSpPr>
        <p:spPr>
          <a:xfrm>
            <a:off x="1315200" y="1793999"/>
            <a:ext cx="4857600" cy="4264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accent6"/>
              </a:buClr>
              <a:buSzPts val="1400"/>
              <a:buChar char="●"/>
              <a:defRPr sz="1867"/>
            </a:lvl1pPr>
            <a:lvl2pPr lvl="1" rtl="0">
              <a:lnSpc>
                <a:spcPct val="100000"/>
              </a:lnSpc>
              <a:spcBef>
                <a:spcPts val="0"/>
              </a:spcBef>
              <a:spcAft>
                <a:spcPts val="0"/>
              </a:spcAft>
              <a:buSzPts val="1400"/>
              <a:buChar char="○"/>
              <a:defRPr/>
            </a:lvl2pPr>
            <a:lvl3pPr lvl="2" rtl="0">
              <a:lnSpc>
                <a:spcPct val="100000"/>
              </a:lnSpc>
              <a:spcBef>
                <a:spcPts val="0"/>
              </a:spcBef>
              <a:spcAft>
                <a:spcPts val="0"/>
              </a:spcAft>
              <a:buSzPts val="1400"/>
              <a:buChar char="■"/>
              <a:defRPr/>
            </a:lvl3pPr>
            <a:lvl4pPr lvl="3" rtl="0">
              <a:lnSpc>
                <a:spcPct val="100000"/>
              </a:lnSpc>
              <a:spcBef>
                <a:spcPts val="0"/>
              </a:spcBef>
              <a:spcAft>
                <a:spcPts val="0"/>
              </a:spcAft>
              <a:buSzPts val="1400"/>
              <a:buChar char="●"/>
              <a:defRPr/>
            </a:lvl4pPr>
            <a:lvl5pPr lvl="4" rtl="0">
              <a:lnSpc>
                <a:spcPct val="100000"/>
              </a:lnSpc>
              <a:spcBef>
                <a:spcPts val="0"/>
              </a:spcBef>
              <a:spcAft>
                <a:spcPts val="0"/>
              </a:spcAft>
              <a:buSzPts val="1400"/>
              <a:buChar char="○"/>
              <a:defRPr/>
            </a:lvl5pPr>
            <a:lvl6pPr lvl="5" rtl="0">
              <a:lnSpc>
                <a:spcPct val="100000"/>
              </a:lnSpc>
              <a:spcBef>
                <a:spcPts val="0"/>
              </a:spcBef>
              <a:spcAft>
                <a:spcPts val="0"/>
              </a:spcAft>
              <a:buSzPts val="1400"/>
              <a:buChar char="■"/>
              <a:defRPr/>
            </a:lvl6pPr>
            <a:lvl7pPr lvl="6" rtl="0">
              <a:lnSpc>
                <a:spcPct val="100000"/>
              </a:lnSpc>
              <a:spcBef>
                <a:spcPts val="0"/>
              </a:spcBef>
              <a:spcAft>
                <a:spcPts val="0"/>
              </a:spcAft>
              <a:buSzPts val="1400"/>
              <a:buChar char="●"/>
              <a:defRPr/>
            </a:lvl7pPr>
            <a:lvl8pPr lvl="7" rtl="0">
              <a:lnSpc>
                <a:spcPct val="100000"/>
              </a:lnSpc>
              <a:spcBef>
                <a:spcPts val="0"/>
              </a:spcBef>
              <a:spcAft>
                <a:spcPts val="0"/>
              </a:spcAft>
              <a:buSzPts val="1400"/>
              <a:buChar char="○"/>
              <a:defRPr/>
            </a:lvl8pPr>
            <a:lvl9pPr lvl="8" rtl="0">
              <a:lnSpc>
                <a:spcPct val="100000"/>
              </a:lnSpc>
              <a:spcBef>
                <a:spcPts val="0"/>
              </a:spcBef>
              <a:spcAft>
                <a:spcPts val="0"/>
              </a:spcAft>
              <a:buSzPts val="1400"/>
              <a:buChar char="■"/>
              <a:defRPr/>
            </a:lvl9pPr>
          </a:lstStyle>
          <a:p>
            <a:endParaRPr/>
          </a:p>
        </p:txBody>
      </p:sp>
      <p:sp>
        <p:nvSpPr>
          <p:cNvPr id="565" name="Google Shape;565;p16"/>
          <p:cNvSpPr txBox="1">
            <a:spLocks noGrp="1"/>
          </p:cNvSpPr>
          <p:nvPr>
            <p:ph type="subTitle" idx="2"/>
          </p:nvPr>
        </p:nvSpPr>
        <p:spPr>
          <a:xfrm>
            <a:off x="6372633" y="1793999"/>
            <a:ext cx="4857600" cy="4264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accent6"/>
              </a:buClr>
              <a:buSzPts val="1400"/>
              <a:buChar char="●"/>
              <a:defRPr sz="1867"/>
            </a:lvl1pPr>
            <a:lvl2pPr lvl="1" rtl="0">
              <a:lnSpc>
                <a:spcPct val="100000"/>
              </a:lnSpc>
              <a:spcBef>
                <a:spcPts val="0"/>
              </a:spcBef>
              <a:spcAft>
                <a:spcPts val="0"/>
              </a:spcAft>
              <a:buSzPts val="1400"/>
              <a:buChar char="○"/>
              <a:defRPr/>
            </a:lvl2pPr>
            <a:lvl3pPr lvl="2" rtl="0">
              <a:lnSpc>
                <a:spcPct val="100000"/>
              </a:lnSpc>
              <a:spcBef>
                <a:spcPts val="0"/>
              </a:spcBef>
              <a:spcAft>
                <a:spcPts val="0"/>
              </a:spcAft>
              <a:buSzPts val="1400"/>
              <a:buChar char="■"/>
              <a:defRPr/>
            </a:lvl3pPr>
            <a:lvl4pPr lvl="3" rtl="0">
              <a:lnSpc>
                <a:spcPct val="100000"/>
              </a:lnSpc>
              <a:spcBef>
                <a:spcPts val="0"/>
              </a:spcBef>
              <a:spcAft>
                <a:spcPts val="0"/>
              </a:spcAft>
              <a:buSzPts val="1400"/>
              <a:buChar char="●"/>
              <a:defRPr/>
            </a:lvl4pPr>
            <a:lvl5pPr lvl="4" rtl="0">
              <a:lnSpc>
                <a:spcPct val="100000"/>
              </a:lnSpc>
              <a:spcBef>
                <a:spcPts val="0"/>
              </a:spcBef>
              <a:spcAft>
                <a:spcPts val="0"/>
              </a:spcAft>
              <a:buSzPts val="1400"/>
              <a:buChar char="○"/>
              <a:defRPr/>
            </a:lvl5pPr>
            <a:lvl6pPr lvl="5" rtl="0">
              <a:lnSpc>
                <a:spcPct val="100000"/>
              </a:lnSpc>
              <a:spcBef>
                <a:spcPts val="0"/>
              </a:spcBef>
              <a:spcAft>
                <a:spcPts val="0"/>
              </a:spcAft>
              <a:buSzPts val="1400"/>
              <a:buChar char="■"/>
              <a:defRPr/>
            </a:lvl6pPr>
            <a:lvl7pPr lvl="6" rtl="0">
              <a:lnSpc>
                <a:spcPct val="100000"/>
              </a:lnSpc>
              <a:spcBef>
                <a:spcPts val="0"/>
              </a:spcBef>
              <a:spcAft>
                <a:spcPts val="0"/>
              </a:spcAft>
              <a:buSzPts val="1400"/>
              <a:buChar char="●"/>
              <a:defRPr/>
            </a:lvl7pPr>
            <a:lvl8pPr lvl="7" rtl="0">
              <a:lnSpc>
                <a:spcPct val="100000"/>
              </a:lnSpc>
              <a:spcBef>
                <a:spcPts val="0"/>
              </a:spcBef>
              <a:spcAft>
                <a:spcPts val="0"/>
              </a:spcAft>
              <a:buSzPts val="1400"/>
              <a:buChar char="○"/>
              <a:defRPr/>
            </a:lvl8pPr>
            <a:lvl9pPr lvl="8" rtl="0">
              <a:lnSpc>
                <a:spcPct val="100000"/>
              </a:lnSpc>
              <a:spcBef>
                <a:spcPts val="0"/>
              </a:spcBef>
              <a:spcAft>
                <a:spcPts val="0"/>
              </a:spcAft>
              <a:buSzPts val="1400"/>
              <a:buChar char="■"/>
              <a:defRPr/>
            </a:lvl9pPr>
          </a:lstStyle>
          <a:p>
            <a:endParaRPr/>
          </a:p>
        </p:txBody>
      </p:sp>
    </p:spTree>
    <p:extLst>
      <p:ext uri="{BB962C8B-B14F-4D97-AF65-F5344CB8AC3E}">
        <p14:creationId xmlns:p14="http://schemas.microsoft.com/office/powerpoint/2010/main" val="428750282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and text 1">
  <p:cSld name="Title and text 1">
    <p:bg>
      <p:bgPr>
        <a:solidFill>
          <a:schemeClr val="accent3"/>
        </a:solidFill>
        <a:effectLst/>
      </p:bgPr>
    </p:bg>
    <p:spTree>
      <p:nvGrpSpPr>
        <p:cNvPr id="1" name="Shape 896"/>
        <p:cNvGrpSpPr/>
        <p:nvPr/>
      </p:nvGrpSpPr>
      <p:grpSpPr>
        <a:xfrm>
          <a:off x="0" y="0"/>
          <a:ext cx="0" cy="0"/>
          <a:chOff x="0" y="0"/>
          <a:chExt cx="0" cy="0"/>
        </a:xfrm>
      </p:grpSpPr>
      <p:grpSp>
        <p:nvGrpSpPr>
          <p:cNvPr id="897" name="Google Shape;897;p25"/>
          <p:cNvGrpSpPr/>
          <p:nvPr/>
        </p:nvGrpSpPr>
        <p:grpSpPr>
          <a:xfrm>
            <a:off x="-1135833" y="365100"/>
            <a:ext cx="12962600" cy="6148800"/>
            <a:chOff x="-851875" y="273825"/>
            <a:chExt cx="9721950" cy="4611600"/>
          </a:xfrm>
        </p:grpSpPr>
        <p:sp>
          <p:nvSpPr>
            <p:cNvPr id="898" name="Google Shape;898;p25"/>
            <p:cNvSpPr/>
            <p:nvPr/>
          </p:nvSpPr>
          <p:spPr>
            <a:xfrm>
              <a:off x="341975" y="273825"/>
              <a:ext cx="8528100" cy="4611600"/>
            </a:xfrm>
            <a:prstGeom prst="roundRect">
              <a:avLst>
                <a:gd name="adj" fmla="val 4554"/>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99" name="Google Shape;899;p25"/>
            <p:cNvSpPr/>
            <p:nvPr/>
          </p:nvSpPr>
          <p:spPr>
            <a:xfrm>
              <a:off x="-851875" y="273825"/>
              <a:ext cx="1153200" cy="4611600"/>
            </a:xfrm>
            <a:prstGeom prst="roundRect">
              <a:avLst>
                <a:gd name="adj" fmla="val 22757"/>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900" name="Google Shape;900;p25"/>
            <p:cNvGrpSpPr/>
            <p:nvPr/>
          </p:nvGrpSpPr>
          <p:grpSpPr>
            <a:xfrm>
              <a:off x="81691" y="785819"/>
              <a:ext cx="155400" cy="3538775"/>
              <a:chOff x="435991" y="785819"/>
              <a:chExt cx="155400" cy="3538775"/>
            </a:xfrm>
          </p:grpSpPr>
          <p:sp>
            <p:nvSpPr>
              <p:cNvPr id="901" name="Google Shape;901;p25"/>
              <p:cNvSpPr/>
              <p:nvPr/>
            </p:nvSpPr>
            <p:spPr>
              <a:xfrm>
                <a:off x="435991" y="7858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02" name="Google Shape;902;p25"/>
              <p:cNvSpPr/>
              <p:nvPr/>
            </p:nvSpPr>
            <p:spPr>
              <a:xfrm>
                <a:off x="435991" y="12662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03" name="Google Shape;903;p25"/>
              <p:cNvSpPr/>
              <p:nvPr/>
            </p:nvSpPr>
            <p:spPr>
              <a:xfrm>
                <a:off x="435991" y="17466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04" name="Google Shape;904;p25"/>
              <p:cNvSpPr/>
              <p:nvPr/>
            </p:nvSpPr>
            <p:spPr>
              <a:xfrm>
                <a:off x="435991" y="22474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05" name="Google Shape;905;p25"/>
              <p:cNvSpPr/>
              <p:nvPr/>
            </p:nvSpPr>
            <p:spPr>
              <a:xfrm>
                <a:off x="435991" y="27075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06" name="Google Shape;906;p25"/>
              <p:cNvSpPr/>
              <p:nvPr/>
            </p:nvSpPr>
            <p:spPr>
              <a:xfrm>
                <a:off x="435991" y="31879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07" name="Google Shape;907;p25"/>
              <p:cNvSpPr/>
              <p:nvPr/>
            </p:nvSpPr>
            <p:spPr>
              <a:xfrm>
                <a:off x="435991" y="36683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08" name="Google Shape;908;p25"/>
              <p:cNvSpPr/>
              <p:nvPr/>
            </p:nvSpPr>
            <p:spPr>
              <a:xfrm>
                <a:off x="435991" y="41691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909" name="Google Shape;909;p25"/>
            <p:cNvGrpSpPr/>
            <p:nvPr/>
          </p:nvGrpSpPr>
          <p:grpSpPr>
            <a:xfrm>
              <a:off x="435991" y="785819"/>
              <a:ext cx="155400" cy="3538775"/>
              <a:chOff x="435991" y="785819"/>
              <a:chExt cx="155400" cy="3538775"/>
            </a:xfrm>
          </p:grpSpPr>
          <p:sp>
            <p:nvSpPr>
              <p:cNvPr id="910" name="Google Shape;910;p25"/>
              <p:cNvSpPr/>
              <p:nvPr/>
            </p:nvSpPr>
            <p:spPr>
              <a:xfrm>
                <a:off x="435991" y="7858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11" name="Google Shape;911;p25"/>
              <p:cNvSpPr/>
              <p:nvPr/>
            </p:nvSpPr>
            <p:spPr>
              <a:xfrm>
                <a:off x="435991" y="12662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12" name="Google Shape;912;p25"/>
              <p:cNvSpPr/>
              <p:nvPr/>
            </p:nvSpPr>
            <p:spPr>
              <a:xfrm>
                <a:off x="435991" y="17466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13" name="Google Shape;913;p25"/>
              <p:cNvSpPr/>
              <p:nvPr/>
            </p:nvSpPr>
            <p:spPr>
              <a:xfrm>
                <a:off x="435991" y="22474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14" name="Google Shape;914;p25"/>
              <p:cNvSpPr/>
              <p:nvPr/>
            </p:nvSpPr>
            <p:spPr>
              <a:xfrm>
                <a:off x="435991" y="27075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15" name="Google Shape;915;p25"/>
              <p:cNvSpPr/>
              <p:nvPr/>
            </p:nvSpPr>
            <p:spPr>
              <a:xfrm>
                <a:off x="435991" y="31879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16" name="Google Shape;916;p25"/>
              <p:cNvSpPr/>
              <p:nvPr/>
            </p:nvSpPr>
            <p:spPr>
              <a:xfrm>
                <a:off x="435991" y="36683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17" name="Google Shape;917;p25"/>
              <p:cNvSpPr/>
              <p:nvPr/>
            </p:nvSpPr>
            <p:spPr>
              <a:xfrm>
                <a:off x="435991" y="41691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918" name="Google Shape;918;p25"/>
            <p:cNvGrpSpPr/>
            <p:nvPr/>
          </p:nvGrpSpPr>
          <p:grpSpPr>
            <a:xfrm>
              <a:off x="161500" y="826619"/>
              <a:ext cx="352200" cy="3457175"/>
              <a:chOff x="161500" y="826619"/>
              <a:chExt cx="352200" cy="3457175"/>
            </a:xfrm>
          </p:grpSpPr>
          <p:sp>
            <p:nvSpPr>
              <p:cNvPr id="919" name="Google Shape;919;p25"/>
              <p:cNvSpPr/>
              <p:nvPr/>
            </p:nvSpPr>
            <p:spPr>
              <a:xfrm>
                <a:off x="161500" y="228829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20" name="Google Shape;920;p25"/>
              <p:cNvSpPr/>
              <p:nvPr/>
            </p:nvSpPr>
            <p:spPr>
              <a:xfrm>
                <a:off x="161500" y="274831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21" name="Google Shape;921;p25"/>
              <p:cNvSpPr/>
              <p:nvPr/>
            </p:nvSpPr>
            <p:spPr>
              <a:xfrm>
                <a:off x="161500" y="322874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22" name="Google Shape;922;p25"/>
              <p:cNvSpPr/>
              <p:nvPr/>
            </p:nvSpPr>
            <p:spPr>
              <a:xfrm>
                <a:off x="161500" y="370916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23" name="Google Shape;923;p25"/>
              <p:cNvSpPr/>
              <p:nvPr/>
            </p:nvSpPr>
            <p:spPr>
              <a:xfrm>
                <a:off x="161500" y="420999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24" name="Google Shape;924;p25"/>
              <p:cNvSpPr/>
              <p:nvPr/>
            </p:nvSpPr>
            <p:spPr>
              <a:xfrm>
                <a:off x="161500" y="178746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25" name="Google Shape;925;p25"/>
              <p:cNvSpPr/>
              <p:nvPr/>
            </p:nvSpPr>
            <p:spPr>
              <a:xfrm>
                <a:off x="161500" y="130704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26" name="Google Shape;926;p25"/>
              <p:cNvSpPr/>
              <p:nvPr/>
            </p:nvSpPr>
            <p:spPr>
              <a:xfrm>
                <a:off x="161500" y="82661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cxnSp>
          <p:nvCxnSpPr>
            <p:cNvPr id="927" name="Google Shape;927;p25"/>
            <p:cNvCxnSpPr/>
            <p:nvPr/>
          </p:nvCxnSpPr>
          <p:spPr>
            <a:xfrm>
              <a:off x="843750" y="288625"/>
              <a:ext cx="0" cy="4588500"/>
            </a:xfrm>
            <a:prstGeom prst="straightConnector1">
              <a:avLst/>
            </a:prstGeom>
            <a:noFill/>
            <a:ln w="19050" cap="rnd" cmpd="sng">
              <a:solidFill>
                <a:schemeClr val="accent1"/>
              </a:solidFill>
              <a:prstDash val="dot"/>
              <a:round/>
              <a:headEnd type="none" w="med" len="med"/>
              <a:tailEnd type="none" w="med" len="med"/>
            </a:ln>
          </p:spPr>
        </p:cxnSp>
      </p:grpSp>
      <p:sp>
        <p:nvSpPr>
          <p:cNvPr id="928" name="Google Shape;928;p25"/>
          <p:cNvSpPr txBox="1">
            <a:spLocks noGrp="1"/>
          </p:cNvSpPr>
          <p:nvPr>
            <p:ph type="title"/>
          </p:nvPr>
        </p:nvSpPr>
        <p:spPr>
          <a:xfrm>
            <a:off x="6937600" y="2742975"/>
            <a:ext cx="4304000" cy="719200"/>
          </a:xfrm>
          <a:prstGeom prst="rect">
            <a:avLst/>
          </a:prstGeom>
        </p:spPr>
        <p:txBody>
          <a:bodyPr spcFirstLastPara="1" wrap="square" lIns="91425" tIns="91425" rIns="91425" bIns="91425" anchor="ctr" anchorCtr="0">
            <a:noAutofit/>
          </a:bodyPr>
          <a:lstStyle>
            <a:lvl1pPr lvl="0" algn="r" rtl="0">
              <a:spcBef>
                <a:spcPts val="0"/>
              </a:spcBef>
              <a:spcAft>
                <a:spcPts val="0"/>
              </a:spcAft>
              <a:buSzPts val="3200"/>
              <a:buNone/>
              <a:defRPr>
                <a:solidFill>
                  <a:schemeClr val="accent1"/>
                </a:solidFill>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929" name="Google Shape;929;p25"/>
          <p:cNvSpPr txBox="1">
            <a:spLocks noGrp="1"/>
          </p:cNvSpPr>
          <p:nvPr>
            <p:ph type="subTitle" idx="1"/>
          </p:nvPr>
        </p:nvSpPr>
        <p:spPr>
          <a:xfrm>
            <a:off x="6937200" y="3565608"/>
            <a:ext cx="4304000" cy="1014400"/>
          </a:xfrm>
          <a:prstGeom prst="rect">
            <a:avLst/>
          </a:prstGeom>
        </p:spPr>
        <p:txBody>
          <a:bodyPr spcFirstLastPara="1" wrap="square" lIns="91425" tIns="91425" rIns="91425" bIns="91425" anchor="ctr" anchorCtr="0">
            <a:noAutofit/>
          </a:bodyPr>
          <a:lstStyle>
            <a:lvl1pPr lvl="0" algn="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1664950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44A63A4E-F370-4E43-88DF-FF35117A42C8}" type="datetimeFigureOut">
              <a:rPr lang="zh-CN" altLang="en-US" smtClean="0"/>
              <a:t>2024/3/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39E3902-3291-4BB3-9961-88462FB34554}" type="slidenum">
              <a:rPr lang="zh-CN" altLang="en-US" smtClean="0"/>
              <a:t>‹#›</a:t>
            </a:fld>
            <a:endParaRPr lang="zh-CN" altLang="en-US"/>
          </a:p>
        </p:txBody>
      </p:sp>
    </p:spTree>
    <p:extLst>
      <p:ext uri="{BB962C8B-B14F-4D97-AF65-F5344CB8AC3E}">
        <p14:creationId xmlns:p14="http://schemas.microsoft.com/office/powerpoint/2010/main" val="26959971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Background">
  <p:cSld name="Background">
    <p:bg>
      <p:bgPr>
        <a:solidFill>
          <a:schemeClr val="accent3"/>
        </a:solidFill>
        <a:effectLst/>
      </p:bgPr>
    </p:bg>
    <p:spTree>
      <p:nvGrpSpPr>
        <p:cNvPr id="1" name="Shape 1181"/>
        <p:cNvGrpSpPr/>
        <p:nvPr/>
      </p:nvGrpSpPr>
      <p:grpSpPr>
        <a:xfrm>
          <a:off x="0" y="0"/>
          <a:ext cx="0" cy="0"/>
          <a:chOff x="0" y="0"/>
          <a:chExt cx="0" cy="0"/>
        </a:xfrm>
      </p:grpSpPr>
      <p:grpSp>
        <p:nvGrpSpPr>
          <p:cNvPr id="1182" name="Google Shape;1182;p32"/>
          <p:cNvGrpSpPr/>
          <p:nvPr/>
        </p:nvGrpSpPr>
        <p:grpSpPr>
          <a:xfrm>
            <a:off x="-1135833" y="365100"/>
            <a:ext cx="12962600" cy="6148800"/>
            <a:chOff x="-851875" y="273825"/>
            <a:chExt cx="9721950" cy="4611600"/>
          </a:xfrm>
        </p:grpSpPr>
        <p:sp>
          <p:nvSpPr>
            <p:cNvPr id="1183" name="Google Shape;1183;p32"/>
            <p:cNvSpPr/>
            <p:nvPr/>
          </p:nvSpPr>
          <p:spPr>
            <a:xfrm>
              <a:off x="341975" y="273825"/>
              <a:ext cx="8528100" cy="4611600"/>
            </a:xfrm>
            <a:prstGeom prst="roundRect">
              <a:avLst>
                <a:gd name="adj" fmla="val 4554"/>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84" name="Google Shape;1184;p32"/>
            <p:cNvSpPr/>
            <p:nvPr/>
          </p:nvSpPr>
          <p:spPr>
            <a:xfrm>
              <a:off x="-851875" y="273825"/>
              <a:ext cx="1153200" cy="4611600"/>
            </a:xfrm>
            <a:prstGeom prst="roundRect">
              <a:avLst>
                <a:gd name="adj" fmla="val 22757"/>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1185" name="Google Shape;1185;p32"/>
            <p:cNvGrpSpPr/>
            <p:nvPr/>
          </p:nvGrpSpPr>
          <p:grpSpPr>
            <a:xfrm>
              <a:off x="81691" y="785819"/>
              <a:ext cx="155400" cy="3538775"/>
              <a:chOff x="435991" y="785819"/>
              <a:chExt cx="155400" cy="3538775"/>
            </a:xfrm>
          </p:grpSpPr>
          <p:sp>
            <p:nvSpPr>
              <p:cNvPr id="1186" name="Google Shape;1186;p32"/>
              <p:cNvSpPr/>
              <p:nvPr/>
            </p:nvSpPr>
            <p:spPr>
              <a:xfrm>
                <a:off x="435991" y="7858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87" name="Google Shape;1187;p32"/>
              <p:cNvSpPr/>
              <p:nvPr/>
            </p:nvSpPr>
            <p:spPr>
              <a:xfrm>
                <a:off x="435991" y="12662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88" name="Google Shape;1188;p32"/>
              <p:cNvSpPr/>
              <p:nvPr/>
            </p:nvSpPr>
            <p:spPr>
              <a:xfrm>
                <a:off x="435991" y="17466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89" name="Google Shape;1189;p32"/>
              <p:cNvSpPr/>
              <p:nvPr/>
            </p:nvSpPr>
            <p:spPr>
              <a:xfrm>
                <a:off x="435991" y="22474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90" name="Google Shape;1190;p32"/>
              <p:cNvSpPr/>
              <p:nvPr/>
            </p:nvSpPr>
            <p:spPr>
              <a:xfrm>
                <a:off x="435991" y="27075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91" name="Google Shape;1191;p32"/>
              <p:cNvSpPr/>
              <p:nvPr/>
            </p:nvSpPr>
            <p:spPr>
              <a:xfrm>
                <a:off x="435991" y="31879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92" name="Google Shape;1192;p32"/>
              <p:cNvSpPr/>
              <p:nvPr/>
            </p:nvSpPr>
            <p:spPr>
              <a:xfrm>
                <a:off x="435991" y="36683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93" name="Google Shape;1193;p32"/>
              <p:cNvSpPr/>
              <p:nvPr/>
            </p:nvSpPr>
            <p:spPr>
              <a:xfrm>
                <a:off x="435991" y="41691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194" name="Google Shape;1194;p32"/>
            <p:cNvGrpSpPr/>
            <p:nvPr/>
          </p:nvGrpSpPr>
          <p:grpSpPr>
            <a:xfrm>
              <a:off x="435991" y="785819"/>
              <a:ext cx="155400" cy="3538775"/>
              <a:chOff x="435991" y="785819"/>
              <a:chExt cx="155400" cy="3538775"/>
            </a:xfrm>
          </p:grpSpPr>
          <p:sp>
            <p:nvSpPr>
              <p:cNvPr id="1195" name="Google Shape;1195;p32"/>
              <p:cNvSpPr/>
              <p:nvPr/>
            </p:nvSpPr>
            <p:spPr>
              <a:xfrm>
                <a:off x="435991" y="7858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96" name="Google Shape;1196;p32"/>
              <p:cNvSpPr/>
              <p:nvPr/>
            </p:nvSpPr>
            <p:spPr>
              <a:xfrm>
                <a:off x="435991" y="12662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97" name="Google Shape;1197;p32"/>
              <p:cNvSpPr/>
              <p:nvPr/>
            </p:nvSpPr>
            <p:spPr>
              <a:xfrm>
                <a:off x="435991" y="17466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98" name="Google Shape;1198;p32"/>
              <p:cNvSpPr/>
              <p:nvPr/>
            </p:nvSpPr>
            <p:spPr>
              <a:xfrm>
                <a:off x="435991" y="22474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99" name="Google Shape;1199;p32"/>
              <p:cNvSpPr/>
              <p:nvPr/>
            </p:nvSpPr>
            <p:spPr>
              <a:xfrm>
                <a:off x="435991" y="27075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0" name="Google Shape;1200;p32"/>
              <p:cNvSpPr/>
              <p:nvPr/>
            </p:nvSpPr>
            <p:spPr>
              <a:xfrm>
                <a:off x="435991" y="31879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1" name="Google Shape;1201;p32"/>
              <p:cNvSpPr/>
              <p:nvPr/>
            </p:nvSpPr>
            <p:spPr>
              <a:xfrm>
                <a:off x="435991" y="36683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2" name="Google Shape;1202;p32"/>
              <p:cNvSpPr/>
              <p:nvPr/>
            </p:nvSpPr>
            <p:spPr>
              <a:xfrm>
                <a:off x="435991" y="41691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203" name="Google Shape;1203;p32"/>
            <p:cNvGrpSpPr/>
            <p:nvPr/>
          </p:nvGrpSpPr>
          <p:grpSpPr>
            <a:xfrm>
              <a:off x="161500" y="826619"/>
              <a:ext cx="352200" cy="3457175"/>
              <a:chOff x="161500" y="826619"/>
              <a:chExt cx="352200" cy="3457175"/>
            </a:xfrm>
          </p:grpSpPr>
          <p:sp>
            <p:nvSpPr>
              <p:cNvPr id="1204" name="Google Shape;1204;p32"/>
              <p:cNvSpPr/>
              <p:nvPr/>
            </p:nvSpPr>
            <p:spPr>
              <a:xfrm>
                <a:off x="161500" y="228829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5" name="Google Shape;1205;p32"/>
              <p:cNvSpPr/>
              <p:nvPr/>
            </p:nvSpPr>
            <p:spPr>
              <a:xfrm>
                <a:off x="161500" y="274831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6" name="Google Shape;1206;p32"/>
              <p:cNvSpPr/>
              <p:nvPr/>
            </p:nvSpPr>
            <p:spPr>
              <a:xfrm>
                <a:off x="161500" y="322874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7" name="Google Shape;1207;p32"/>
              <p:cNvSpPr/>
              <p:nvPr/>
            </p:nvSpPr>
            <p:spPr>
              <a:xfrm>
                <a:off x="161500" y="370916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8" name="Google Shape;1208;p32"/>
              <p:cNvSpPr/>
              <p:nvPr/>
            </p:nvSpPr>
            <p:spPr>
              <a:xfrm>
                <a:off x="161500" y="420999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9" name="Google Shape;1209;p32"/>
              <p:cNvSpPr/>
              <p:nvPr/>
            </p:nvSpPr>
            <p:spPr>
              <a:xfrm>
                <a:off x="161500" y="178746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10" name="Google Shape;1210;p32"/>
              <p:cNvSpPr/>
              <p:nvPr/>
            </p:nvSpPr>
            <p:spPr>
              <a:xfrm>
                <a:off x="161500" y="130704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11" name="Google Shape;1211;p32"/>
              <p:cNvSpPr/>
              <p:nvPr/>
            </p:nvSpPr>
            <p:spPr>
              <a:xfrm>
                <a:off x="161500" y="82661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cxnSp>
          <p:nvCxnSpPr>
            <p:cNvPr id="1212" name="Google Shape;1212;p32"/>
            <p:cNvCxnSpPr/>
            <p:nvPr/>
          </p:nvCxnSpPr>
          <p:spPr>
            <a:xfrm>
              <a:off x="843750" y="288625"/>
              <a:ext cx="0" cy="4588500"/>
            </a:xfrm>
            <a:prstGeom prst="straightConnector1">
              <a:avLst/>
            </a:prstGeom>
            <a:noFill/>
            <a:ln w="19050" cap="rnd" cmpd="sng">
              <a:solidFill>
                <a:schemeClr val="accent1"/>
              </a:solidFill>
              <a:prstDash val="dot"/>
              <a:round/>
              <a:headEnd type="none" w="med" len="med"/>
              <a:tailEnd type="none" w="med" len="med"/>
            </a:ln>
          </p:spPr>
        </p:cxnSp>
      </p:grpSp>
      <p:grpSp>
        <p:nvGrpSpPr>
          <p:cNvPr id="1213" name="Google Shape;1213;p32"/>
          <p:cNvGrpSpPr/>
          <p:nvPr/>
        </p:nvGrpSpPr>
        <p:grpSpPr>
          <a:xfrm>
            <a:off x="1519033" y="954828"/>
            <a:ext cx="9517200" cy="4966433"/>
            <a:chOff x="1139275" y="754825"/>
            <a:chExt cx="7137900" cy="3724825"/>
          </a:xfrm>
        </p:grpSpPr>
        <p:sp>
          <p:nvSpPr>
            <p:cNvPr id="1214" name="Google Shape;1214;p32"/>
            <p:cNvSpPr/>
            <p:nvPr/>
          </p:nvSpPr>
          <p:spPr>
            <a:xfrm rot="10800000">
              <a:off x="1139275" y="754825"/>
              <a:ext cx="7137900" cy="36801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15" name="Google Shape;1215;p32"/>
            <p:cNvSpPr/>
            <p:nvPr/>
          </p:nvSpPr>
          <p:spPr>
            <a:xfrm>
              <a:off x="2775372" y="4324250"/>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16" name="Google Shape;1216;p32"/>
            <p:cNvSpPr/>
            <p:nvPr/>
          </p:nvSpPr>
          <p:spPr>
            <a:xfrm>
              <a:off x="3187197" y="4324250"/>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17" name="Google Shape;1217;p32"/>
            <p:cNvSpPr/>
            <p:nvPr/>
          </p:nvSpPr>
          <p:spPr>
            <a:xfrm>
              <a:off x="3599022" y="4324250"/>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18" name="Google Shape;1218;p32"/>
            <p:cNvSpPr/>
            <p:nvPr/>
          </p:nvSpPr>
          <p:spPr>
            <a:xfrm>
              <a:off x="4010847" y="4324250"/>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19" name="Google Shape;1219;p32"/>
            <p:cNvSpPr/>
            <p:nvPr/>
          </p:nvSpPr>
          <p:spPr>
            <a:xfrm>
              <a:off x="4422672" y="4324250"/>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20" name="Google Shape;1220;p32"/>
            <p:cNvSpPr/>
            <p:nvPr/>
          </p:nvSpPr>
          <p:spPr>
            <a:xfrm>
              <a:off x="4834497" y="4324250"/>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21" name="Google Shape;1221;p32"/>
            <p:cNvSpPr/>
            <p:nvPr/>
          </p:nvSpPr>
          <p:spPr>
            <a:xfrm>
              <a:off x="5246322" y="4324250"/>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22" name="Google Shape;1222;p32"/>
            <p:cNvSpPr/>
            <p:nvPr/>
          </p:nvSpPr>
          <p:spPr>
            <a:xfrm>
              <a:off x="5658147" y="4324250"/>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23" name="Google Shape;1223;p32"/>
            <p:cNvSpPr/>
            <p:nvPr/>
          </p:nvSpPr>
          <p:spPr>
            <a:xfrm>
              <a:off x="6069972" y="4324250"/>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24" name="Google Shape;1224;p32"/>
            <p:cNvSpPr/>
            <p:nvPr/>
          </p:nvSpPr>
          <p:spPr>
            <a:xfrm>
              <a:off x="6481797" y="4324250"/>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25" name="Google Shape;1225;p32"/>
            <p:cNvSpPr/>
            <p:nvPr/>
          </p:nvSpPr>
          <p:spPr>
            <a:xfrm>
              <a:off x="6893622" y="4324250"/>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26" name="Google Shape;1226;p32"/>
            <p:cNvSpPr/>
            <p:nvPr/>
          </p:nvSpPr>
          <p:spPr>
            <a:xfrm>
              <a:off x="2363547" y="4324250"/>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27" name="Google Shape;1227;p32"/>
            <p:cNvSpPr/>
            <p:nvPr/>
          </p:nvSpPr>
          <p:spPr>
            <a:xfrm>
              <a:off x="7305447" y="4324250"/>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28" name="Google Shape;1228;p32"/>
            <p:cNvSpPr/>
            <p:nvPr/>
          </p:nvSpPr>
          <p:spPr>
            <a:xfrm>
              <a:off x="1951722" y="4324250"/>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29" name="Google Shape;1229;p32"/>
            <p:cNvSpPr/>
            <p:nvPr/>
          </p:nvSpPr>
          <p:spPr>
            <a:xfrm>
              <a:off x="7717272" y="4324250"/>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30" name="Google Shape;1230;p32"/>
            <p:cNvSpPr/>
            <p:nvPr/>
          </p:nvSpPr>
          <p:spPr>
            <a:xfrm>
              <a:off x="1539897" y="4324250"/>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231" name="Google Shape;1231;p32"/>
          <p:cNvGrpSpPr/>
          <p:nvPr/>
        </p:nvGrpSpPr>
        <p:grpSpPr>
          <a:xfrm>
            <a:off x="10870564" y="612405"/>
            <a:ext cx="207200" cy="207200"/>
            <a:chOff x="1666623" y="2623621"/>
            <a:chExt cx="155400" cy="155400"/>
          </a:xfrm>
        </p:grpSpPr>
        <p:sp>
          <p:nvSpPr>
            <p:cNvPr id="1232" name="Google Shape;1232;p32"/>
            <p:cNvSpPr/>
            <p:nvPr/>
          </p:nvSpPr>
          <p:spPr>
            <a:xfrm>
              <a:off x="1666623" y="2623621"/>
              <a:ext cx="155400" cy="155400"/>
            </a:xfrm>
            <a:prstGeom prst="star4">
              <a:avLst>
                <a:gd name="adj" fmla="val 21474"/>
              </a:avLst>
            </a:prstGeom>
            <a:noFill/>
            <a:ln w="76200" cap="flat" cmpd="sng">
              <a:solidFill>
                <a:schemeClr val="lt1"/>
              </a:solidFill>
              <a:prstDash val="solid"/>
              <a:round/>
              <a:headEnd type="none" w="sm" len="sm"/>
              <a:tailEnd type="none" w="sm" len="sm"/>
            </a:ln>
            <a:effectLst>
              <a:outerShdw dist="57150" dir="960000" algn="bl" rotWithShape="0">
                <a:schemeClr val="dk1">
                  <a:alpha val="26000"/>
                </a:scheme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2400"/>
            </a:p>
          </p:txBody>
        </p:sp>
        <p:sp>
          <p:nvSpPr>
            <p:cNvPr id="1233" name="Google Shape;1233;p32"/>
            <p:cNvSpPr/>
            <p:nvPr/>
          </p:nvSpPr>
          <p:spPr>
            <a:xfrm>
              <a:off x="1666623" y="2623621"/>
              <a:ext cx="155400" cy="155400"/>
            </a:xfrm>
            <a:prstGeom prst="star4">
              <a:avLst>
                <a:gd name="adj" fmla="val 23855"/>
              </a:avLst>
            </a:prstGeom>
            <a:solidFill>
              <a:schemeClr val="lt2"/>
            </a:solidFill>
            <a:ln w="19050"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2400"/>
            </a:p>
          </p:txBody>
        </p:sp>
      </p:grpSp>
      <p:grpSp>
        <p:nvGrpSpPr>
          <p:cNvPr id="1234" name="Google Shape;1234;p32"/>
          <p:cNvGrpSpPr/>
          <p:nvPr/>
        </p:nvGrpSpPr>
        <p:grpSpPr>
          <a:xfrm rot="433939">
            <a:off x="1144210" y="5676092"/>
            <a:ext cx="600847" cy="658825"/>
            <a:chOff x="1584644" y="2497374"/>
            <a:chExt cx="450609" cy="494091"/>
          </a:xfrm>
        </p:grpSpPr>
        <p:sp>
          <p:nvSpPr>
            <p:cNvPr id="1235" name="Google Shape;1235;p32"/>
            <p:cNvSpPr/>
            <p:nvPr/>
          </p:nvSpPr>
          <p:spPr>
            <a:xfrm rot="-2029707">
              <a:off x="1679395" y="2534520"/>
              <a:ext cx="261108" cy="419799"/>
            </a:xfrm>
            <a:custGeom>
              <a:avLst/>
              <a:gdLst/>
              <a:ahLst/>
              <a:cxnLst/>
              <a:rect l="l" t="t" r="r" b="b"/>
              <a:pathLst>
                <a:path w="5025" h="8079" extrusionOk="0">
                  <a:moveTo>
                    <a:pt x="1735" y="1110"/>
                  </a:moveTo>
                  <a:cubicBezTo>
                    <a:pt x="1957" y="1110"/>
                    <a:pt x="2179" y="1166"/>
                    <a:pt x="2360" y="1319"/>
                  </a:cubicBezTo>
                  <a:cubicBezTo>
                    <a:pt x="2789" y="1666"/>
                    <a:pt x="2859" y="2208"/>
                    <a:pt x="2540" y="2679"/>
                  </a:cubicBezTo>
                  <a:cubicBezTo>
                    <a:pt x="2401" y="2859"/>
                    <a:pt x="2276" y="3054"/>
                    <a:pt x="2206" y="3276"/>
                  </a:cubicBezTo>
                  <a:cubicBezTo>
                    <a:pt x="2110" y="3526"/>
                    <a:pt x="2151" y="3623"/>
                    <a:pt x="2401" y="3748"/>
                  </a:cubicBezTo>
                  <a:cubicBezTo>
                    <a:pt x="2512" y="3818"/>
                    <a:pt x="2637" y="3859"/>
                    <a:pt x="2762" y="3914"/>
                  </a:cubicBezTo>
                  <a:cubicBezTo>
                    <a:pt x="2970" y="4012"/>
                    <a:pt x="3150" y="4151"/>
                    <a:pt x="3261" y="4358"/>
                  </a:cubicBezTo>
                  <a:cubicBezTo>
                    <a:pt x="3428" y="4664"/>
                    <a:pt x="3415" y="4983"/>
                    <a:pt x="3193" y="5261"/>
                  </a:cubicBezTo>
                  <a:cubicBezTo>
                    <a:pt x="3054" y="5455"/>
                    <a:pt x="2928" y="5663"/>
                    <a:pt x="2832" y="5885"/>
                  </a:cubicBezTo>
                  <a:cubicBezTo>
                    <a:pt x="2721" y="6149"/>
                    <a:pt x="2762" y="6246"/>
                    <a:pt x="3039" y="6344"/>
                  </a:cubicBezTo>
                  <a:cubicBezTo>
                    <a:pt x="3206" y="6399"/>
                    <a:pt x="3387" y="6440"/>
                    <a:pt x="3581" y="6482"/>
                  </a:cubicBezTo>
                  <a:cubicBezTo>
                    <a:pt x="3692" y="6510"/>
                    <a:pt x="3775" y="6566"/>
                    <a:pt x="3831" y="6662"/>
                  </a:cubicBezTo>
                  <a:cubicBezTo>
                    <a:pt x="3900" y="6760"/>
                    <a:pt x="3859" y="6884"/>
                    <a:pt x="3748" y="6927"/>
                  </a:cubicBezTo>
                  <a:cubicBezTo>
                    <a:pt x="3678" y="6954"/>
                    <a:pt x="3609" y="6968"/>
                    <a:pt x="3539" y="6968"/>
                  </a:cubicBezTo>
                  <a:lnTo>
                    <a:pt x="3470" y="6968"/>
                  </a:lnTo>
                  <a:cubicBezTo>
                    <a:pt x="3220" y="6912"/>
                    <a:pt x="2943" y="6871"/>
                    <a:pt x="2706" y="6746"/>
                  </a:cubicBezTo>
                  <a:cubicBezTo>
                    <a:pt x="2304" y="6551"/>
                    <a:pt x="2179" y="6205"/>
                    <a:pt x="2318" y="5774"/>
                  </a:cubicBezTo>
                  <a:cubicBezTo>
                    <a:pt x="2401" y="5552"/>
                    <a:pt x="2526" y="5344"/>
                    <a:pt x="2651" y="5150"/>
                  </a:cubicBezTo>
                  <a:cubicBezTo>
                    <a:pt x="2678" y="5108"/>
                    <a:pt x="2706" y="5080"/>
                    <a:pt x="2734" y="5052"/>
                  </a:cubicBezTo>
                  <a:cubicBezTo>
                    <a:pt x="2970" y="4719"/>
                    <a:pt x="2915" y="4553"/>
                    <a:pt x="2540" y="4373"/>
                  </a:cubicBezTo>
                  <a:cubicBezTo>
                    <a:pt x="2484" y="4345"/>
                    <a:pt x="2415" y="4317"/>
                    <a:pt x="2401" y="4303"/>
                  </a:cubicBezTo>
                  <a:cubicBezTo>
                    <a:pt x="2262" y="4247"/>
                    <a:pt x="2151" y="4206"/>
                    <a:pt x="2068" y="4151"/>
                  </a:cubicBezTo>
                  <a:cubicBezTo>
                    <a:pt x="1749" y="3984"/>
                    <a:pt x="1624" y="3707"/>
                    <a:pt x="1666" y="3346"/>
                  </a:cubicBezTo>
                  <a:cubicBezTo>
                    <a:pt x="1707" y="3068"/>
                    <a:pt x="1846" y="2818"/>
                    <a:pt x="1999" y="2582"/>
                  </a:cubicBezTo>
                  <a:cubicBezTo>
                    <a:pt x="2068" y="2485"/>
                    <a:pt x="2138" y="2387"/>
                    <a:pt x="2193" y="2276"/>
                  </a:cubicBezTo>
                  <a:cubicBezTo>
                    <a:pt x="2345" y="1971"/>
                    <a:pt x="2206" y="1693"/>
                    <a:pt x="1888" y="1582"/>
                  </a:cubicBezTo>
                  <a:cubicBezTo>
                    <a:pt x="1735" y="1541"/>
                    <a:pt x="1568" y="1541"/>
                    <a:pt x="1416" y="1541"/>
                  </a:cubicBezTo>
                  <a:cubicBezTo>
                    <a:pt x="1207" y="1541"/>
                    <a:pt x="1179" y="1486"/>
                    <a:pt x="1166" y="1388"/>
                  </a:cubicBezTo>
                  <a:cubicBezTo>
                    <a:pt x="1138" y="1277"/>
                    <a:pt x="1222" y="1180"/>
                    <a:pt x="1374" y="1153"/>
                  </a:cubicBezTo>
                  <a:cubicBezTo>
                    <a:pt x="1499" y="1125"/>
                    <a:pt x="1624" y="1110"/>
                    <a:pt x="1735" y="1110"/>
                  </a:cubicBezTo>
                  <a:close/>
                  <a:moveTo>
                    <a:pt x="1735" y="0"/>
                  </a:moveTo>
                  <a:cubicBezTo>
                    <a:pt x="1555" y="0"/>
                    <a:pt x="1360" y="15"/>
                    <a:pt x="1152" y="56"/>
                  </a:cubicBezTo>
                  <a:cubicBezTo>
                    <a:pt x="763" y="139"/>
                    <a:pt x="444" y="361"/>
                    <a:pt x="250" y="666"/>
                  </a:cubicBezTo>
                  <a:cubicBezTo>
                    <a:pt x="56" y="958"/>
                    <a:pt x="0" y="1319"/>
                    <a:pt x="83" y="1652"/>
                  </a:cubicBezTo>
                  <a:cubicBezTo>
                    <a:pt x="167" y="1985"/>
                    <a:pt x="333" y="2235"/>
                    <a:pt x="583" y="2415"/>
                  </a:cubicBezTo>
                  <a:cubicBezTo>
                    <a:pt x="639" y="2457"/>
                    <a:pt x="707" y="2485"/>
                    <a:pt x="763" y="2513"/>
                  </a:cubicBezTo>
                  <a:cubicBezTo>
                    <a:pt x="680" y="2721"/>
                    <a:pt x="596" y="2943"/>
                    <a:pt x="569" y="3207"/>
                  </a:cubicBezTo>
                  <a:cubicBezTo>
                    <a:pt x="458" y="3970"/>
                    <a:pt x="777" y="4664"/>
                    <a:pt x="1416" y="5067"/>
                  </a:cubicBezTo>
                  <a:cubicBezTo>
                    <a:pt x="1374" y="5178"/>
                    <a:pt x="1318" y="5289"/>
                    <a:pt x="1277" y="5413"/>
                  </a:cubicBezTo>
                  <a:cubicBezTo>
                    <a:pt x="944" y="6371"/>
                    <a:pt x="1305" y="7287"/>
                    <a:pt x="2206" y="7745"/>
                  </a:cubicBezTo>
                  <a:cubicBezTo>
                    <a:pt x="2567" y="7926"/>
                    <a:pt x="2928" y="7995"/>
                    <a:pt x="3220" y="8050"/>
                  </a:cubicBezTo>
                  <a:lnTo>
                    <a:pt x="3276" y="8050"/>
                  </a:lnTo>
                  <a:cubicBezTo>
                    <a:pt x="3359" y="8078"/>
                    <a:pt x="3456" y="8078"/>
                    <a:pt x="3539" y="8078"/>
                  </a:cubicBezTo>
                  <a:cubicBezTo>
                    <a:pt x="3748" y="8078"/>
                    <a:pt x="3955" y="8037"/>
                    <a:pt x="4164" y="7954"/>
                  </a:cubicBezTo>
                  <a:cubicBezTo>
                    <a:pt x="4525" y="7815"/>
                    <a:pt x="4803" y="7523"/>
                    <a:pt x="4914" y="7162"/>
                  </a:cubicBezTo>
                  <a:cubicBezTo>
                    <a:pt x="5025" y="6788"/>
                    <a:pt x="4969" y="6385"/>
                    <a:pt x="4760" y="6066"/>
                  </a:cubicBezTo>
                  <a:cubicBezTo>
                    <a:pt x="4636" y="5872"/>
                    <a:pt x="4483" y="5705"/>
                    <a:pt x="4288" y="5594"/>
                  </a:cubicBezTo>
                  <a:cubicBezTo>
                    <a:pt x="4399" y="5372"/>
                    <a:pt x="4455" y="5136"/>
                    <a:pt x="4483" y="4900"/>
                  </a:cubicBezTo>
                  <a:cubicBezTo>
                    <a:pt x="4511" y="4539"/>
                    <a:pt x="4427" y="4178"/>
                    <a:pt x="4247" y="3831"/>
                  </a:cubicBezTo>
                  <a:cubicBezTo>
                    <a:pt x="4081" y="3540"/>
                    <a:pt x="3859" y="3303"/>
                    <a:pt x="3581" y="3109"/>
                  </a:cubicBezTo>
                  <a:cubicBezTo>
                    <a:pt x="4081" y="2193"/>
                    <a:pt x="3886" y="1110"/>
                    <a:pt x="3054" y="444"/>
                  </a:cubicBezTo>
                  <a:cubicBezTo>
                    <a:pt x="2693" y="153"/>
                    <a:pt x="2249" y="0"/>
                    <a:pt x="1735" y="0"/>
                  </a:cubicBezTo>
                  <a:close/>
                </a:path>
              </a:pathLst>
            </a:custGeom>
            <a:solidFill>
              <a:schemeClr val="lt1"/>
            </a:solidFill>
            <a:ln>
              <a:noFill/>
            </a:ln>
            <a:effectLst>
              <a:outerShdw dist="57150" dir="1140000" algn="bl" rotWithShape="0">
                <a:schemeClr val="dk1">
                  <a:alpha val="26000"/>
                </a:scheme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36" name="Google Shape;1236;p32"/>
            <p:cNvSpPr/>
            <p:nvPr/>
          </p:nvSpPr>
          <p:spPr>
            <a:xfrm rot="-2029707">
              <a:off x="1738538" y="2592090"/>
              <a:ext cx="143518" cy="304496"/>
            </a:xfrm>
            <a:custGeom>
              <a:avLst/>
              <a:gdLst/>
              <a:ahLst/>
              <a:cxnLst/>
              <a:rect l="l" t="t" r="r" b="b"/>
              <a:pathLst>
                <a:path w="2762" h="5860" extrusionOk="0">
                  <a:moveTo>
                    <a:pt x="600" y="0"/>
                  </a:moveTo>
                  <a:cubicBezTo>
                    <a:pt x="480" y="0"/>
                    <a:pt x="358" y="16"/>
                    <a:pt x="236" y="41"/>
                  </a:cubicBezTo>
                  <a:cubicBezTo>
                    <a:pt x="84" y="68"/>
                    <a:pt x="0" y="165"/>
                    <a:pt x="28" y="276"/>
                  </a:cubicBezTo>
                  <a:cubicBezTo>
                    <a:pt x="41" y="374"/>
                    <a:pt x="69" y="429"/>
                    <a:pt x="278" y="429"/>
                  </a:cubicBezTo>
                  <a:cubicBezTo>
                    <a:pt x="430" y="429"/>
                    <a:pt x="597" y="429"/>
                    <a:pt x="750" y="470"/>
                  </a:cubicBezTo>
                  <a:cubicBezTo>
                    <a:pt x="1068" y="581"/>
                    <a:pt x="1207" y="859"/>
                    <a:pt x="1055" y="1164"/>
                  </a:cubicBezTo>
                  <a:cubicBezTo>
                    <a:pt x="1000" y="1275"/>
                    <a:pt x="930" y="1373"/>
                    <a:pt x="861" y="1470"/>
                  </a:cubicBezTo>
                  <a:cubicBezTo>
                    <a:pt x="708" y="1706"/>
                    <a:pt x="569" y="1956"/>
                    <a:pt x="528" y="2234"/>
                  </a:cubicBezTo>
                  <a:cubicBezTo>
                    <a:pt x="486" y="2595"/>
                    <a:pt x="611" y="2872"/>
                    <a:pt x="930" y="3039"/>
                  </a:cubicBezTo>
                  <a:cubicBezTo>
                    <a:pt x="1013" y="3094"/>
                    <a:pt x="1124" y="3135"/>
                    <a:pt x="1263" y="3191"/>
                  </a:cubicBezTo>
                  <a:cubicBezTo>
                    <a:pt x="1277" y="3205"/>
                    <a:pt x="1346" y="3233"/>
                    <a:pt x="1402" y="3261"/>
                  </a:cubicBezTo>
                  <a:cubicBezTo>
                    <a:pt x="1777" y="3441"/>
                    <a:pt x="1832" y="3607"/>
                    <a:pt x="1596" y="3940"/>
                  </a:cubicBezTo>
                  <a:cubicBezTo>
                    <a:pt x="1568" y="3968"/>
                    <a:pt x="1540" y="3996"/>
                    <a:pt x="1513" y="4038"/>
                  </a:cubicBezTo>
                  <a:cubicBezTo>
                    <a:pt x="1388" y="4232"/>
                    <a:pt x="1263" y="4440"/>
                    <a:pt x="1180" y="4662"/>
                  </a:cubicBezTo>
                  <a:cubicBezTo>
                    <a:pt x="1041" y="5093"/>
                    <a:pt x="1166" y="5439"/>
                    <a:pt x="1568" y="5634"/>
                  </a:cubicBezTo>
                  <a:cubicBezTo>
                    <a:pt x="1805" y="5759"/>
                    <a:pt x="2082" y="5800"/>
                    <a:pt x="2332" y="5856"/>
                  </a:cubicBezTo>
                  <a:cubicBezTo>
                    <a:pt x="2350" y="5858"/>
                    <a:pt x="2369" y="5860"/>
                    <a:pt x="2387" y="5860"/>
                  </a:cubicBezTo>
                  <a:cubicBezTo>
                    <a:pt x="2465" y="5860"/>
                    <a:pt x="2542" y="5837"/>
                    <a:pt x="2610" y="5815"/>
                  </a:cubicBezTo>
                  <a:cubicBezTo>
                    <a:pt x="2721" y="5772"/>
                    <a:pt x="2762" y="5648"/>
                    <a:pt x="2693" y="5550"/>
                  </a:cubicBezTo>
                  <a:cubicBezTo>
                    <a:pt x="2637" y="5454"/>
                    <a:pt x="2554" y="5398"/>
                    <a:pt x="2443" y="5370"/>
                  </a:cubicBezTo>
                  <a:cubicBezTo>
                    <a:pt x="2249" y="5328"/>
                    <a:pt x="2068" y="5287"/>
                    <a:pt x="1901" y="5232"/>
                  </a:cubicBezTo>
                  <a:cubicBezTo>
                    <a:pt x="1624" y="5134"/>
                    <a:pt x="1583" y="5037"/>
                    <a:pt x="1694" y="4773"/>
                  </a:cubicBezTo>
                  <a:cubicBezTo>
                    <a:pt x="1790" y="4551"/>
                    <a:pt x="1916" y="4343"/>
                    <a:pt x="2055" y="4149"/>
                  </a:cubicBezTo>
                  <a:cubicBezTo>
                    <a:pt x="2277" y="3871"/>
                    <a:pt x="2290" y="3552"/>
                    <a:pt x="2123" y="3246"/>
                  </a:cubicBezTo>
                  <a:cubicBezTo>
                    <a:pt x="2012" y="3039"/>
                    <a:pt x="1832" y="2900"/>
                    <a:pt x="1624" y="2802"/>
                  </a:cubicBezTo>
                  <a:cubicBezTo>
                    <a:pt x="1499" y="2747"/>
                    <a:pt x="1374" y="2706"/>
                    <a:pt x="1263" y="2636"/>
                  </a:cubicBezTo>
                  <a:cubicBezTo>
                    <a:pt x="1013" y="2511"/>
                    <a:pt x="972" y="2414"/>
                    <a:pt x="1068" y="2164"/>
                  </a:cubicBezTo>
                  <a:cubicBezTo>
                    <a:pt x="1138" y="1942"/>
                    <a:pt x="1263" y="1747"/>
                    <a:pt x="1402" y="1567"/>
                  </a:cubicBezTo>
                  <a:cubicBezTo>
                    <a:pt x="1721" y="1096"/>
                    <a:pt x="1651" y="554"/>
                    <a:pt x="1222" y="207"/>
                  </a:cubicBezTo>
                  <a:cubicBezTo>
                    <a:pt x="1033" y="54"/>
                    <a:pt x="821" y="0"/>
                    <a:pt x="60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237" name="Google Shape;1237;p32"/>
          <p:cNvGrpSpPr/>
          <p:nvPr/>
        </p:nvGrpSpPr>
        <p:grpSpPr>
          <a:xfrm>
            <a:off x="10817531" y="1153621"/>
            <a:ext cx="207200" cy="207200"/>
            <a:chOff x="1666623" y="2623621"/>
            <a:chExt cx="155400" cy="155400"/>
          </a:xfrm>
        </p:grpSpPr>
        <p:sp>
          <p:nvSpPr>
            <p:cNvPr id="1238" name="Google Shape;1238;p32"/>
            <p:cNvSpPr/>
            <p:nvPr/>
          </p:nvSpPr>
          <p:spPr>
            <a:xfrm>
              <a:off x="1666623" y="2623621"/>
              <a:ext cx="155400" cy="155400"/>
            </a:xfrm>
            <a:prstGeom prst="star4">
              <a:avLst>
                <a:gd name="adj" fmla="val 21474"/>
              </a:avLst>
            </a:prstGeom>
            <a:noFill/>
            <a:ln w="76200" cap="flat" cmpd="sng">
              <a:solidFill>
                <a:schemeClr val="lt1"/>
              </a:solidFill>
              <a:prstDash val="solid"/>
              <a:round/>
              <a:headEnd type="none" w="sm" len="sm"/>
              <a:tailEnd type="none" w="sm" len="sm"/>
            </a:ln>
            <a:effectLst>
              <a:outerShdw dist="57150" dir="960000" algn="bl" rotWithShape="0">
                <a:schemeClr val="dk1">
                  <a:alpha val="26000"/>
                </a:scheme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2400"/>
            </a:p>
          </p:txBody>
        </p:sp>
        <p:sp>
          <p:nvSpPr>
            <p:cNvPr id="1239" name="Google Shape;1239;p32"/>
            <p:cNvSpPr/>
            <p:nvPr/>
          </p:nvSpPr>
          <p:spPr>
            <a:xfrm>
              <a:off x="1666623" y="2623621"/>
              <a:ext cx="155400" cy="155400"/>
            </a:xfrm>
            <a:prstGeom prst="star4">
              <a:avLst>
                <a:gd name="adj" fmla="val 23855"/>
              </a:avLst>
            </a:prstGeom>
            <a:solidFill>
              <a:schemeClr val="dk2"/>
            </a:solidFill>
            <a:ln w="19050"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2400"/>
            </a:p>
          </p:txBody>
        </p:sp>
      </p:grpSp>
      <p:grpSp>
        <p:nvGrpSpPr>
          <p:cNvPr id="1240" name="Google Shape;1240;p32"/>
          <p:cNvGrpSpPr/>
          <p:nvPr/>
        </p:nvGrpSpPr>
        <p:grpSpPr>
          <a:xfrm>
            <a:off x="11371097" y="946439"/>
            <a:ext cx="207200" cy="207200"/>
            <a:chOff x="1666623" y="2623621"/>
            <a:chExt cx="155400" cy="155400"/>
          </a:xfrm>
        </p:grpSpPr>
        <p:sp>
          <p:nvSpPr>
            <p:cNvPr id="1241" name="Google Shape;1241;p32"/>
            <p:cNvSpPr/>
            <p:nvPr/>
          </p:nvSpPr>
          <p:spPr>
            <a:xfrm>
              <a:off x="1666623" y="2623621"/>
              <a:ext cx="155400" cy="155400"/>
            </a:xfrm>
            <a:prstGeom prst="star4">
              <a:avLst>
                <a:gd name="adj" fmla="val 21474"/>
              </a:avLst>
            </a:prstGeom>
            <a:noFill/>
            <a:ln w="76200" cap="flat" cmpd="sng">
              <a:solidFill>
                <a:schemeClr val="lt1"/>
              </a:solidFill>
              <a:prstDash val="solid"/>
              <a:round/>
              <a:headEnd type="none" w="sm" len="sm"/>
              <a:tailEnd type="none" w="sm" len="sm"/>
            </a:ln>
            <a:effectLst>
              <a:outerShdw dist="57150" dir="960000" algn="bl" rotWithShape="0">
                <a:schemeClr val="dk1">
                  <a:alpha val="26000"/>
                </a:scheme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2400"/>
            </a:p>
          </p:txBody>
        </p:sp>
        <p:sp>
          <p:nvSpPr>
            <p:cNvPr id="1242" name="Google Shape;1242;p32"/>
            <p:cNvSpPr/>
            <p:nvPr/>
          </p:nvSpPr>
          <p:spPr>
            <a:xfrm>
              <a:off x="1666623" y="2623621"/>
              <a:ext cx="155400" cy="155400"/>
            </a:xfrm>
            <a:prstGeom prst="star4">
              <a:avLst>
                <a:gd name="adj" fmla="val 23855"/>
              </a:avLst>
            </a:prstGeom>
            <a:solidFill>
              <a:schemeClr val="accent3"/>
            </a:solidFill>
            <a:ln w="19050"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2400"/>
            </a:p>
          </p:txBody>
        </p:sp>
      </p:grpSp>
    </p:spTree>
    <p:extLst>
      <p:ext uri="{BB962C8B-B14F-4D97-AF65-F5344CB8AC3E}">
        <p14:creationId xmlns:p14="http://schemas.microsoft.com/office/powerpoint/2010/main" val="247658410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Background 1">
  <p:cSld name="Background 1">
    <p:bg>
      <p:bgPr>
        <a:solidFill>
          <a:schemeClr val="accent3"/>
        </a:solidFill>
        <a:effectLst/>
      </p:bgPr>
    </p:bg>
    <p:spTree>
      <p:nvGrpSpPr>
        <p:cNvPr id="1" name="Shape 1243"/>
        <p:cNvGrpSpPr/>
        <p:nvPr/>
      </p:nvGrpSpPr>
      <p:grpSpPr>
        <a:xfrm>
          <a:off x="0" y="0"/>
          <a:ext cx="0" cy="0"/>
          <a:chOff x="0" y="0"/>
          <a:chExt cx="0" cy="0"/>
        </a:xfrm>
      </p:grpSpPr>
      <p:grpSp>
        <p:nvGrpSpPr>
          <p:cNvPr id="1244" name="Google Shape;1244;p33"/>
          <p:cNvGrpSpPr/>
          <p:nvPr/>
        </p:nvGrpSpPr>
        <p:grpSpPr>
          <a:xfrm>
            <a:off x="-1135833" y="365100"/>
            <a:ext cx="12962600" cy="6148800"/>
            <a:chOff x="-851875" y="273825"/>
            <a:chExt cx="9721950" cy="4611600"/>
          </a:xfrm>
        </p:grpSpPr>
        <p:sp>
          <p:nvSpPr>
            <p:cNvPr id="1245" name="Google Shape;1245;p33"/>
            <p:cNvSpPr/>
            <p:nvPr/>
          </p:nvSpPr>
          <p:spPr>
            <a:xfrm>
              <a:off x="341975" y="273825"/>
              <a:ext cx="8528100" cy="4611600"/>
            </a:xfrm>
            <a:prstGeom prst="roundRect">
              <a:avLst>
                <a:gd name="adj" fmla="val 4554"/>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46" name="Google Shape;1246;p33"/>
            <p:cNvSpPr/>
            <p:nvPr/>
          </p:nvSpPr>
          <p:spPr>
            <a:xfrm>
              <a:off x="-851875" y="273825"/>
              <a:ext cx="1153200" cy="4611600"/>
            </a:xfrm>
            <a:prstGeom prst="roundRect">
              <a:avLst>
                <a:gd name="adj" fmla="val 22757"/>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1247" name="Google Shape;1247;p33"/>
            <p:cNvGrpSpPr/>
            <p:nvPr/>
          </p:nvGrpSpPr>
          <p:grpSpPr>
            <a:xfrm>
              <a:off x="81691" y="785819"/>
              <a:ext cx="155400" cy="3538775"/>
              <a:chOff x="435991" y="785819"/>
              <a:chExt cx="155400" cy="3538775"/>
            </a:xfrm>
          </p:grpSpPr>
          <p:sp>
            <p:nvSpPr>
              <p:cNvPr id="1248" name="Google Shape;1248;p33"/>
              <p:cNvSpPr/>
              <p:nvPr/>
            </p:nvSpPr>
            <p:spPr>
              <a:xfrm>
                <a:off x="435991" y="7858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49" name="Google Shape;1249;p33"/>
              <p:cNvSpPr/>
              <p:nvPr/>
            </p:nvSpPr>
            <p:spPr>
              <a:xfrm>
                <a:off x="435991" y="12662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50" name="Google Shape;1250;p33"/>
              <p:cNvSpPr/>
              <p:nvPr/>
            </p:nvSpPr>
            <p:spPr>
              <a:xfrm>
                <a:off x="435991" y="17466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51" name="Google Shape;1251;p33"/>
              <p:cNvSpPr/>
              <p:nvPr/>
            </p:nvSpPr>
            <p:spPr>
              <a:xfrm>
                <a:off x="435991" y="22474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52" name="Google Shape;1252;p33"/>
              <p:cNvSpPr/>
              <p:nvPr/>
            </p:nvSpPr>
            <p:spPr>
              <a:xfrm>
                <a:off x="435991" y="27075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53" name="Google Shape;1253;p33"/>
              <p:cNvSpPr/>
              <p:nvPr/>
            </p:nvSpPr>
            <p:spPr>
              <a:xfrm>
                <a:off x="435991" y="31879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54" name="Google Shape;1254;p33"/>
              <p:cNvSpPr/>
              <p:nvPr/>
            </p:nvSpPr>
            <p:spPr>
              <a:xfrm>
                <a:off x="435991" y="36683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55" name="Google Shape;1255;p33"/>
              <p:cNvSpPr/>
              <p:nvPr/>
            </p:nvSpPr>
            <p:spPr>
              <a:xfrm>
                <a:off x="435991" y="41691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256" name="Google Shape;1256;p33"/>
            <p:cNvGrpSpPr/>
            <p:nvPr/>
          </p:nvGrpSpPr>
          <p:grpSpPr>
            <a:xfrm>
              <a:off x="435991" y="785819"/>
              <a:ext cx="155400" cy="3538775"/>
              <a:chOff x="435991" y="785819"/>
              <a:chExt cx="155400" cy="3538775"/>
            </a:xfrm>
          </p:grpSpPr>
          <p:sp>
            <p:nvSpPr>
              <p:cNvPr id="1257" name="Google Shape;1257;p33"/>
              <p:cNvSpPr/>
              <p:nvPr/>
            </p:nvSpPr>
            <p:spPr>
              <a:xfrm>
                <a:off x="435991" y="7858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58" name="Google Shape;1258;p33"/>
              <p:cNvSpPr/>
              <p:nvPr/>
            </p:nvSpPr>
            <p:spPr>
              <a:xfrm>
                <a:off x="435991" y="12662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59" name="Google Shape;1259;p33"/>
              <p:cNvSpPr/>
              <p:nvPr/>
            </p:nvSpPr>
            <p:spPr>
              <a:xfrm>
                <a:off x="435991" y="17466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60" name="Google Shape;1260;p33"/>
              <p:cNvSpPr/>
              <p:nvPr/>
            </p:nvSpPr>
            <p:spPr>
              <a:xfrm>
                <a:off x="435991" y="22474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61" name="Google Shape;1261;p33"/>
              <p:cNvSpPr/>
              <p:nvPr/>
            </p:nvSpPr>
            <p:spPr>
              <a:xfrm>
                <a:off x="435991" y="27075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62" name="Google Shape;1262;p33"/>
              <p:cNvSpPr/>
              <p:nvPr/>
            </p:nvSpPr>
            <p:spPr>
              <a:xfrm>
                <a:off x="435991" y="31879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63" name="Google Shape;1263;p33"/>
              <p:cNvSpPr/>
              <p:nvPr/>
            </p:nvSpPr>
            <p:spPr>
              <a:xfrm>
                <a:off x="435991" y="36683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64" name="Google Shape;1264;p33"/>
              <p:cNvSpPr/>
              <p:nvPr/>
            </p:nvSpPr>
            <p:spPr>
              <a:xfrm>
                <a:off x="435991" y="41691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265" name="Google Shape;1265;p33"/>
            <p:cNvGrpSpPr/>
            <p:nvPr/>
          </p:nvGrpSpPr>
          <p:grpSpPr>
            <a:xfrm>
              <a:off x="161500" y="826619"/>
              <a:ext cx="352200" cy="3457175"/>
              <a:chOff x="161500" y="826619"/>
              <a:chExt cx="352200" cy="3457175"/>
            </a:xfrm>
          </p:grpSpPr>
          <p:sp>
            <p:nvSpPr>
              <p:cNvPr id="1266" name="Google Shape;1266;p33"/>
              <p:cNvSpPr/>
              <p:nvPr/>
            </p:nvSpPr>
            <p:spPr>
              <a:xfrm>
                <a:off x="161500" y="228829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67" name="Google Shape;1267;p33"/>
              <p:cNvSpPr/>
              <p:nvPr/>
            </p:nvSpPr>
            <p:spPr>
              <a:xfrm>
                <a:off x="161500" y="274831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68" name="Google Shape;1268;p33"/>
              <p:cNvSpPr/>
              <p:nvPr/>
            </p:nvSpPr>
            <p:spPr>
              <a:xfrm>
                <a:off x="161500" y="322874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69" name="Google Shape;1269;p33"/>
              <p:cNvSpPr/>
              <p:nvPr/>
            </p:nvSpPr>
            <p:spPr>
              <a:xfrm>
                <a:off x="161500" y="370916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70" name="Google Shape;1270;p33"/>
              <p:cNvSpPr/>
              <p:nvPr/>
            </p:nvSpPr>
            <p:spPr>
              <a:xfrm>
                <a:off x="161500" y="420999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71" name="Google Shape;1271;p33"/>
              <p:cNvSpPr/>
              <p:nvPr/>
            </p:nvSpPr>
            <p:spPr>
              <a:xfrm>
                <a:off x="161500" y="178746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72" name="Google Shape;1272;p33"/>
              <p:cNvSpPr/>
              <p:nvPr/>
            </p:nvSpPr>
            <p:spPr>
              <a:xfrm>
                <a:off x="161500" y="130704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73" name="Google Shape;1273;p33"/>
              <p:cNvSpPr/>
              <p:nvPr/>
            </p:nvSpPr>
            <p:spPr>
              <a:xfrm>
                <a:off x="161500" y="82661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cxnSp>
          <p:nvCxnSpPr>
            <p:cNvPr id="1274" name="Google Shape;1274;p33"/>
            <p:cNvCxnSpPr/>
            <p:nvPr/>
          </p:nvCxnSpPr>
          <p:spPr>
            <a:xfrm>
              <a:off x="843750" y="288625"/>
              <a:ext cx="0" cy="4588500"/>
            </a:xfrm>
            <a:prstGeom prst="straightConnector1">
              <a:avLst/>
            </a:prstGeom>
            <a:noFill/>
            <a:ln w="19050" cap="rnd" cmpd="sng">
              <a:solidFill>
                <a:schemeClr val="accent1"/>
              </a:solidFill>
              <a:prstDash val="dot"/>
              <a:round/>
              <a:headEnd type="none" w="med" len="med"/>
              <a:tailEnd type="none" w="med" len="med"/>
            </a:ln>
          </p:spPr>
        </p:cxnSp>
      </p:grpSp>
      <p:grpSp>
        <p:nvGrpSpPr>
          <p:cNvPr id="1275" name="Google Shape;1275;p33"/>
          <p:cNvGrpSpPr/>
          <p:nvPr/>
        </p:nvGrpSpPr>
        <p:grpSpPr>
          <a:xfrm flipH="1">
            <a:off x="7778347" y="5870262"/>
            <a:ext cx="3462855" cy="423701"/>
            <a:chOff x="856150" y="4516775"/>
            <a:chExt cx="1427393" cy="174650"/>
          </a:xfrm>
        </p:grpSpPr>
        <p:sp>
          <p:nvSpPr>
            <p:cNvPr id="1276" name="Google Shape;1276;p33"/>
            <p:cNvSpPr/>
            <p:nvPr/>
          </p:nvSpPr>
          <p:spPr>
            <a:xfrm>
              <a:off x="856150" y="4516775"/>
              <a:ext cx="1427393" cy="174650"/>
            </a:xfrm>
            <a:custGeom>
              <a:avLst/>
              <a:gdLst/>
              <a:ahLst/>
              <a:cxnLst/>
              <a:rect l="l" t="t" r="r" b="b"/>
              <a:pathLst>
                <a:path w="29742" h="6986" extrusionOk="0">
                  <a:moveTo>
                    <a:pt x="0" y="0"/>
                  </a:moveTo>
                  <a:lnTo>
                    <a:pt x="1450" y="2899"/>
                  </a:lnTo>
                  <a:lnTo>
                    <a:pt x="1591" y="3902"/>
                  </a:lnTo>
                  <a:lnTo>
                    <a:pt x="131" y="6986"/>
                  </a:lnTo>
                  <a:lnTo>
                    <a:pt x="29741" y="6986"/>
                  </a:lnTo>
                  <a:lnTo>
                    <a:pt x="29196" y="4261"/>
                  </a:lnTo>
                  <a:lnTo>
                    <a:pt x="27605" y="2082"/>
                  </a:lnTo>
                  <a:lnTo>
                    <a:pt x="2779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77" name="Google Shape;1277;p33"/>
            <p:cNvSpPr/>
            <p:nvPr/>
          </p:nvSpPr>
          <p:spPr>
            <a:xfrm>
              <a:off x="1009462" y="4551125"/>
              <a:ext cx="130250" cy="103250"/>
            </a:xfrm>
            <a:custGeom>
              <a:avLst/>
              <a:gdLst/>
              <a:ahLst/>
              <a:cxnLst/>
              <a:rect l="l" t="t" r="r" b="b"/>
              <a:pathLst>
                <a:path w="5210" h="4130" extrusionOk="0">
                  <a:moveTo>
                    <a:pt x="2435" y="0"/>
                  </a:moveTo>
                  <a:cubicBezTo>
                    <a:pt x="2339" y="0"/>
                    <a:pt x="2232" y="27"/>
                    <a:pt x="2114" y="87"/>
                  </a:cubicBezTo>
                  <a:cubicBezTo>
                    <a:pt x="1373" y="479"/>
                    <a:pt x="2430" y="1819"/>
                    <a:pt x="2114" y="1841"/>
                  </a:cubicBezTo>
                  <a:cubicBezTo>
                    <a:pt x="2111" y="1842"/>
                    <a:pt x="2107" y="1842"/>
                    <a:pt x="2103" y="1842"/>
                  </a:cubicBezTo>
                  <a:cubicBezTo>
                    <a:pt x="1862" y="1842"/>
                    <a:pt x="1388" y="1106"/>
                    <a:pt x="948" y="1106"/>
                  </a:cubicBezTo>
                  <a:cubicBezTo>
                    <a:pt x="799" y="1106"/>
                    <a:pt x="654" y="1190"/>
                    <a:pt x="523" y="1416"/>
                  </a:cubicBezTo>
                  <a:cubicBezTo>
                    <a:pt x="0" y="2332"/>
                    <a:pt x="1820" y="2234"/>
                    <a:pt x="1766" y="2484"/>
                  </a:cubicBezTo>
                  <a:cubicBezTo>
                    <a:pt x="1700" y="2735"/>
                    <a:pt x="262" y="3214"/>
                    <a:pt x="915" y="3890"/>
                  </a:cubicBezTo>
                  <a:cubicBezTo>
                    <a:pt x="1079" y="4061"/>
                    <a:pt x="1241" y="4130"/>
                    <a:pt x="1393" y="4130"/>
                  </a:cubicBezTo>
                  <a:cubicBezTo>
                    <a:pt x="1850" y="4130"/>
                    <a:pt x="2212" y="3514"/>
                    <a:pt x="2212" y="3236"/>
                  </a:cubicBezTo>
                  <a:cubicBezTo>
                    <a:pt x="2212" y="2960"/>
                    <a:pt x="2322" y="2683"/>
                    <a:pt x="2445" y="2683"/>
                  </a:cubicBezTo>
                  <a:cubicBezTo>
                    <a:pt x="2487" y="2683"/>
                    <a:pt x="2531" y="2715"/>
                    <a:pt x="2572" y="2789"/>
                  </a:cubicBezTo>
                  <a:cubicBezTo>
                    <a:pt x="2708" y="3034"/>
                    <a:pt x="2911" y="3992"/>
                    <a:pt x="3419" y="3992"/>
                  </a:cubicBezTo>
                  <a:cubicBezTo>
                    <a:pt x="3523" y="3992"/>
                    <a:pt x="3640" y="3952"/>
                    <a:pt x="3771" y="3857"/>
                  </a:cubicBezTo>
                  <a:cubicBezTo>
                    <a:pt x="4555" y="3312"/>
                    <a:pt x="3422" y="2691"/>
                    <a:pt x="3357" y="2484"/>
                  </a:cubicBezTo>
                  <a:cubicBezTo>
                    <a:pt x="3302" y="2277"/>
                    <a:pt x="3520" y="2364"/>
                    <a:pt x="3902" y="2201"/>
                  </a:cubicBezTo>
                  <a:cubicBezTo>
                    <a:pt x="4294" y="2037"/>
                    <a:pt x="5209" y="1809"/>
                    <a:pt x="4752" y="1067"/>
                  </a:cubicBezTo>
                  <a:cubicBezTo>
                    <a:pt x="4609" y="833"/>
                    <a:pt x="4445" y="745"/>
                    <a:pt x="4280" y="745"/>
                  </a:cubicBezTo>
                  <a:cubicBezTo>
                    <a:pt x="3916" y="745"/>
                    <a:pt x="3547" y="1176"/>
                    <a:pt x="3389" y="1416"/>
                  </a:cubicBezTo>
                  <a:cubicBezTo>
                    <a:pt x="3269" y="1606"/>
                    <a:pt x="3112" y="1750"/>
                    <a:pt x="3019" y="1750"/>
                  </a:cubicBezTo>
                  <a:cubicBezTo>
                    <a:pt x="2936" y="1750"/>
                    <a:pt x="2904" y="1633"/>
                    <a:pt x="2997" y="1329"/>
                  </a:cubicBezTo>
                  <a:cubicBezTo>
                    <a:pt x="3163" y="777"/>
                    <a:pt x="2956" y="0"/>
                    <a:pt x="24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78" name="Google Shape;1278;p33"/>
            <p:cNvSpPr/>
            <p:nvPr/>
          </p:nvSpPr>
          <p:spPr>
            <a:xfrm>
              <a:off x="957137" y="4577775"/>
              <a:ext cx="46575" cy="38525"/>
            </a:xfrm>
            <a:custGeom>
              <a:avLst/>
              <a:gdLst/>
              <a:ahLst/>
              <a:cxnLst/>
              <a:rect l="l" t="t" r="r" b="b"/>
              <a:pathLst>
                <a:path w="1863" h="1541" extrusionOk="0">
                  <a:moveTo>
                    <a:pt x="102" y="1"/>
                  </a:moveTo>
                  <a:cubicBezTo>
                    <a:pt x="83" y="1"/>
                    <a:pt x="64" y="1"/>
                    <a:pt x="44" y="1"/>
                  </a:cubicBezTo>
                  <a:cubicBezTo>
                    <a:pt x="44" y="1"/>
                    <a:pt x="0" y="1540"/>
                    <a:pt x="1291" y="1540"/>
                  </a:cubicBezTo>
                  <a:cubicBezTo>
                    <a:pt x="1442" y="1540"/>
                    <a:pt x="1610" y="1519"/>
                    <a:pt x="1799" y="1473"/>
                  </a:cubicBezTo>
                  <a:cubicBezTo>
                    <a:pt x="1799" y="1473"/>
                    <a:pt x="1863" y="1"/>
                    <a:pt x="10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79" name="Google Shape;1279;p33"/>
            <p:cNvSpPr/>
            <p:nvPr/>
          </p:nvSpPr>
          <p:spPr>
            <a:xfrm>
              <a:off x="1200437" y="4551125"/>
              <a:ext cx="130000" cy="103250"/>
            </a:xfrm>
            <a:custGeom>
              <a:avLst/>
              <a:gdLst/>
              <a:ahLst/>
              <a:cxnLst/>
              <a:rect l="l" t="t" r="r" b="b"/>
              <a:pathLst>
                <a:path w="5200" h="4130" extrusionOk="0">
                  <a:moveTo>
                    <a:pt x="2425" y="0"/>
                  </a:moveTo>
                  <a:cubicBezTo>
                    <a:pt x="2329" y="0"/>
                    <a:pt x="2221" y="27"/>
                    <a:pt x="2104" y="87"/>
                  </a:cubicBezTo>
                  <a:cubicBezTo>
                    <a:pt x="1363" y="479"/>
                    <a:pt x="2420" y="1819"/>
                    <a:pt x="2104" y="1841"/>
                  </a:cubicBezTo>
                  <a:cubicBezTo>
                    <a:pt x="2100" y="1842"/>
                    <a:pt x="2096" y="1842"/>
                    <a:pt x="2093" y="1842"/>
                  </a:cubicBezTo>
                  <a:cubicBezTo>
                    <a:pt x="1852" y="1842"/>
                    <a:pt x="1378" y="1106"/>
                    <a:pt x="938" y="1106"/>
                  </a:cubicBezTo>
                  <a:cubicBezTo>
                    <a:pt x="789" y="1106"/>
                    <a:pt x="644" y="1190"/>
                    <a:pt x="513" y="1416"/>
                  </a:cubicBezTo>
                  <a:cubicBezTo>
                    <a:pt x="1" y="2332"/>
                    <a:pt x="1821" y="2234"/>
                    <a:pt x="1755" y="2484"/>
                  </a:cubicBezTo>
                  <a:cubicBezTo>
                    <a:pt x="1690" y="2735"/>
                    <a:pt x="251" y="3214"/>
                    <a:pt x="905" y="3890"/>
                  </a:cubicBezTo>
                  <a:cubicBezTo>
                    <a:pt x="1068" y="4061"/>
                    <a:pt x="1231" y="4130"/>
                    <a:pt x="1383" y="4130"/>
                  </a:cubicBezTo>
                  <a:cubicBezTo>
                    <a:pt x="1840" y="4130"/>
                    <a:pt x="2202" y="3514"/>
                    <a:pt x="2202" y="3236"/>
                  </a:cubicBezTo>
                  <a:cubicBezTo>
                    <a:pt x="2202" y="2960"/>
                    <a:pt x="2311" y="2683"/>
                    <a:pt x="2435" y="2683"/>
                  </a:cubicBezTo>
                  <a:cubicBezTo>
                    <a:pt x="2477" y="2683"/>
                    <a:pt x="2520" y="2715"/>
                    <a:pt x="2562" y="2789"/>
                  </a:cubicBezTo>
                  <a:cubicBezTo>
                    <a:pt x="2697" y="3034"/>
                    <a:pt x="2901" y="3992"/>
                    <a:pt x="3415" y="3992"/>
                  </a:cubicBezTo>
                  <a:cubicBezTo>
                    <a:pt x="3520" y="3992"/>
                    <a:pt x="3638" y="3952"/>
                    <a:pt x="3771" y="3857"/>
                  </a:cubicBezTo>
                  <a:cubicBezTo>
                    <a:pt x="4545" y="3312"/>
                    <a:pt x="3412" y="2691"/>
                    <a:pt x="3346" y="2484"/>
                  </a:cubicBezTo>
                  <a:cubicBezTo>
                    <a:pt x="3292" y="2277"/>
                    <a:pt x="3510" y="2364"/>
                    <a:pt x="3902" y="2201"/>
                  </a:cubicBezTo>
                  <a:cubicBezTo>
                    <a:pt x="4284" y="2037"/>
                    <a:pt x="5199" y="1809"/>
                    <a:pt x="4741" y="1067"/>
                  </a:cubicBezTo>
                  <a:cubicBezTo>
                    <a:pt x="4599" y="833"/>
                    <a:pt x="4435" y="745"/>
                    <a:pt x="4270" y="745"/>
                  </a:cubicBezTo>
                  <a:cubicBezTo>
                    <a:pt x="3906" y="745"/>
                    <a:pt x="3537" y="1176"/>
                    <a:pt x="3379" y="1416"/>
                  </a:cubicBezTo>
                  <a:cubicBezTo>
                    <a:pt x="3259" y="1606"/>
                    <a:pt x="3102" y="1750"/>
                    <a:pt x="3009" y="1750"/>
                  </a:cubicBezTo>
                  <a:cubicBezTo>
                    <a:pt x="2926" y="1750"/>
                    <a:pt x="2894" y="1633"/>
                    <a:pt x="2987" y="1329"/>
                  </a:cubicBezTo>
                  <a:cubicBezTo>
                    <a:pt x="3152" y="777"/>
                    <a:pt x="2945" y="0"/>
                    <a:pt x="242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0" name="Google Shape;1280;p33"/>
            <p:cNvSpPr/>
            <p:nvPr/>
          </p:nvSpPr>
          <p:spPr>
            <a:xfrm>
              <a:off x="1147862" y="4577775"/>
              <a:ext cx="46575" cy="38525"/>
            </a:xfrm>
            <a:custGeom>
              <a:avLst/>
              <a:gdLst/>
              <a:ahLst/>
              <a:cxnLst/>
              <a:rect l="l" t="t" r="r" b="b"/>
              <a:pathLst>
                <a:path w="1863" h="1541" extrusionOk="0">
                  <a:moveTo>
                    <a:pt x="102" y="1"/>
                  </a:moveTo>
                  <a:cubicBezTo>
                    <a:pt x="83" y="1"/>
                    <a:pt x="63" y="1"/>
                    <a:pt x="44" y="1"/>
                  </a:cubicBezTo>
                  <a:cubicBezTo>
                    <a:pt x="44" y="1"/>
                    <a:pt x="0" y="1540"/>
                    <a:pt x="1299" y="1540"/>
                  </a:cubicBezTo>
                  <a:cubicBezTo>
                    <a:pt x="1450" y="1540"/>
                    <a:pt x="1620" y="1519"/>
                    <a:pt x="1809" y="1473"/>
                  </a:cubicBezTo>
                  <a:cubicBezTo>
                    <a:pt x="1809" y="1473"/>
                    <a:pt x="1863" y="1"/>
                    <a:pt x="10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1" name="Google Shape;1281;p33"/>
            <p:cNvSpPr/>
            <p:nvPr/>
          </p:nvSpPr>
          <p:spPr>
            <a:xfrm>
              <a:off x="1400687" y="4551125"/>
              <a:ext cx="130000" cy="103250"/>
            </a:xfrm>
            <a:custGeom>
              <a:avLst/>
              <a:gdLst/>
              <a:ahLst/>
              <a:cxnLst/>
              <a:rect l="l" t="t" r="r" b="b"/>
              <a:pathLst>
                <a:path w="5200" h="4130" extrusionOk="0">
                  <a:moveTo>
                    <a:pt x="2432" y="0"/>
                  </a:moveTo>
                  <a:cubicBezTo>
                    <a:pt x="2336" y="0"/>
                    <a:pt x="2231" y="27"/>
                    <a:pt x="2115" y="87"/>
                  </a:cubicBezTo>
                  <a:cubicBezTo>
                    <a:pt x="1363" y="479"/>
                    <a:pt x="2420" y="1819"/>
                    <a:pt x="2115" y="1841"/>
                  </a:cubicBezTo>
                  <a:cubicBezTo>
                    <a:pt x="2111" y="1842"/>
                    <a:pt x="2107" y="1842"/>
                    <a:pt x="2103" y="1842"/>
                  </a:cubicBezTo>
                  <a:cubicBezTo>
                    <a:pt x="1854" y="1842"/>
                    <a:pt x="1379" y="1106"/>
                    <a:pt x="943" y="1106"/>
                  </a:cubicBezTo>
                  <a:cubicBezTo>
                    <a:pt x="795" y="1106"/>
                    <a:pt x="652" y="1190"/>
                    <a:pt x="524" y="1416"/>
                  </a:cubicBezTo>
                  <a:cubicBezTo>
                    <a:pt x="1" y="2332"/>
                    <a:pt x="1821" y="2234"/>
                    <a:pt x="1755" y="2484"/>
                  </a:cubicBezTo>
                  <a:cubicBezTo>
                    <a:pt x="1690" y="2735"/>
                    <a:pt x="262" y="3214"/>
                    <a:pt x="905" y="3890"/>
                  </a:cubicBezTo>
                  <a:cubicBezTo>
                    <a:pt x="1069" y="4061"/>
                    <a:pt x="1232" y="4130"/>
                    <a:pt x="1385" y="4130"/>
                  </a:cubicBezTo>
                  <a:cubicBezTo>
                    <a:pt x="1845" y="4130"/>
                    <a:pt x="2213" y="3514"/>
                    <a:pt x="2213" y="3236"/>
                  </a:cubicBezTo>
                  <a:cubicBezTo>
                    <a:pt x="2213" y="2960"/>
                    <a:pt x="2322" y="2683"/>
                    <a:pt x="2446" y="2683"/>
                  </a:cubicBezTo>
                  <a:cubicBezTo>
                    <a:pt x="2488" y="2683"/>
                    <a:pt x="2531" y="2715"/>
                    <a:pt x="2573" y="2789"/>
                  </a:cubicBezTo>
                  <a:cubicBezTo>
                    <a:pt x="2699" y="3034"/>
                    <a:pt x="2901" y="3992"/>
                    <a:pt x="3415" y="3992"/>
                  </a:cubicBezTo>
                  <a:cubicBezTo>
                    <a:pt x="3520" y="3992"/>
                    <a:pt x="3638" y="3952"/>
                    <a:pt x="3772" y="3857"/>
                  </a:cubicBezTo>
                  <a:cubicBezTo>
                    <a:pt x="4556" y="3312"/>
                    <a:pt x="3412" y="2691"/>
                    <a:pt x="3357" y="2484"/>
                  </a:cubicBezTo>
                  <a:cubicBezTo>
                    <a:pt x="3292" y="2277"/>
                    <a:pt x="3510" y="2364"/>
                    <a:pt x="3902" y="2201"/>
                  </a:cubicBezTo>
                  <a:cubicBezTo>
                    <a:pt x="4295" y="2037"/>
                    <a:pt x="5199" y="1809"/>
                    <a:pt x="4742" y="1067"/>
                  </a:cubicBezTo>
                  <a:cubicBezTo>
                    <a:pt x="4602" y="833"/>
                    <a:pt x="4440" y="745"/>
                    <a:pt x="4275" y="745"/>
                  </a:cubicBezTo>
                  <a:cubicBezTo>
                    <a:pt x="3911" y="745"/>
                    <a:pt x="3537" y="1176"/>
                    <a:pt x="3379" y="1416"/>
                  </a:cubicBezTo>
                  <a:cubicBezTo>
                    <a:pt x="3259" y="1606"/>
                    <a:pt x="3102" y="1750"/>
                    <a:pt x="3009" y="1750"/>
                  </a:cubicBezTo>
                  <a:cubicBezTo>
                    <a:pt x="2926" y="1750"/>
                    <a:pt x="2894" y="1633"/>
                    <a:pt x="2987" y="1329"/>
                  </a:cubicBezTo>
                  <a:cubicBezTo>
                    <a:pt x="3152" y="777"/>
                    <a:pt x="2946" y="0"/>
                    <a:pt x="243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2" name="Google Shape;1282;p33"/>
            <p:cNvSpPr/>
            <p:nvPr/>
          </p:nvSpPr>
          <p:spPr>
            <a:xfrm>
              <a:off x="1348162" y="4577775"/>
              <a:ext cx="46800" cy="38525"/>
            </a:xfrm>
            <a:custGeom>
              <a:avLst/>
              <a:gdLst/>
              <a:ahLst/>
              <a:cxnLst/>
              <a:rect l="l" t="t" r="r" b="b"/>
              <a:pathLst>
                <a:path w="1872" h="1541" extrusionOk="0">
                  <a:moveTo>
                    <a:pt x="111" y="1"/>
                  </a:moveTo>
                  <a:cubicBezTo>
                    <a:pt x="92" y="1"/>
                    <a:pt x="73" y="1"/>
                    <a:pt x="53" y="1"/>
                  </a:cubicBezTo>
                  <a:cubicBezTo>
                    <a:pt x="53" y="1"/>
                    <a:pt x="1" y="1540"/>
                    <a:pt x="1297" y="1540"/>
                  </a:cubicBezTo>
                  <a:cubicBezTo>
                    <a:pt x="1448" y="1540"/>
                    <a:pt x="1618" y="1519"/>
                    <a:pt x="1808" y="1473"/>
                  </a:cubicBezTo>
                  <a:cubicBezTo>
                    <a:pt x="1808" y="1473"/>
                    <a:pt x="1872" y="1"/>
                    <a:pt x="11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3" name="Google Shape;1283;p33"/>
            <p:cNvSpPr/>
            <p:nvPr/>
          </p:nvSpPr>
          <p:spPr>
            <a:xfrm>
              <a:off x="1604543" y="4551125"/>
              <a:ext cx="130250" cy="103250"/>
            </a:xfrm>
            <a:custGeom>
              <a:avLst/>
              <a:gdLst/>
              <a:ahLst/>
              <a:cxnLst/>
              <a:rect l="l" t="t" r="r" b="b"/>
              <a:pathLst>
                <a:path w="5210" h="4130" extrusionOk="0">
                  <a:moveTo>
                    <a:pt x="2435" y="0"/>
                  </a:moveTo>
                  <a:cubicBezTo>
                    <a:pt x="2339" y="0"/>
                    <a:pt x="2232" y="27"/>
                    <a:pt x="2114" y="87"/>
                  </a:cubicBezTo>
                  <a:cubicBezTo>
                    <a:pt x="1373" y="479"/>
                    <a:pt x="2430" y="1819"/>
                    <a:pt x="2114" y="1841"/>
                  </a:cubicBezTo>
                  <a:cubicBezTo>
                    <a:pt x="2111" y="1842"/>
                    <a:pt x="2107" y="1842"/>
                    <a:pt x="2103" y="1842"/>
                  </a:cubicBezTo>
                  <a:cubicBezTo>
                    <a:pt x="1862" y="1842"/>
                    <a:pt x="1388" y="1106"/>
                    <a:pt x="948" y="1106"/>
                  </a:cubicBezTo>
                  <a:cubicBezTo>
                    <a:pt x="799" y="1106"/>
                    <a:pt x="654" y="1190"/>
                    <a:pt x="523" y="1416"/>
                  </a:cubicBezTo>
                  <a:cubicBezTo>
                    <a:pt x="0" y="2332"/>
                    <a:pt x="1820" y="2234"/>
                    <a:pt x="1766" y="2484"/>
                  </a:cubicBezTo>
                  <a:cubicBezTo>
                    <a:pt x="1700" y="2735"/>
                    <a:pt x="262" y="3214"/>
                    <a:pt x="915" y="3890"/>
                  </a:cubicBezTo>
                  <a:cubicBezTo>
                    <a:pt x="1079" y="4061"/>
                    <a:pt x="1241" y="4130"/>
                    <a:pt x="1393" y="4130"/>
                  </a:cubicBezTo>
                  <a:cubicBezTo>
                    <a:pt x="1850" y="4130"/>
                    <a:pt x="2212" y="3514"/>
                    <a:pt x="2212" y="3236"/>
                  </a:cubicBezTo>
                  <a:cubicBezTo>
                    <a:pt x="2212" y="2960"/>
                    <a:pt x="2322" y="2683"/>
                    <a:pt x="2445" y="2683"/>
                  </a:cubicBezTo>
                  <a:cubicBezTo>
                    <a:pt x="2487" y="2683"/>
                    <a:pt x="2531" y="2715"/>
                    <a:pt x="2572" y="2789"/>
                  </a:cubicBezTo>
                  <a:cubicBezTo>
                    <a:pt x="2708" y="3034"/>
                    <a:pt x="2911" y="3992"/>
                    <a:pt x="3419" y="3992"/>
                  </a:cubicBezTo>
                  <a:cubicBezTo>
                    <a:pt x="3523" y="3992"/>
                    <a:pt x="3640" y="3952"/>
                    <a:pt x="3771" y="3857"/>
                  </a:cubicBezTo>
                  <a:cubicBezTo>
                    <a:pt x="4555" y="3312"/>
                    <a:pt x="3422" y="2691"/>
                    <a:pt x="3357" y="2484"/>
                  </a:cubicBezTo>
                  <a:cubicBezTo>
                    <a:pt x="3302" y="2277"/>
                    <a:pt x="3520" y="2364"/>
                    <a:pt x="3902" y="2201"/>
                  </a:cubicBezTo>
                  <a:cubicBezTo>
                    <a:pt x="4294" y="2037"/>
                    <a:pt x="5209" y="1809"/>
                    <a:pt x="4752" y="1067"/>
                  </a:cubicBezTo>
                  <a:cubicBezTo>
                    <a:pt x="4609" y="833"/>
                    <a:pt x="4445" y="745"/>
                    <a:pt x="4280" y="745"/>
                  </a:cubicBezTo>
                  <a:cubicBezTo>
                    <a:pt x="3916" y="745"/>
                    <a:pt x="3547" y="1176"/>
                    <a:pt x="3389" y="1416"/>
                  </a:cubicBezTo>
                  <a:cubicBezTo>
                    <a:pt x="3269" y="1606"/>
                    <a:pt x="3112" y="1750"/>
                    <a:pt x="3019" y="1750"/>
                  </a:cubicBezTo>
                  <a:cubicBezTo>
                    <a:pt x="2936" y="1750"/>
                    <a:pt x="2904" y="1633"/>
                    <a:pt x="2997" y="1329"/>
                  </a:cubicBezTo>
                  <a:cubicBezTo>
                    <a:pt x="3163" y="777"/>
                    <a:pt x="2956" y="0"/>
                    <a:pt x="24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4" name="Google Shape;1284;p33"/>
            <p:cNvSpPr/>
            <p:nvPr/>
          </p:nvSpPr>
          <p:spPr>
            <a:xfrm>
              <a:off x="1552218" y="4577775"/>
              <a:ext cx="46575" cy="38525"/>
            </a:xfrm>
            <a:custGeom>
              <a:avLst/>
              <a:gdLst/>
              <a:ahLst/>
              <a:cxnLst/>
              <a:rect l="l" t="t" r="r" b="b"/>
              <a:pathLst>
                <a:path w="1863" h="1541" extrusionOk="0">
                  <a:moveTo>
                    <a:pt x="102" y="1"/>
                  </a:moveTo>
                  <a:cubicBezTo>
                    <a:pt x="83" y="1"/>
                    <a:pt x="64" y="1"/>
                    <a:pt x="44" y="1"/>
                  </a:cubicBezTo>
                  <a:cubicBezTo>
                    <a:pt x="44" y="1"/>
                    <a:pt x="0" y="1540"/>
                    <a:pt x="1291" y="1540"/>
                  </a:cubicBezTo>
                  <a:cubicBezTo>
                    <a:pt x="1442" y="1540"/>
                    <a:pt x="1610" y="1519"/>
                    <a:pt x="1799" y="1473"/>
                  </a:cubicBezTo>
                  <a:cubicBezTo>
                    <a:pt x="1799" y="1473"/>
                    <a:pt x="1863" y="1"/>
                    <a:pt x="10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5" name="Google Shape;1285;p33"/>
            <p:cNvSpPr/>
            <p:nvPr/>
          </p:nvSpPr>
          <p:spPr>
            <a:xfrm>
              <a:off x="1795518" y="4551125"/>
              <a:ext cx="130000" cy="103250"/>
            </a:xfrm>
            <a:custGeom>
              <a:avLst/>
              <a:gdLst/>
              <a:ahLst/>
              <a:cxnLst/>
              <a:rect l="l" t="t" r="r" b="b"/>
              <a:pathLst>
                <a:path w="5200" h="4130" extrusionOk="0">
                  <a:moveTo>
                    <a:pt x="2425" y="0"/>
                  </a:moveTo>
                  <a:cubicBezTo>
                    <a:pt x="2329" y="0"/>
                    <a:pt x="2221" y="27"/>
                    <a:pt x="2104" y="87"/>
                  </a:cubicBezTo>
                  <a:cubicBezTo>
                    <a:pt x="1363" y="479"/>
                    <a:pt x="2420" y="1819"/>
                    <a:pt x="2104" y="1841"/>
                  </a:cubicBezTo>
                  <a:cubicBezTo>
                    <a:pt x="2100" y="1842"/>
                    <a:pt x="2096" y="1842"/>
                    <a:pt x="2093" y="1842"/>
                  </a:cubicBezTo>
                  <a:cubicBezTo>
                    <a:pt x="1852" y="1842"/>
                    <a:pt x="1378" y="1106"/>
                    <a:pt x="938" y="1106"/>
                  </a:cubicBezTo>
                  <a:cubicBezTo>
                    <a:pt x="789" y="1106"/>
                    <a:pt x="644" y="1190"/>
                    <a:pt x="513" y="1416"/>
                  </a:cubicBezTo>
                  <a:cubicBezTo>
                    <a:pt x="1" y="2332"/>
                    <a:pt x="1821" y="2234"/>
                    <a:pt x="1755" y="2484"/>
                  </a:cubicBezTo>
                  <a:cubicBezTo>
                    <a:pt x="1690" y="2735"/>
                    <a:pt x="251" y="3214"/>
                    <a:pt x="905" y="3890"/>
                  </a:cubicBezTo>
                  <a:cubicBezTo>
                    <a:pt x="1068" y="4061"/>
                    <a:pt x="1231" y="4130"/>
                    <a:pt x="1383" y="4130"/>
                  </a:cubicBezTo>
                  <a:cubicBezTo>
                    <a:pt x="1840" y="4130"/>
                    <a:pt x="2202" y="3514"/>
                    <a:pt x="2202" y="3236"/>
                  </a:cubicBezTo>
                  <a:cubicBezTo>
                    <a:pt x="2202" y="2960"/>
                    <a:pt x="2311" y="2683"/>
                    <a:pt x="2435" y="2683"/>
                  </a:cubicBezTo>
                  <a:cubicBezTo>
                    <a:pt x="2477" y="2683"/>
                    <a:pt x="2520" y="2715"/>
                    <a:pt x="2562" y="2789"/>
                  </a:cubicBezTo>
                  <a:cubicBezTo>
                    <a:pt x="2697" y="3034"/>
                    <a:pt x="2901" y="3992"/>
                    <a:pt x="3415" y="3992"/>
                  </a:cubicBezTo>
                  <a:cubicBezTo>
                    <a:pt x="3520" y="3992"/>
                    <a:pt x="3638" y="3952"/>
                    <a:pt x="3771" y="3857"/>
                  </a:cubicBezTo>
                  <a:cubicBezTo>
                    <a:pt x="4545" y="3312"/>
                    <a:pt x="3412" y="2691"/>
                    <a:pt x="3346" y="2484"/>
                  </a:cubicBezTo>
                  <a:cubicBezTo>
                    <a:pt x="3292" y="2277"/>
                    <a:pt x="3510" y="2364"/>
                    <a:pt x="3902" y="2201"/>
                  </a:cubicBezTo>
                  <a:cubicBezTo>
                    <a:pt x="4284" y="2037"/>
                    <a:pt x="5199" y="1809"/>
                    <a:pt x="4741" y="1067"/>
                  </a:cubicBezTo>
                  <a:cubicBezTo>
                    <a:pt x="4599" y="833"/>
                    <a:pt x="4435" y="745"/>
                    <a:pt x="4270" y="745"/>
                  </a:cubicBezTo>
                  <a:cubicBezTo>
                    <a:pt x="3906" y="745"/>
                    <a:pt x="3537" y="1176"/>
                    <a:pt x="3379" y="1416"/>
                  </a:cubicBezTo>
                  <a:cubicBezTo>
                    <a:pt x="3259" y="1606"/>
                    <a:pt x="3102" y="1750"/>
                    <a:pt x="3009" y="1750"/>
                  </a:cubicBezTo>
                  <a:cubicBezTo>
                    <a:pt x="2926" y="1750"/>
                    <a:pt x="2894" y="1633"/>
                    <a:pt x="2987" y="1329"/>
                  </a:cubicBezTo>
                  <a:cubicBezTo>
                    <a:pt x="3152" y="777"/>
                    <a:pt x="2945" y="0"/>
                    <a:pt x="242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6" name="Google Shape;1286;p33"/>
            <p:cNvSpPr/>
            <p:nvPr/>
          </p:nvSpPr>
          <p:spPr>
            <a:xfrm>
              <a:off x="1742943" y="4577775"/>
              <a:ext cx="46575" cy="38525"/>
            </a:xfrm>
            <a:custGeom>
              <a:avLst/>
              <a:gdLst/>
              <a:ahLst/>
              <a:cxnLst/>
              <a:rect l="l" t="t" r="r" b="b"/>
              <a:pathLst>
                <a:path w="1863" h="1541" extrusionOk="0">
                  <a:moveTo>
                    <a:pt x="102" y="1"/>
                  </a:moveTo>
                  <a:cubicBezTo>
                    <a:pt x="83" y="1"/>
                    <a:pt x="63" y="1"/>
                    <a:pt x="44" y="1"/>
                  </a:cubicBezTo>
                  <a:cubicBezTo>
                    <a:pt x="44" y="1"/>
                    <a:pt x="0" y="1540"/>
                    <a:pt x="1299" y="1540"/>
                  </a:cubicBezTo>
                  <a:cubicBezTo>
                    <a:pt x="1450" y="1540"/>
                    <a:pt x="1620" y="1519"/>
                    <a:pt x="1809" y="1473"/>
                  </a:cubicBezTo>
                  <a:cubicBezTo>
                    <a:pt x="1809" y="1473"/>
                    <a:pt x="1863" y="1"/>
                    <a:pt x="10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7" name="Google Shape;1287;p33"/>
            <p:cNvSpPr/>
            <p:nvPr/>
          </p:nvSpPr>
          <p:spPr>
            <a:xfrm>
              <a:off x="1995768" y="4551125"/>
              <a:ext cx="130000" cy="103250"/>
            </a:xfrm>
            <a:custGeom>
              <a:avLst/>
              <a:gdLst/>
              <a:ahLst/>
              <a:cxnLst/>
              <a:rect l="l" t="t" r="r" b="b"/>
              <a:pathLst>
                <a:path w="5200" h="4130" extrusionOk="0">
                  <a:moveTo>
                    <a:pt x="2432" y="0"/>
                  </a:moveTo>
                  <a:cubicBezTo>
                    <a:pt x="2336" y="0"/>
                    <a:pt x="2231" y="27"/>
                    <a:pt x="2115" y="87"/>
                  </a:cubicBezTo>
                  <a:cubicBezTo>
                    <a:pt x="1363" y="479"/>
                    <a:pt x="2420" y="1819"/>
                    <a:pt x="2115" y="1841"/>
                  </a:cubicBezTo>
                  <a:cubicBezTo>
                    <a:pt x="2111" y="1842"/>
                    <a:pt x="2107" y="1842"/>
                    <a:pt x="2103" y="1842"/>
                  </a:cubicBezTo>
                  <a:cubicBezTo>
                    <a:pt x="1854" y="1842"/>
                    <a:pt x="1379" y="1106"/>
                    <a:pt x="943" y="1106"/>
                  </a:cubicBezTo>
                  <a:cubicBezTo>
                    <a:pt x="795" y="1106"/>
                    <a:pt x="652" y="1190"/>
                    <a:pt x="524" y="1416"/>
                  </a:cubicBezTo>
                  <a:cubicBezTo>
                    <a:pt x="1" y="2332"/>
                    <a:pt x="1821" y="2234"/>
                    <a:pt x="1755" y="2484"/>
                  </a:cubicBezTo>
                  <a:cubicBezTo>
                    <a:pt x="1690" y="2735"/>
                    <a:pt x="262" y="3214"/>
                    <a:pt x="905" y="3890"/>
                  </a:cubicBezTo>
                  <a:cubicBezTo>
                    <a:pt x="1069" y="4061"/>
                    <a:pt x="1232" y="4130"/>
                    <a:pt x="1385" y="4130"/>
                  </a:cubicBezTo>
                  <a:cubicBezTo>
                    <a:pt x="1845" y="4130"/>
                    <a:pt x="2213" y="3514"/>
                    <a:pt x="2213" y="3236"/>
                  </a:cubicBezTo>
                  <a:cubicBezTo>
                    <a:pt x="2213" y="2960"/>
                    <a:pt x="2322" y="2683"/>
                    <a:pt x="2446" y="2683"/>
                  </a:cubicBezTo>
                  <a:cubicBezTo>
                    <a:pt x="2488" y="2683"/>
                    <a:pt x="2531" y="2715"/>
                    <a:pt x="2573" y="2789"/>
                  </a:cubicBezTo>
                  <a:cubicBezTo>
                    <a:pt x="2699" y="3034"/>
                    <a:pt x="2901" y="3992"/>
                    <a:pt x="3415" y="3992"/>
                  </a:cubicBezTo>
                  <a:cubicBezTo>
                    <a:pt x="3520" y="3992"/>
                    <a:pt x="3638" y="3952"/>
                    <a:pt x="3772" y="3857"/>
                  </a:cubicBezTo>
                  <a:cubicBezTo>
                    <a:pt x="4556" y="3312"/>
                    <a:pt x="3412" y="2691"/>
                    <a:pt x="3357" y="2484"/>
                  </a:cubicBezTo>
                  <a:cubicBezTo>
                    <a:pt x="3292" y="2277"/>
                    <a:pt x="3510" y="2364"/>
                    <a:pt x="3902" y="2201"/>
                  </a:cubicBezTo>
                  <a:cubicBezTo>
                    <a:pt x="4295" y="2037"/>
                    <a:pt x="5199" y="1809"/>
                    <a:pt x="4742" y="1067"/>
                  </a:cubicBezTo>
                  <a:cubicBezTo>
                    <a:pt x="4602" y="833"/>
                    <a:pt x="4440" y="745"/>
                    <a:pt x="4275" y="745"/>
                  </a:cubicBezTo>
                  <a:cubicBezTo>
                    <a:pt x="3911" y="745"/>
                    <a:pt x="3537" y="1176"/>
                    <a:pt x="3379" y="1416"/>
                  </a:cubicBezTo>
                  <a:cubicBezTo>
                    <a:pt x="3259" y="1606"/>
                    <a:pt x="3102" y="1750"/>
                    <a:pt x="3009" y="1750"/>
                  </a:cubicBezTo>
                  <a:cubicBezTo>
                    <a:pt x="2926" y="1750"/>
                    <a:pt x="2894" y="1633"/>
                    <a:pt x="2987" y="1329"/>
                  </a:cubicBezTo>
                  <a:cubicBezTo>
                    <a:pt x="3152" y="777"/>
                    <a:pt x="2946" y="0"/>
                    <a:pt x="243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8" name="Google Shape;1288;p33"/>
            <p:cNvSpPr/>
            <p:nvPr/>
          </p:nvSpPr>
          <p:spPr>
            <a:xfrm>
              <a:off x="1943243" y="4577775"/>
              <a:ext cx="46800" cy="38525"/>
            </a:xfrm>
            <a:custGeom>
              <a:avLst/>
              <a:gdLst/>
              <a:ahLst/>
              <a:cxnLst/>
              <a:rect l="l" t="t" r="r" b="b"/>
              <a:pathLst>
                <a:path w="1872" h="1541" extrusionOk="0">
                  <a:moveTo>
                    <a:pt x="111" y="1"/>
                  </a:moveTo>
                  <a:cubicBezTo>
                    <a:pt x="92" y="1"/>
                    <a:pt x="73" y="1"/>
                    <a:pt x="53" y="1"/>
                  </a:cubicBezTo>
                  <a:cubicBezTo>
                    <a:pt x="53" y="1"/>
                    <a:pt x="1" y="1540"/>
                    <a:pt x="1297" y="1540"/>
                  </a:cubicBezTo>
                  <a:cubicBezTo>
                    <a:pt x="1448" y="1540"/>
                    <a:pt x="1618" y="1519"/>
                    <a:pt x="1808" y="1473"/>
                  </a:cubicBezTo>
                  <a:cubicBezTo>
                    <a:pt x="1808" y="1473"/>
                    <a:pt x="1872" y="1"/>
                    <a:pt x="11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9" name="Google Shape;1289;p33"/>
            <p:cNvSpPr/>
            <p:nvPr/>
          </p:nvSpPr>
          <p:spPr>
            <a:xfrm>
              <a:off x="2143768" y="4577775"/>
              <a:ext cx="46800" cy="38525"/>
            </a:xfrm>
            <a:custGeom>
              <a:avLst/>
              <a:gdLst/>
              <a:ahLst/>
              <a:cxnLst/>
              <a:rect l="l" t="t" r="r" b="b"/>
              <a:pathLst>
                <a:path w="1872" h="1541" extrusionOk="0">
                  <a:moveTo>
                    <a:pt x="111" y="1"/>
                  </a:moveTo>
                  <a:cubicBezTo>
                    <a:pt x="92" y="1"/>
                    <a:pt x="73" y="1"/>
                    <a:pt x="53" y="1"/>
                  </a:cubicBezTo>
                  <a:cubicBezTo>
                    <a:pt x="53" y="1"/>
                    <a:pt x="1" y="1540"/>
                    <a:pt x="1297" y="1540"/>
                  </a:cubicBezTo>
                  <a:cubicBezTo>
                    <a:pt x="1448" y="1540"/>
                    <a:pt x="1618" y="1519"/>
                    <a:pt x="1808" y="1473"/>
                  </a:cubicBezTo>
                  <a:cubicBezTo>
                    <a:pt x="1808" y="1473"/>
                    <a:pt x="1872" y="1"/>
                    <a:pt x="11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290" name="Google Shape;1290;p33"/>
          <p:cNvGrpSpPr/>
          <p:nvPr/>
        </p:nvGrpSpPr>
        <p:grpSpPr>
          <a:xfrm flipH="1">
            <a:off x="1481495" y="904700"/>
            <a:ext cx="9590413" cy="4739200"/>
            <a:chOff x="1140150" y="754725"/>
            <a:chExt cx="7192810" cy="3554400"/>
          </a:xfrm>
        </p:grpSpPr>
        <p:sp>
          <p:nvSpPr>
            <p:cNvPr id="1291" name="Google Shape;1291;p33"/>
            <p:cNvSpPr/>
            <p:nvPr/>
          </p:nvSpPr>
          <p:spPr>
            <a:xfrm rot="10800000">
              <a:off x="1140150" y="754725"/>
              <a:ext cx="7137900" cy="35544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92" name="Google Shape;1292;p33"/>
            <p:cNvSpPr/>
            <p:nvPr/>
          </p:nvSpPr>
          <p:spPr>
            <a:xfrm rot="5400000">
              <a:off x="8177560" y="1012833"/>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93" name="Google Shape;1293;p33"/>
            <p:cNvSpPr/>
            <p:nvPr/>
          </p:nvSpPr>
          <p:spPr>
            <a:xfrm rot="5400000">
              <a:off x="8177560" y="1424658"/>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94" name="Google Shape;1294;p33"/>
            <p:cNvSpPr/>
            <p:nvPr/>
          </p:nvSpPr>
          <p:spPr>
            <a:xfrm rot="5400000">
              <a:off x="8177560" y="1836483"/>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95" name="Google Shape;1295;p33"/>
            <p:cNvSpPr/>
            <p:nvPr/>
          </p:nvSpPr>
          <p:spPr>
            <a:xfrm rot="5400000">
              <a:off x="8177560" y="2248308"/>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96" name="Google Shape;1296;p33"/>
            <p:cNvSpPr/>
            <p:nvPr/>
          </p:nvSpPr>
          <p:spPr>
            <a:xfrm rot="5400000">
              <a:off x="8177560" y="2660133"/>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97" name="Google Shape;1297;p33"/>
            <p:cNvSpPr/>
            <p:nvPr/>
          </p:nvSpPr>
          <p:spPr>
            <a:xfrm rot="5400000">
              <a:off x="8177560" y="3071958"/>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98" name="Google Shape;1298;p33"/>
            <p:cNvSpPr/>
            <p:nvPr/>
          </p:nvSpPr>
          <p:spPr>
            <a:xfrm rot="5400000">
              <a:off x="8177560" y="3483783"/>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99" name="Google Shape;1299;p33"/>
            <p:cNvSpPr/>
            <p:nvPr/>
          </p:nvSpPr>
          <p:spPr>
            <a:xfrm rot="5400000">
              <a:off x="8177560" y="3895608"/>
              <a:ext cx="155400" cy="155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334421013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only" type="titleOnly">
  <p:cSld name="Title only">
    <p:bg>
      <p:bgPr>
        <a:solidFill>
          <a:schemeClr val="accent3"/>
        </a:solidFill>
        <a:effectLst/>
      </p:bgPr>
    </p:bg>
    <p:spTree>
      <p:nvGrpSpPr>
        <p:cNvPr id="1" name="Shape 161"/>
        <p:cNvGrpSpPr/>
        <p:nvPr/>
      </p:nvGrpSpPr>
      <p:grpSpPr>
        <a:xfrm>
          <a:off x="0" y="0"/>
          <a:ext cx="0" cy="0"/>
          <a:chOff x="0" y="0"/>
          <a:chExt cx="0" cy="0"/>
        </a:xfrm>
      </p:grpSpPr>
      <p:grpSp>
        <p:nvGrpSpPr>
          <p:cNvPr id="162" name="Google Shape;162;p6"/>
          <p:cNvGrpSpPr/>
          <p:nvPr/>
        </p:nvGrpSpPr>
        <p:grpSpPr>
          <a:xfrm>
            <a:off x="-1135833" y="365100"/>
            <a:ext cx="12962600" cy="6148800"/>
            <a:chOff x="-851875" y="273825"/>
            <a:chExt cx="9721950" cy="4611600"/>
          </a:xfrm>
        </p:grpSpPr>
        <p:sp>
          <p:nvSpPr>
            <p:cNvPr id="163" name="Google Shape;163;p6"/>
            <p:cNvSpPr/>
            <p:nvPr/>
          </p:nvSpPr>
          <p:spPr>
            <a:xfrm>
              <a:off x="341975" y="273825"/>
              <a:ext cx="8528100" cy="4611600"/>
            </a:xfrm>
            <a:prstGeom prst="roundRect">
              <a:avLst>
                <a:gd name="adj" fmla="val 4554"/>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4" name="Google Shape;164;p6"/>
            <p:cNvSpPr/>
            <p:nvPr/>
          </p:nvSpPr>
          <p:spPr>
            <a:xfrm>
              <a:off x="-851875" y="273825"/>
              <a:ext cx="1153200" cy="4611600"/>
            </a:xfrm>
            <a:prstGeom prst="roundRect">
              <a:avLst>
                <a:gd name="adj" fmla="val 22757"/>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165" name="Google Shape;165;p6"/>
            <p:cNvGrpSpPr/>
            <p:nvPr/>
          </p:nvGrpSpPr>
          <p:grpSpPr>
            <a:xfrm>
              <a:off x="81691" y="785819"/>
              <a:ext cx="155400" cy="3538775"/>
              <a:chOff x="435991" y="785819"/>
              <a:chExt cx="155400" cy="3538775"/>
            </a:xfrm>
          </p:grpSpPr>
          <p:sp>
            <p:nvSpPr>
              <p:cNvPr id="166" name="Google Shape;166;p6"/>
              <p:cNvSpPr/>
              <p:nvPr/>
            </p:nvSpPr>
            <p:spPr>
              <a:xfrm>
                <a:off x="435991" y="7858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7" name="Google Shape;167;p6"/>
              <p:cNvSpPr/>
              <p:nvPr/>
            </p:nvSpPr>
            <p:spPr>
              <a:xfrm>
                <a:off x="435991" y="12662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8" name="Google Shape;168;p6"/>
              <p:cNvSpPr/>
              <p:nvPr/>
            </p:nvSpPr>
            <p:spPr>
              <a:xfrm>
                <a:off x="435991" y="17466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9" name="Google Shape;169;p6"/>
              <p:cNvSpPr/>
              <p:nvPr/>
            </p:nvSpPr>
            <p:spPr>
              <a:xfrm>
                <a:off x="435991" y="22474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0" name="Google Shape;170;p6"/>
              <p:cNvSpPr/>
              <p:nvPr/>
            </p:nvSpPr>
            <p:spPr>
              <a:xfrm>
                <a:off x="435991" y="27075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1" name="Google Shape;171;p6"/>
              <p:cNvSpPr/>
              <p:nvPr/>
            </p:nvSpPr>
            <p:spPr>
              <a:xfrm>
                <a:off x="435991" y="31879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2" name="Google Shape;172;p6"/>
              <p:cNvSpPr/>
              <p:nvPr/>
            </p:nvSpPr>
            <p:spPr>
              <a:xfrm>
                <a:off x="435991" y="36683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3" name="Google Shape;173;p6"/>
              <p:cNvSpPr/>
              <p:nvPr/>
            </p:nvSpPr>
            <p:spPr>
              <a:xfrm>
                <a:off x="435991" y="41691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74" name="Google Shape;174;p6"/>
            <p:cNvGrpSpPr/>
            <p:nvPr/>
          </p:nvGrpSpPr>
          <p:grpSpPr>
            <a:xfrm>
              <a:off x="435991" y="785819"/>
              <a:ext cx="155400" cy="3538775"/>
              <a:chOff x="435991" y="785819"/>
              <a:chExt cx="155400" cy="3538775"/>
            </a:xfrm>
          </p:grpSpPr>
          <p:sp>
            <p:nvSpPr>
              <p:cNvPr id="175" name="Google Shape;175;p6"/>
              <p:cNvSpPr/>
              <p:nvPr/>
            </p:nvSpPr>
            <p:spPr>
              <a:xfrm>
                <a:off x="435991" y="7858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6" name="Google Shape;176;p6"/>
              <p:cNvSpPr/>
              <p:nvPr/>
            </p:nvSpPr>
            <p:spPr>
              <a:xfrm>
                <a:off x="435991" y="12662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7" name="Google Shape;177;p6"/>
              <p:cNvSpPr/>
              <p:nvPr/>
            </p:nvSpPr>
            <p:spPr>
              <a:xfrm>
                <a:off x="435991" y="17466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8" name="Google Shape;178;p6"/>
              <p:cNvSpPr/>
              <p:nvPr/>
            </p:nvSpPr>
            <p:spPr>
              <a:xfrm>
                <a:off x="435991" y="22474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9" name="Google Shape;179;p6"/>
              <p:cNvSpPr/>
              <p:nvPr/>
            </p:nvSpPr>
            <p:spPr>
              <a:xfrm>
                <a:off x="435991" y="270751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0" name="Google Shape;180;p6"/>
              <p:cNvSpPr/>
              <p:nvPr/>
            </p:nvSpPr>
            <p:spPr>
              <a:xfrm>
                <a:off x="435991" y="318794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1" name="Google Shape;181;p6"/>
              <p:cNvSpPr/>
              <p:nvPr/>
            </p:nvSpPr>
            <p:spPr>
              <a:xfrm>
                <a:off x="435991" y="3668369"/>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2" name="Google Shape;182;p6"/>
              <p:cNvSpPr/>
              <p:nvPr/>
            </p:nvSpPr>
            <p:spPr>
              <a:xfrm>
                <a:off x="435991" y="4169194"/>
                <a:ext cx="155400" cy="1554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83" name="Google Shape;183;p6"/>
            <p:cNvGrpSpPr/>
            <p:nvPr/>
          </p:nvGrpSpPr>
          <p:grpSpPr>
            <a:xfrm>
              <a:off x="161500" y="826619"/>
              <a:ext cx="352200" cy="3457175"/>
              <a:chOff x="161500" y="826619"/>
              <a:chExt cx="352200" cy="3457175"/>
            </a:xfrm>
          </p:grpSpPr>
          <p:sp>
            <p:nvSpPr>
              <p:cNvPr id="184" name="Google Shape;184;p6"/>
              <p:cNvSpPr/>
              <p:nvPr/>
            </p:nvSpPr>
            <p:spPr>
              <a:xfrm>
                <a:off x="161500" y="228829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5" name="Google Shape;185;p6"/>
              <p:cNvSpPr/>
              <p:nvPr/>
            </p:nvSpPr>
            <p:spPr>
              <a:xfrm>
                <a:off x="161500" y="274831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6" name="Google Shape;186;p6"/>
              <p:cNvSpPr/>
              <p:nvPr/>
            </p:nvSpPr>
            <p:spPr>
              <a:xfrm>
                <a:off x="161500" y="322874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7" name="Google Shape;187;p6"/>
              <p:cNvSpPr/>
              <p:nvPr/>
            </p:nvSpPr>
            <p:spPr>
              <a:xfrm>
                <a:off x="161500" y="370916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8" name="Google Shape;188;p6"/>
              <p:cNvSpPr/>
              <p:nvPr/>
            </p:nvSpPr>
            <p:spPr>
              <a:xfrm>
                <a:off x="161500" y="420999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9" name="Google Shape;189;p6"/>
              <p:cNvSpPr/>
              <p:nvPr/>
            </p:nvSpPr>
            <p:spPr>
              <a:xfrm>
                <a:off x="161500" y="178746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0" name="Google Shape;190;p6"/>
              <p:cNvSpPr/>
              <p:nvPr/>
            </p:nvSpPr>
            <p:spPr>
              <a:xfrm>
                <a:off x="161500" y="1307044"/>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1" name="Google Shape;191;p6"/>
              <p:cNvSpPr/>
              <p:nvPr/>
            </p:nvSpPr>
            <p:spPr>
              <a:xfrm>
                <a:off x="161500" y="826619"/>
                <a:ext cx="352200" cy="738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cxnSp>
          <p:nvCxnSpPr>
            <p:cNvPr id="192" name="Google Shape;192;p6"/>
            <p:cNvCxnSpPr/>
            <p:nvPr/>
          </p:nvCxnSpPr>
          <p:spPr>
            <a:xfrm>
              <a:off x="843750" y="288625"/>
              <a:ext cx="0" cy="4588500"/>
            </a:xfrm>
            <a:prstGeom prst="straightConnector1">
              <a:avLst/>
            </a:prstGeom>
            <a:noFill/>
            <a:ln w="19050" cap="rnd" cmpd="sng">
              <a:solidFill>
                <a:schemeClr val="accent1"/>
              </a:solidFill>
              <a:prstDash val="dot"/>
              <a:round/>
              <a:headEnd type="none" w="med" len="med"/>
              <a:tailEnd type="none" w="med" len="med"/>
            </a:ln>
          </p:spPr>
        </p:cxnSp>
      </p:grpSp>
      <p:sp>
        <p:nvSpPr>
          <p:cNvPr id="193" name="Google Shape;193;p6"/>
          <p:cNvSpPr txBox="1">
            <a:spLocks noGrp="1"/>
          </p:cNvSpPr>
          <p:nvPr>
            <p:ph type="title"/>
          </p:nvPr>
        </p:nvSpPr>
        <p:spPr>
          <a:xfrm>
            <a:off x="1299467" y="716000"/>
            <a:ext cx="9942000" cy="487600"/>
          </a:xfrm>
          <a:prstGeom prst="rect">
            <a:avLst/>
          </a:prstGeom>
        </p:spPr>
        <p:txBody>
          <a:bodyPr spcFirstLastPara="1" wrap="square" lIns="91425" tIns="91425" rIns="91425" bIns="91425" anchor="ctr" anchorCtr="0">
            <a:noAutofit/>
          </a:bodyPr>
          <a:lstStyle>
            <a:lvl1pPr lvl="0" algn="ctr">
              <a:spcBef>
                <a:spcPts val="0"/>
              </a:spcBef>
              <a:spcAft>
                <a:spcPts val="0"/>
              </a:spcAft>
              <a:buSzPts val="3200"/>
              <a:buNone/>
              <a:defRPr>
                <a:solidFill>
                  <a:schemeClr val="accent1"/>
                </a:solidFill>
              </a:defRPr>
            </a:lvl1pPr>
            <a:lvl2pPr lvl="1">
              <a:spcBef>
                <a:spcPts val="0"/>
              </a:spcBef>
              <a:spcAft>
                <a:spcPts val="0"/>
              </a:spcAft>
              <a:buSzPts val="3200"/>
              <a:buNone/>
              <a:defRPr/>
            </a:lvl2pPr>
            <a:lvl3pPr lvl="2">
              <a:spcBef>
                <a:spcPts val="0"/>
              </a:spcBef>
              <a:spcAft>
                <a:spcPts val="0"/>
              </a:spcAft>
              <a:buSzPts val="3200"/>
              <a:buNone/>
              <a:defRPr/>
            </a:lvl3pPr>
            <a:lvl4pPr lvl="3">
              <a:spcBef>
                <a:spcPts val="0"/>
              </a:spcBef>
              <a:spcAft>
                <a:spcPts val="0"/>
              </a:spcAft>
              <a:buSzPts val="3200"/>
              <a:buNone/>
              <a:defRPr/>
            </a:lvl4pPr>
            <a:lvl5pPr lvl="4">
              <a:spcBef>
                <a:spcPts val="0"/>
              </a:spcBef>
              <a:spcAft>
                <a:spcPts val="0"/>
              </a:spcAft>
              <a:buSzPts val="3200"/>
              <a:buNone/>
              <a:defRPr/>
            </a:lvl5pPr>
            <a:lvl6pPr lvl="5">
              <a:spcBef>
                <a:spcPts val="0"/>
              </a:spcBef>
              <a:spcAft>
                <a:spcPts val="0"/>
              </a:spcAft>
              <a:buSzPts val="3200"/>
              <a:buNone/>
              <a:defRPr/>
            </a:lvl6pPr>
            <a:lvl7pPr lvl="6">
              <a:spcBef>
                <a:spcPts val="0"/>
              </a:spcBef>
              <a:spcAft>
                <a:spcPts val="0"/>
              </a:spcAft>
              <a:buSzPts val="3200"/>
              <a:buNone/>
              <a:defRPr/>
            </a:lvl7pPr>
            <a:lvl8pPr lvl="7">
              <a:spcBef>
                <a:spcPts val="0"/>
              </a:spcBef>
              <a:spcAft>
                <a:spcPts val="0"/>
              </a:spcAft>
              <a:buSzPts val="3200"/>
              <a:buNone/>
              <a:defRPr/>
            </a:lvl8pPr>
            <a:lvl9pPr lvl="8">
              <a:spcBef>
                <a:spcPts val="0"/>
              </a:spcBef>
              <a:spcAft>
                <a:spcPts val="0"/>
              </a:spcAft>
              <a:buSzPts val="3200"/>
              <a:buNone/>
              <a:defRPr/>
            </a:lvl9pPr>
          </a:lstStyle>
          <a:p>
            <a:endParaRPr/>
          </a:p>
        </p:txBody>
      </p:sp>
      <p:sp>
        <p:nvSpPr>
          <p:cNvPr id="194" name="Google Shape;194;p6"/>
          <p:cNvSpPr/>
          <p:nvPr/>
        </p:nvSpPr>
        <p:spPr>
          <a:xfrm flipH="1">
            <a:off x="1402747" y="1584400"/>
            <a:ext cx="9749600" cy="4673200"/>
          </a:xfrm>
          <a:prstGeom prst="rect">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5" name="Google Shape;195;p6"/>
          <p:cNvSpPr/>
          <p:nvPr/>
        </p:nvSpPr>
        <p:spPr>
          <a:xfrm rot="10800000" flipH="1">
            <a:off x="3153896" y="1524753"/>
            <a:ext cx="207200" cy="207200"/>
          </a:xfrm>
          <a:prstGeom prst="ellipse">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6" name="Google Shape;196;p6"/>
          <p:cNvSpPr/>
          <p:nvPr/>
        </p:nvSpPr>
        <p:spPr>
          <a:xfrm rot="10800000" flipH="1">
            <a:off x="3702996" y="1524753"/>
            <a:ext cx="207200" cy="207200"/>
          </a:xfrm>
          <a:prstGeom prst="ellipse">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7" name="Google Shape;197;p6"/>
          <p:cNvSpPr/>
          <p:nvPr/>
        </p:nvSpPr>
        <p:spPr>
          <a:xfrm rot="10800000" flipH="1">
            <a:off x="4252096" y="1524753"/>
            <a:ext cx="207200" cy="207200"/>
          </a:xfrm>
          <a:prstGeom prst="ellipse">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8" name="Google Shape;198;p6"/>
          <p:cNvSpPr/>
          <p:nvPr/>
        </p:nvSpPr>
        <p:spPr>
          <a:xfrm rot="10800000" flipH="1">
            <a:off x="4801196" y="1524753"/>
            <a:ext cx="207200" cy="207200"/>
          </a:xfrm>
          <a:prstGeom prst="ellipse">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9" name="Google Shape;199;p6"/>
          <p:cNvSpPr/>
          <p:nvPr/>
        </p:nvSpPr>
        <p:spPr>
          <a:xfrm rot="10800000" flipH="1">
            <a:off x="5350296" y="1524753"/>
            <a:ext cx="207200" cy="207200"/>
          </a:xfrm>
          <a:prstGeom prst="ellipse">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00" name="Google Shape;200;p6"/>
          <p:cNvSpPr/>
          <p:nvPr/>
        </p:nvSpPr>
        <p:spPr>
          <a:xfrm rot="10800000" flipH="1">
            <a:off x="5899396" y="1524753"/>
            <a:ext cx="207200" cy="207200"/>
          </a:xfrm>
          <a:prstGeom prst="ellipse">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01" name="Google Shape;201;p6"/>
          <p:cNvSpPr/>
          <p:nvPr/>
        </p:nvSpPr>
        <p:spPr>
          <a:xfrm rot="10800000" flipH="1">
            <a:off x="6448496" y="1524753"/>
            <a:ext cx="207200" cy="207200"/>
          </a:xfrm>
          <a:prstGeom prst="ellipse">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02" name="Google Shape;202;p6"/>
          <p:cNvSpPr/>
          <p:nvPr/>
        </p:nvSpPr>
        <p:spPr>
          <a:xfrm rot="10800000" flipH="1">
            <a:off x="6997596" y="1524753"/>
            <a:ext cx="207200" cy="207200"/>
          </a:xfrm>
          <a:prstGeom prst="ellipse">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03" name="Google Shape;203;p6"/>
          <p:cNvSpPr/>
          <p:nvPr/>
        </p:nvSpPr>
        <p:spPr>
          <a:xfrm rot="10800000" flipH="1">
            <a:off x="7546696" y="1524753"/>
            <a:ext cx="207200" cy="207200"/>
          </a:xfrm>
          <a:prstGeom prst="ellipse">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04" name="Google Shape;204;p6"/>
          <p:cNvSpPr/>
          <p:nvPr/>
        </p:nvSpPr>
        <p:spPr>
          <a:xfrm rot="10800000" flipH="1">
            <a:off x="8095796" y="1524753"/>
            <a:ext cx="207200" cy="207200"/>
          </a:xfrm>
          <a:prstGeom prst="ellipse">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05" name="Google Shape;205;p6"/>
          <p:cNvSpPr/>
          <p:nvPr/>
        </p:nvSpPr>
        <p:spPr>
          <a:xfrm rot="10800000" flipH="1">
            <a:off x="8644896" y="1524753"/>
            <a:ext cx="207200" cy="207200"/>
          </a:xfrm>
          <a:prstGeom prst="ellipse">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06" name="Google Shape;206;p6"/>
          <p:cNvSpPr/>
          <p:nvPr/>
        </p:nvSpPr>
        <p:spPr>
          <a:xfrm rot="10800000" flipH="1">
            <a:off x="2604796" y="1524753"/>
            <a:ext cx="207200" cy="207200"/>
          </a:xfrm>
          <a:prstGeom prst="ellipse">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07" name="Google Shape;207;p6"/>
          <p:cNvSpPr/>
          <p:nvPr/>
        </p:nvSpPr>
        <p:spPr>
          <a:xfrm rot="10800000" flipH="1">
            <a:off x="9193996" y="1524753"/>
            <a:ext cx="207200" cy="207200"/>
          </a:xfrm>
          <a:prstGeom prst="ellipse">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08" name="Google Shape;208;p6"/>
          <p:cNvSpPr/>
          <p:nvPr/>
        </p:nvSpPr>
        <p:spPr>
          <a:xfrm rot="10800000" flipH="1">
            <a:off x="2055696" y="1524753"/>
            <a:ext cx="207200" cy="207200"/>
          </a:xfrm>
          <a:prstGeom prst="ellipse">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09" name="Google Shape;209;p6"/>
          <p:cNvSpPr/>
          <p:nvPr/>
        </p:nvSpPr>
        <p:spPr>
          <a:xfrm rot="10800000" flipH="1">
            <a:off x="9743096" y="1524753"/>
            <a:ext cx="207200" cy="207200"/>
          </a:xfrm>
          <a:prstGeom prst="ellipse">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10" name="Google Shape;210;p6"/>
          <p:cNvSpPr/>
          <p:nvPr/>
        </p:nvSpPr>
        <p:spPr>
          <a:xfrm rot="10800000" flipH="1">
            <a:off x="10292196" y="1524753"/>
            <a:ext cx="207200" cy="207200"/>
          </a:xfrm>
          <a:prstGeom prst="ellipse">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19259661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44A63A4E-F370-4E43-88DF-FF35117A42C8}" type="datetimeFigureOut">
              <a:rPr lang="zh-CN" altLang="en-US" smtClean="0"/>
              <a:t>2024/3/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39E3902-3291-4BB3-9961-88462FB34554}" type="slidenum">
              <a:rPr lang="zh-CN" altLang="en-US" smtClean="0"/>
              <a:t>‹#›</a:t>
            </a:fld>
            <a:endParaRPr lang="zh-CN" altLang="en-US"/>
          </a:p>
        </p:txBody>
      </p:sp>
    </p:spTree>
    <p:extLst>
      <p:ext uri="{BB962C8B-B14F-4D97-AF65-F5344CB8AC3E}">
        <p14:creationId xmlns:p14="http://schemas.microsoft.com/office/powerpoint/2010/main" val="18874374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jp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1.jpg"/><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tags" Target="../tags/tag2.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tags" Target="../tags/tag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image" Target="../media/image2.jpeg"/><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tags" Target="../tags/tag4.xml"/><Relationship Id="rId10" Type="http://schemas.openxmlformats.org/officeDocument/2006/relationships/slideLayout" Target="../slideLayouts/slideLayout65.xml"/><Relationship Id="rId19" Type="http://schemas.openxmlformats.org/officeDocument/2006/relationships/theme" Target="../theme/theme6.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tags" Target="../tags/tag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10" Type="http://schemas.openxmlformats.org/officeDocument/2006/relationships/theme" Target="../theme/theme7.xml"/><Relationship Id="rId4" Type="http://schemas.openxmlformats.org/officeDocument/2006/relationships/slideLayout" Target="../slideLayouts/slideLayout77.xml"/><Relationship Id="rId9"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4A63A4E-F370-4E43-88DF-FF35117A42C8}" type="datetimeFigureOut">
              <a:rPr lang="zh-CN" altLang="en-US" smtClean="0"/>
              <a:t>2024/3/7</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39E3902-3291-4BB3-9961-88462FB34554}" type="slidenum">
              <a:rPr lang="zh-CN" altLang="en-US" smtClean="0"/>
              <a:t>‹#›</a:t>
            </a:fld>
            <a:endParaRPr lang="zh-CN" altLang="en-US"/>
          </a:p>
        </p:txBody>
      </p:sp>
    </p:spTree>
    <p:extLst>
      <p:ext uri="{BB962C8B-B14F-4D97-AF65-F5344CB8AC3E}">
        <p14:creationId xmlns:p14="http://schemas.microsoft.com/office/powerpoint/2010/main" val="27718292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3/7/2024</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00301592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t="-17000" b="-17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3/7/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
        <p:nvSpPr>
          <p:cNvPr id="7" name="9Slide.vn - 2019">
            <a:extLst>
              <a:ext uri="{FF2B5EF4-FFF2-40B4-BE49-F238E27FC236}">
                <a16:creationId xmlns:a16="http://schemas.microsoft.com/office/drawing/2014/main" id="{9DA39F31-CECD-4A62-8ED3-2A87A7E182B8}"/>
              </a:ext>
            </a:extLst>
          </p:cNvPr>
          <p:cNvSpPr txBox="1"/>
          <p:nvPr userDrawn="1"/>
        </p:nvSpPr>
        <p:spPr>
          <a:xfrm>
            <a:off x="0" y="-1604665"/>
            <a:ext cx="12192000" cy="461665"/>
          </a:xfrm>
          <a:prstGeom prst="rect">
            <a:avLst/>
          </a:prstGeom>
          <a:noFill/>
        </p:spPr>
        <p:txBody>
          <a:bodyPr vert="horz" rtlCol="0">
            <a:spAutoFit/>
          </a:bodyPr>
          <a:lstStyle/>
          <a:p>
            <a:pPr algn="ctr"/>
            <a:r>
              <a:rPr lang="en-US" sz="2400">
                <a:solidFill>
                  <a:srgbClr val="CFCFCF"/>
                </a:solidFill>
              </a:rPr>
              <a:t>www.9slide.vn</a:t>
            </a:r>
          </a:p>
        </p:txBody>
      </p:sp>
    </p:spTree>
    <p:extLst>
      <p:ext uri="{BB962C8B-B14F-4D97-AF65-F5344CB8AC3E}">
        <p14:creationId xmlns:p14="http://schemas.microsoft.com/office/powerpoint/2010/main" val="387369151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104591-A10E-46C3-952B-F25DCBDAD1BC}"/>
              </a:ext>
            </a:extLst>
          </p:cNvPr>
          <p:cNvSpPr>
            <a:spLocks noGrp="1"/>
          </p:cNvSpPr>
          <p:nvPr>
            <p:ph type="title"/>
          </p:nvPr>
        </p:nvSpPr>
        <p:spPr>
          <a:xfrm>
            <a:off x="1219200" y="365125"/>
            <a:ext cx="9493249" cy="1577975"/>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a:extLst>
              <a:ext uri="{FF2B5EF4-FFF2-40B4-BE49-F238E27FC236}">
                <a16:creationId xmlns:a16="http://schemas.microsoft.com/office/drawing/2014/main" id="{E1F77F62-7300-4B81-8F9B-D040A0EE1797}"/>
              </a:ext>
            </a:extLst>
          </p:cNvPr>
          <p:cNvSpPr>
            <a:spLocks noGrp="1"/>
          </p:cNvSpPr>
          <p:nvPr>
            <p:ph type="body" idx="1"/>
          </p:nvPr>
        </p:nvSpPr>
        <p:spPr>
          <a:xfrm>
            <a:off x="1219200" y="2318032"/>
            <a:ext cx="9493250" cy="400656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B6252CF0-2C7E-4A4C-BD7E-B7CEFF0DC458}"/>
              </a:ext>
            </a:extLst>
          </p:cNvPr>
          <p:cNvSpPr>
            <a:spLocks noGrp="1"/>
          </p:cNvSpPr>
          <p:nvPr>
            <p:ph type="dt" sz="half" idx="2"/>
          </p:nvPr>
        </p:nvSpPr>
        <p:spPr>
          <a:xfrm>
            <a:off x="8362630" y="6356349"/>
            <a:ext cx="3063890" cy="365125"/>
          </a:xfrm>
          <a:prstGeom prst="rect">
            <a:avLst/>
          </a:prstGeom>
        </p:spPr>
        <p:txBody>
          <a:bodyPr vert="horz" lIns="91440" tIns="45720" rIns="91440" bIns="45720" rtlCol="0" anchor="ctr"/>
          <a:lstStyle>
            <a:lvl1pPr algn="r">
              <a:defRPr sz="1100">
                <a:solidFill>
                  <a:schemeClr val="tx1"/>
                </a:solidFill>
              </a:defRPr>
            </a:lvl1pPr>
          </a:lstStyle>
          <a:p>
            <a:fld id="{8C1E1FAD-7351-4908-963A-08EA8E4AB7A0}" type="datetimeFigureOut">
              <a:rPr lang="en-US" smtClean="0"/>
              <a:pPr/>
              <a:t>3/7/2024</a:t>
            </a:fld>
            <a:endParaRPr lang="en-US" dirty="0"/>
          </a:p>
        </p:txBody>
      </p:sp>
      <p:sp>
        <p:nvSpPr>
          <p:cNvPr id="5" name="Footer Placeholder 4">
            <a:extLst>
              <a:ext uri="{FF2B5EF4-FFF2-40B4-BE49-F238E27FC236}">
                <a16:creationId xmlns:a16="http://schemas.microsoft.com/office/drawing/2014/main" id="{D2B49E98-61B4-4398-B18F-534336EA1747}"/>
              </a:ext>
            </a:extLst>
          </p:cNvPr>
          <p:cNvSpPr>
            <a:spLocks noGrp="1"/>
          </p:cNvSpPr>
          <p:nvPr>
            <p:ph type="ftr" sz="quarter" idx="3"/>
          </p:nvPr>
        </p:nvSpPr>
        <p:spPr>
          <a:xfrm rot="5400000">
            <a:off x="10099372" y="4308656"/>
            <a:ext cx="3471256" cy="365125"/>
          </a:xfrm>
          <a:prstGeom prst="rect">
            <a:avLst/>
          </a:prstGeom>
        </p:spPr>
        <p:txBody>
          <a:bodyPr vert="horz" lIns="91440" tIns="45720" rIns="91440" bIns="45720" rtlCol="0" anchor="ctr"/>
          <a:lstStyle>
            <a:lvl1pPr algn="r">
              <a:defRPr sz="1100">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A676DC5D-5820-4314-ADE6-9CD1C7D4AB68}"/>
              </a:ext>
            </a:extLst>
          </p:cNvPr>
          <p:cNvSpPr>
            <a:spLocks noGrp="1"/>
          </p:cNvSpPr>
          <p:nvPr>
            <p:ph type="sldNum" sz="quarter" idx="4"/>
          </p:nvPr>
        </p:nvSpPr>
        <p:spPr>
          <a:xfrm>
            <a:off x="11396670" y="6356349"/>
            <a:ext cx="576133" cy="365125"/>
          </a:xfrm>
          <a:prstGeom prst="rect">
            <a:avLst/>
          </a:prstGeom>
        </p:spPr>
        <p:txBody>
          <a:bodyPr vert="horz" lIns="91440" tIns="45720" rIns="91440" bIns="45720" rtlCol="0" anchor="ctr"/>
          <a:lstStyle>
            <a:lvl1pPr algn="r">
              <a:defRPr sz="1100">
                <a:solidFill>
                  <a:schemeClr val="tx1"/>
                </a:solidFill>
              </a:defRPr>
            </a:lvl1pPr>
          </a:lstStyle>
          <a:p>
            <a:fld id="{1CF2D47E-0AF1-4C27-801F-64E3E5BF7F72}" type="slidenum">
              <a:rPr lang="en-US" smtClean="0"/>
              <a:t>‹#›</a:t>
            </a:fld>
            <a:endParaRPr lang="en-US" dirty="0"/>
          </a:p>
        </p:txBody>
      </p:sp>
    </p:spTree>
    <p:extLst>
      <p:ext uri="{BB962C8B-B14F-4D97-AF65-F5344CB8AC3E}">
        <p14:creationId xmlns:p14="http://schemas.microsoft.com/office/powerpoint/2010/main" val="4290797205"/>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914400" rtl="0" eaLnBrk="1" latinLnBrk="0" hangingPunct="1">
        <a:lnSpc>
          <a:spcPct val="120000"/>
        </a:lnSpc>
        <a:spcBef>
          <a:spcPct val="0"/>
        </a:spcBef>
        <a:buNone/>
        <a:defRPr sz="4000" i="1" kern="1200">
          <a:solidFill>
            <a:srgbClr val="000000"/>
          </a:solidFill>
          <a:highlight>
            <a:srgbClr val="FFFF00"/>
          </a:highlight>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1600" kern="1200">
          <a:solidFill>
            <a:schemeClr val="tx1"/>
          </a:solidFill>
          <a:latin typeface="+mn-lt"/>
          <a:ea typeface="+mn-ea"/>
          <a:cs typeface="+mn-cs"/>
        </a:defRPr>
      </a:lvl1pPr>
      <a:lvl2pPr marL="457200" indent="-228600" algn="l" defTabSz="914400" rtl="0" eaLnBrk="1" latinLnBrk="0" hangingPunct="1">
        <a:lnSpc>
          <a:spcPct val="120000"/>
        </a:lnSpc>
        <a:spcBef>
          <a:spcPts val="500"/>
        </a:spcBef>
        <a:buFont typeface="Consolas" panose="020B0609020204030204" pitchFamily="49" charset="0"/>
        <a:buChar char="+"/>
        <a:defRPr sz="1400" kern="1200">
          <a:solidFill>
            <a:schemeClr val="tx1"/>
          </a:solidFill>
          <a:latin typeface="+mn-lt"/>
          <a:ea typeface="+mn-ea"/>
          <a:cs typeface="+mn-cs"/>
        </a:defRPr>
      </a:lvl2pPr>
      <a:lvl3pPr marL="64008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822960" indent="-228600" algn="l" defTabSz="914400" rtl="0" eaLnBrk="1" latinLnBrk="0" hangingPunct="1">
        <a:lnSpc>
          <a:spcPct val="120000"/>
        </a:lnSpc>
        <a:spcBef>
          <a:spcPts val="500"/>
        </a:spcBef>
        <a:buFont typeface="Consolas" panose="020B0609020204030204" pitchFamily="49" charset="0"/>
        <a:buChar char="+"/>
        <a:defRPr sz="1200" kern="1200">
          <a:solidFill>
            <a:schemeClr val="tx1"/>
          </a:solidFill>
          <a:latin typeface="+mn-lt"/>
          <a:ea typeface="+mn-ea"/>
          <a:cs typeface="+mn-cs"/>
        </a:defRPr>
      </a:lvl4pPr>
      <a:lvl5pPr marL="100584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t="-17000" b="-17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3"/>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70"/>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3/7/2024</a:t>
            </a:fld>
            <a:endParaRPr lang="en-US"/>
          </a:p>
        </p:txBody>
      </p:sp>
      <p:sp>
        <p:nvSpPr>
          <p:cNvPr id="5" name="Footer Placeholder 4"/>
          <p:cNvSpPr>
            <a:spLocks noGrp="1"/>
          </p:cNvSpPr>
          <p:nvPr>
            <p:ph type="ftr" sz="quarter" idx="3"/>
          </p:nvPr>
        </p:nvSpPr>
        <p:spPr>
          <a:xfrm>
            <a:off x="2082800" y="4237570"/>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70"/>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76201765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xStyles>
    <p:titleStyle>
      <a:lvl1pPr algn="ctr" defTabSz="609615" rtl="0" eaLnBrk="1" latinLnBrk="0" hangingPunct="1">
        <a:spcBef>
          <a:spcPct val="0"/>
        </a:spcBef>
        <a:buNone/>
        <a:defRPr sz="2933" kern="1200">
          <a:solidFill>
            <a:schemeClr val="tx1"/>
          </a:solidFill>
          <a:latin typeface="+mj-lt"/>
          <a:ea typeface="+mj-ea"/>
          <a:cs typeface="+mj-cs"/>
        </a:defRPr>
      </a:lvl1pPr>
    </p:titleStyle>
    <p:bodyStyle>
      <a:lvl1pPr marL="228605" indent="-228605" algn="l" defTabSz="609615"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13" indent="-190506" algn="l" defTabSz="609615"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19" indent="-152404" algn="l" defTabSz="609615"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27" indent="-152404" algn="l" defTabSz="609615"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35" indent="-152404" algn="l" defTabSz="609615"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42" indent="-152404" algn="l" defTabSz="609615"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50" indent="-152404" algn="l" defTabSz="609615"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057" indent="-152404" algn="l" defTabSz="609615"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865" indent="-152404" algn="l" defTabSz="609615"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15" rtl="0" eaLnBrk="1" latinLnBrk="0" hangingPunct="1">
        <a:defRPr sz="1200" kern="1200">
          <a:solidFill>
            <a:schemeClr val="tx1"/>
          </a:solidFill>
          <a:latin typeface="+mn-lt"/>
          <a:ea typeface="+mn-ea"/>
          <a:cs typeface="+mn-cs"/>
        </a:defRPr>
      </a:lvl1pPr>
      <a:lvl2pPr marL="304808" algn="l" defTabSz="609615" rtl="0" eaLnBrk="1" latinLnBrk="0" hangingPunct="1">
        <a:defRPr sz="1200" kern="1200">
          <a:solidFill>
            <a:schemeClr val="tx1"/>
          </a:solidFill>
          <a:latin typeface="+mn-lt"/>
          <a:ea typeface="+mn-ea"/>
          <a:cs typeface="+mn-cs"/>
        </a:defRPr>
      </a:lvl2pPr>
      <a:lvl3pPr marL="609615" algn="l" defTabSz="609615" rtl="0" eaLnBrk="1" latinLnBrk="0" hangingPunct="1">
        <a:defRPr sz="1200" kern="1200">
          <a:solidFill>
            <a:schemeClr val="tx1"/>
          </a:solidFill>
          <a:latin typeface="+mn-lt"/>
          <a:ea typeface="+mn-ea"/>
          <a:cs typeface="+mn-cs"/>
        </a:defRPr>
      </a:lvl3pPr>
      <a:lvl4pPr marL="914423" algn="l" defTabSz="609615" rtl="0" eaLnBrk="1" latinLnBrk="0" hangingPunct="1">
        <a:defRPr sz="1200" kern="1200">
          <a:solidFill>
            <a:schemeClr val="tx1"/>
          </a:solidFill>
          <a:latin typeface="+mn-lt"/>
          <a:ea typeface="+mn-ea"/>
          <a:cs typeface="+mn-cs"/>
        </a:defRPr>
      </a:lvl4pPr>
      <a:lvl5pPr marL="1219230" algn="l" defTabSz="609615" rtl="0" eaLnBrk="1" latinLnBrk="0" hangingPunct="1">
        <a:defRPr sz="1200" kern="1200">
          <a:solidFill>
            <a:schemeClr val="tx1"/>
          </a:solidFill>
          <a:latin typeface="+mn-lt"/>
          <a:ea typeface="+mn-ea"/>
          <a:cs typeface="+mn-cs"/>
        </a:defRPr>
      </a:lvl5pPr>
      <a:lvl6pPr marL="1524038" algn="l" defTabSz="609615" rtl="0" eaLnBrk="1" latinLnBrk="0" hangingPunct="1">
        <a:defRPr sz="1200" kern="1200">
          <a:solidFill>
            <a:schemeClr val="tx1"/>
          </a:solidFill>
          <a:latin typeface="+mn-lt"/>
          <a:ea typeface="+mn-ea"/>
          <a:cs typeface="+mn-cs"/>
        </a:defRPr>
      </a:lvl6pPr>
      <a:lvl7pPr marL="1828845" algn="l" defTabSz="609615" rtl="0" eaLnBrk="1" latinLnBrk="0" hangingPunct="1">
        <a:defRPr sz="1200" kern="1200">
          <a:solidFill>
            <a:schemeClr val="tx1"/>
          </a:solidFill>
          <a:latin typeface="+mn-lt"/>
          <a:ea typeface="+mn-ea"/>
          <a:cs typeface="+mn-cs"/>
        </a:defRPr>
      </a:lvl7pPr>
      <a:lvl8pPr marL="2133653" algn="l" defTabSz="609615" rtl="0" eaLnBrk="1" latinLnBrk="0" hangingPunct="1">
        <a:defRPr sz="1200" kern="1200">
          <a:solidFill>
            <a:schemeClr val="tx1"/>
          </a:solidFill>
          <a:latin typeface="+mn-lt"/>
          <a:ea typeface="+mn-ea"/>
          <a:cs typeface="+mn-cs"/>
        </a:defRPr>
      </a:lvl8pPr>
      <a:lvl9pPr marL="2438461" algn="l" defTabSz="609615" rtl="0" eaLnBrk="1" latinLnBrk="0" hangingPunct="1">
        <a:defRPr sz="12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1" name="9Slide.vn - 2019">
            <a:extLst>
              <a:ext uri="{FF2B5EF4-FFF2-40B4-BE49-F238E27FC236}">
                <a16:creationId xmlns:a16="http://schemas.microsoft.com/office/drawing/2014/main" id="{B9282639-3F31-41B8-AB40-6B0764E2B9A2}"/>
              </a:ext>
            </a:extLst>
          </p:cNvPr>
          <p:cNvSpPr txBox="1"/>
          <p:nvPr userDrawn="1"/>
        </p:nvSpPr>
        <p:spPr>
          <a:xfrm>
            <a:off x="0" y="-2015820"/>
            <a:ext cx="12192000" cy="461537"/>
          </a:xfrm>
          <a:prstGeom prst="rect">
            <a:avLst/>
          </a:prstGeom>
          <a:noFill/>
        </p:spPr>
        <p:txBody>
          <a:bodyPr vert="horz" rtlCol="0">
            <a:spAutoFit/>
          </a:bodyPr>
          <a:lstStyle/>
          <a:p>
            <a:pPr algn="ctr"/>
            <a:r>
              <a:rPr lang="en-US" sz="2399">
                <a:solidFill>
                  <a:srgbClr val="CFCFCF"/>
                </a:solidFill>
              </a:rPr>
              <a:t>www.9slide.vn</a:t>
            </a:r>
          </a:p>
        </p:txBody>
      </p:sp>
      <p:sp>
        <p:nvSpPr>
          <p:cNvPr id="2" name="标题占位符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609600" y="1600200"/>
            <a:ext cx="10972800" cy="452596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599">
                <a:solidFill>
                  <a:schemeClr val="tx1">
                    <a:tint val="75000"/>
                  </a:schemeClr>
                </a:solidFill>
                <a:latin typeface="Times New Roman" panose="02020603050405020304" pitchFamily="18" charset="0"/>
                <a:cs typeface="Times New Roman" panose="02020603050405020304" pitchFamily="18" charset="0"/>
              </a:defRPr>
            </a:lvl1pPr>
          </a:lstStyle>
          <a:p>
            <a:fld id="{D421E820-4398-486C-8A0E-AB272243CEDE}" type="datetimeFigureOut">
              <a:rPr lang="zh-CN" altLang="en-US" smtClean="0"/>
              <a:pPr/>
              <a:t>2024/3/7</a:t>
            </a:fld>
            <a:endParaRPr lang="zh-CN" altLang="en-US"/>
          </a:p>
        </p:txBody>
      </p:sp>
      <p:sp>
        <p:nvSpPr>
          <p:cNvPr id="5" name="页脚占位符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599">
                <a:solidFill>
                  <a:schemeClr val="tx1">
                    <a:tint val="75000"/>
                  </a:schemeClr>
                </a:solidFill>
                <a:latin typeface="Times New Roman" panose="02020603050405020304" pitchFamily="18" charset="0"/>
                <a:cs typeface="Times New Roman" panose="02020603050405020304" pitchFamily="18" charset="0"/>
              </a:defRPr>
            </a:lvl1pPr>
          </a:lstStyle>
          <a:p>
            <a:endParaRPr lang="zh-CN" altLang="en-US"/>
          </a:p>
        </p:txBody>
      </p:sp>
      <p:sp>
        <p:nvSpPr>
          <p:cNvPr id="6" name="灯片编号占位符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599">
                <a:solidFill>
                  <a:schemeClr val="tx1">
                    <a:tint val="75000"/>
                  </a:schemeClr>
                </a:solidFill>
                <a:latin typeface="Times New Roman" panose="02020603050405020304" pitchFamily="18" charset="0"/>
                <a:cs typeface="Times New Roman" panose="02020603050405020304" pitchFamily="18" charset="0"/>
              </a:defRPr>
            </a:lvl1pPr>
          </a:lstStyle>
          <a:p>
            <a:fld id="{B97E31A2-B2BC-4EB4-8B56-75304C41C08E}" type="slidenum">
              <a:rPr lang="zh-CN" altLang="en-US" smtClean="0"/>
              <a:pPr/>
              <a:t>‹#›</a:t>
            </a:fld>
            <a:endParaRPr lang="zh-CN" altLang="en-US"/>
          </a:p>
        </p:txBody>
      </p:sp>
      <p:sp>
        <p:nvSpPr>
          <p:cNvPr id="7" name="Oval 6">
            <a:extLst>
              <a:ext uri="{FF2B5EF4-FFF2-40B4-BE49-F238E27FC236}">
                <a16:creationId xmlns:a16="http://schemas.microsoft.com/office/drawing/2014/main" id="{02ADCD5E-0ED5-4CAC-AFD1-1BD39944C754}"/>
              </a:ext>
            </a:extLst>
          </p:cNvPr>
          <p:cNvSpPr>
            <a:spLocks noChangeAspect="1"/>
          </p:cNvSpPr>
          <p:nvPr userDrawn="1">
            <p:custDataLst>
              <p:tags r:id="rId20"/>
            </p:custDataLst>
          </p:nvPr>
        </p:nvSpPr>
        <p:spPr>
          <a:xfrm>
            <a:off x="-3697088" y="-4537426"/>
            <a:ext cx="1248139" cy="1343734"/>
          </a:xfrm>
          <a:prstGeom prst="ellipse">
            <a:avLst/>
          </a:prstGeom>
          <a:blipFill dpi="0" rotWithShape="0">
            <a:blip r:embed="rId24" cstate="print">
              <a:alphaModFix/>
              <a:extLst>
                <a:ext uri="{28A0092B-C50C-407E-A947-70E740481C1C}">
                  <a14:useLocalDpi xmlns:a14="http://schemas.microsoft.com/office/drawing/2010/main" val="0"/>
                </a:ext>
              </a:extLst>
            </a:blip>
            <a:srcRect/>
            <a:stretch>
              <a:fillRect l="-3846" r="-3846"/>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latin typeface="Times New Roman" panose="02020603050405020304" pitchFamily="18" charset="0"/>
              <a:cs typeface="Times New Roman" panose="02020603050405020304" pitchFamily="18" charset="0"/>
            </a:endParaRPr>
          </a:p>
        </p:txBody>
      </p:sp>
      <p:sp>
        <p:nvSpPr>
          <p:cNvPr id="10" name="Oval 9">
            <a:extLst>
              <a:ext uri="{FF2B5EF4-FFF2-40B4-BE49-F238E27FC236}">
                <a16:creationId xmlns:a16="http://schemas.microsoft.com/office/drawing/2014/main" id="{73351A45-4881-46BB-B9EE-C6B3EB0EEF26}"/>
              </a:ext>
            </a:extLst>
          </p:cNvPr>
          <p:cNvSpPr>
            <a:spLocks noChangeAspect="1"/>
          </p:cNvSpPr>
          <p:nvPr userDrawn="1">
            <p:custDataLst>
              <p:tags r:id="rId21"/>
            </p:custDataLst>
          </p:nvPr>
        </p:nvSpPr>
        <p:spPr>
          <a:xfrm>
            <a:off x="14448928" y="9523796"/>
            <a:ext cx="1248139" cy="1343734"/>
          </a:xfrm>
          <a:prstGeom prst="ellipse">
            <a:avLst/>
          </a:prstGeom>
          <a:blipFill dpi="0" rotWithShape="0">
            <a:blip r:embed="rId24" cstate="print">
              <a:alphaModFix/>
              <a:extLst>
                <a:ext uri="{28A0092B-C50C-407E-A947-70E740481C1C}">
                  <a14:useLocalDpi xmlns:a14="http://schemas.microsoft.com/office/drawing/2010/main" val="0"/>
                </a:ext>
              </a:extLst>
            </a:blip>
            <a:srcRect/>
            <a:stretch>
              <a:fillRect l="-3846" r="-3846"/>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latin typeface="Times New Roman" panose="02020603050405020304" pitchFamily="18" charset="0"/>
              <a:cs typeface="Times New Roman" panose="02020603050405020304" pitchFamily="18" charset="0"/>
            </a:endParaRPr>
          </a:p>
        </p:txBody>
      </p:sp>
      <p:sp>
        <p:nvSpPr>
          <p:cNvPr id="11" name="Oval 10">
            <a:extLst>
              <a:ext uri="{FF2B5EF4-FFF2-40B4-BE49-F238E27FC236}">
                <a16:creationId xmlns:a16="http://schemas.microsoft.com/office/drawing/2014/main" id="{4EAFA9E6-3815-40A5-A954-251A610B6803}"/>
              </a:ext>
            </a:extLst>
          </p:cNvPr>
          <p:cNvSpPr>
            <a:spLocks noChangeAspect="1"/>
          </p:cNvSpPr>
          <p:nvPr userDrawn="1">
            <p:custDataLst>
              <p:tags r:id="rId22"/>
            </p:custDataLst>
          </p:nvPr>
        </p:nvSpPr>
        <p:spPr>
          <a:xfrm>
            <a:off x="14455557" y="-4537426"/>
            <a:ext cx="1248139" cy="1343734"/>
          </a:xfrm>
          <a:prstGeom prst="ellipse">
            <a:avLst/>
          </a:prstGeom>
          <a:blipFill dpi="0" rotWithShape="0">
            <a:blip r:embed="rId24" cstate="print">
              <a:alphaModFix amt="0"/>
              <a:extLst>
                <a:ext uri="{28A0092B-C50C-407E-A947-70E740481C1C}">
                  <a14:useLocalDpi xmlns:a14="http://schemas.microsoft.com/office/drawing/2010/main" val="0"/>
                </a:ext>
              </a:extLst>
            </a:blip>
            <a:srcRect/>
            <a:stretch>
              <a:fillRect l="-3846" r="-3846"/>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latin typeface="Times New Roman" panose="02020603050405020304" pitchFamily="18" charset="0"/>
              <a:cs typeface="Times New Roman" panose="02020603050405020304" pitchFamily="18" charset="0"/>
            </a:endParaRPr>
          </a:p>
        </p:txBody>
      </p:sp>
      <p:sp>
        <p:nvSpPr>
          <p:cNvPr id="12" name="Oval 11">
            <a:extLst>
              <a:ext uri="{FF2B5EF4-FFF2-40B4-BE49-F238E27FC236}">
                <a16:creationId xmlns:a16="http://schemas.microsoft.com/office/drawing/2014/main" id="{63617AD1-7C78-433C-ADE2-B28196E4A6C8}"/>
              </a:ext>
            </a:extLst>
          </p:cNvPr>
          <p:cNvSpPr>
            <a:spLocks noChangeAspect="1"/>
          </p:cNvSpPr>
          <p:nvPr userDrawn="1">
            <p:custDataLst>
              <p:tags r:id="rId23"/>
            </p:custDataLst>
          </p:nvPr>
        </p:nvSpPr>
        <p:spPr>
          <a:xfrm>
            <a:off x="-3697088" y="10195663"/>
            <a:ext cx="1248139" cy="1343734"/>
          </a:xfrm>
          <a:prstGeom prst="ellipse">
            <a:avLst/>
          </a:prstGeom>
          <a:blipFill dpi="0" rotWithShape="0">
            <a:blip r:embed="rId24" cstate="print">
              <a:alphaModFix amt="0"/>
              <a:extLst>
                <a:ext uri="{28A0092B-C50C-407E-A947-70E740481C1C}">
                  <a14:useLocalDpi xmlns:a14="http://schemas.microsoft.com/office/drawing/2010/main" val="0"/>
                </a:ext>
              </a:extLst>
            </a:blip>
            <a:srcRect/>
            <a:stretch>
              <a:fillRect l="-3846" r="-3846"/>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54834545"/>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Lst>
  <p:transition advClick="0" advTm="0">
    <p:circle/>
  </p:transition>
  <p:txStyles>
    <p:titleStyle>
      <a:lvl1pPr algn="ctr" defTabSz="1218804" rtl="0" eaLnBrk="1" latinLnBrk="0" hangingPunct="1">
        <a:spcBef>
          <a:spcPct val="0"/>
        </a:spcBef>
        <a:buNone/>
        <a:defRPr sz="5865" kern="1200">
          <a:solidFill>
            <a:schemeClr val="tx1"/>
          </a:solidFill>
          <a:latin typeface="Times New Roman" panose="02020603050405020304" pitchFamily="18" charset="0"/>
          <a:ea typeface="+mj-ea"/>
          <a:cs typeface="Times New Roman" panose="02020603050405020304" pitchFamily="18" charset="0"/>
        </a:defRPr>
      </a:lvl1pPr>
    </p:titleStyle>
    <p:bodyStyle>
      <a:lvl1pPr marL="457051" indent="-457051" algn="l" defTabSz="1218804" rtl="0" eaLnBrk="1" latinLnBrk="0" hangingPunct="1">
        <a:spcBef>
          <a:spcPct val="20000"/>
        </a:spcBef>
        <a:buFont typeface="Arial" pitchFamily="34" charset="0"/>
        <a:buChar char="•"/>
        <a:defRPr sz="4265" kern="1200">
          <a:solidFill>
            <a:schemeClr val="tx1"/>
          </a:solidFill>
          <a:latin typeface="Times New Roman" panose="02020603050405020304" pitchFamily="18" charset="0"/>
          <a:ea typeface="+mn-ea"/>
          <a:cs typeface="Times New Roman" panose="02020603050405020304" pitchFamily="18" charset="0"/>
        </a:defRPr>
      </a:lvl1pPr>
      <a:lvl2pPr marL="990278" indent="-380876" algn="l" defTabSz="1218804" rtl="0" eaLnBrk="1" latinLnBrk="0" hangingPunct="1">
        <a:spcBef>
          <a:spcPct val="20000"/>
        </a:spcBef>
        <a:buFont typeface="Arial" pitchFamily="34" charset="0"/>
        <a:buChar char="–"/>
        <a:defRPr sz="3732" kern="1200">
          <a:solidFill>
            <a:schemeClr val="tx1"/>
          </a:solidFill>
          <a:latin typeface="Times New Roman" panose="02020603050405020304" pitchFamily="18" charset="0"/>
          <a:ea typeface="+mn-ea"/>
          <a:cs typeface="Times New Roman" panose="02020603050405020304" pitchFamily="18" charset="0"/>
        </a:defRPr>
      </a:lvl2pPr>
      <a:lvl3pPr marL="1523505" indent="-304701" algn="l" defTabSz="1218804" rtl="0" eaLnBrk="1" latinLnBrk="0" hangingPunct="1">
        <a:spcBef>
          <a:spcPct val="20000"/>
        </a:spcBef>
        <a:buFont typeface="Arial" pitchFamily="34" charset="0"/>
        <a:buChar char="•"/>
        <a:defRPr sz="3199" kern="1200">
          <a:solidFill>
            <a:schemeClr val="tx1"/>
          </a:solidFill>
          <a:latin typeface="Times New Roman" panose="02020603050405020304" pitchFamily="18" charset="0"/>
          <a:ea typeface="+mn-ea"/>
          <a:cs typeface="Times New Roman" panose="02020603050405020304" pitchFamily="18" charset="0"/>
        </a:defRPr>
      </a:lvl3pPr>
      <a:lvl4pPr marL="2132907" indent="-304701" algn="l" defTabSz="1218804" rtl="0" eaLnBrk="1" latinLnBrk="0" hangingPunct="1">
        <a:spcBef>
          <a:spcPct val="20000"/>
        </a:spcBef>
        <a:buFont typeface="Arial" pitchFamily="34" charset="0"/>
        <a:buChar char="–"/>
        <a:defRPr sz="2666" kern="1200">
          <a:solidFill>
            <a:schemeClr val="tx1"/>
          </a:solidFill>
          <a:latin typeface="Times New Roman" panose="02020603050405020304" pitchFamily="18" charset="0"/>
          <a:ea typeface="+mn-ea"/>
          <a:cs typeface="Times New Roman" panose="02020603050405020304" pitchFamily="18" charset="0"/>
        </a:defRPr>
      </a:lvl4pPr>
      <a:lvl5pPr marL="2742308" indent="-304701" algn="l" defTabSz="1218804" rtl="0" eaLnBrk="1" latinLnBrk="0" hangingPunct="1">
        <a:spcBef>
          <a:spcPct val="20000"/>
        </a:spcBef>
        <a:buFont typeface="Arial" pitchFamily="34" charset="0"/>
        <a:buChar char="»"/>
        <a:defRPr sz="2666" kern="1200">
          <a:solidFill>
            <a:schemeClr val="tx1"/>
          </a:solidFill>
          <a:latin typeface="Times New Roman" panose="02020603050405020304" pitchFamily="18" charset="0"/>
          <a:ea typeface="+mn-ea"/>
          <a:cs typeface="Times New Roman" panose="02020603050405020304" pitchFamily="18" charset="0"/>
        </a:defRPr>
      </a:lvl5pPr>
      <a:lvl6pPr marL="3351710" indent="-304701" algn="l" defTabSz="1218804" rtl="0" eaLnBrk="1" latinLnBrk="0" hangingPunct="1">
        <a:spcBef>
          <a:spcPct val="20000"/>
        </a:spcBef>
        <a:buFont typeface="Arial" pitchFamily="34" charset="0"/>
        <a:buChar char="•"/>
        <a:defRPr sz="2666" kern="1200">
          <a:solidFill>
            <a:schemeClr val="tx1"/>
          </a:solidFill>
          <a:latin typeface="+mn-lt"/>
          <a:ea typeface="+mn-ea"/>
          <a:cs typeface="+mn-cs"/>
        </a:defRPr>
      </a:lvl6pPr>
      <a:lvl7pPr marL="3961112" indent="-304701" algn="l" defTabSz="1218804" rtl="0" eaLnBrk="1" latinLnBrk="0" hangingPunct="1">
        <a:spcBef>
          <a:spcPct val="20000"/>
        </a:spcBef>
        <a:buFont typeface="Arial" pitchFamily="34" charset="0"/>
        <a:buChar char="•"/>
        <a:defRPr sz="2666" kern="1200">
          <a:solidFill>
            <a:schemeClr val="tx1"/>
          </a:solidFill>
          <a:latin typeface="+mn-lt"/>
          <a:ea typeface="+mn-ea"/>
          <a:cs typeface="+mn-cs"/>
        </a:defRPr>
      </a:lvl7pPr>
      <a:lvl8pPr marL="4570514" indent="-304701" algn="l" defTabSz="1218804" rtl="0" eaLnBrk="1" latinLnBrk="0" hangingPunct="1">
        <a:spcBef>
          <a:spcPct val="20000"/>
        </a:spcBef>
        <a:buFont typeface="Arial" pitchFamily="34" charset="0"/>
        <a:buChar char="•"/>
        <a:defRPr sz="2666" kern="1200">
          <a:solidFill>
            <a:schemeClr val="tx1"/>
          </a:solidFill>
          <a:latin typeface="+mn-lt"/>
          <a:ea typeface="+mn-ea"/>
          <a:cs typeface="+mn-cs"/>
        </a:defRPr>
      </a:lvl8pPr>
      <a:lvl9pPr marL="5179916" indent="-304701" algn="l" defTabSz="1218804" rtl="0" eaLnBrk="1" latinLnBrk="0" hangingPunct="1">
        <a:spcBef>
          <a:spcPct val="20000"/>
        </a:spcBef>
        <a:buFont typeface="Arial" pitchFamily="34" charset="0"/>
        <a:buChar char="•"/>
        <a:defRPr sz="2666" kern="1200">
          <a:solidFill>
            <a:schemeClr val="tx1"/>
          </a:solidFill>
          <a:latin typeface="+mn-lt"/>
          <a:ea typeface="+mn-ea"/>
          <a:cs typeface="+mn-cs"/>
        </a:defRPr>
      </a:lvl9pPr>
    </p:bodyStyle>
    <p:otherStyle>
      <a:defPPr>
        <a:defRPr lang="zh-CN"/>
      </a:defPPr>
      <a:lvl1pPr marL="0" algn="l" defTabSz="1218804" rtl="0" eaLnBrk="1" latinLnBrk="0" hangingPunct="1">
        <a:defRPr sz="2399" kern="1200">
          <a:solidFill>
            <a:schemeClr val="tx1"/>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1299467" y="716000"/>
            <a:ext cx="9942000" cy="487600"/>
          </a:xfrm>
          <a:prstGeom prst="rect">
            <a:avLst/>
          </a:prstGeom>
          <a:noFill/>
          <a:ln>
            <a:noFill/>
          </a:ln>
        </p:spPr>
        <p:txBody>
          <a:bodyPr spcFirstLastPara="1" wrap="square" lIns="91425" tIns="91425" rIns="91425" bIns="91425" anchor="ctr" anchorCtr="0">
            <a:noAutofit/>
          </a:bodyPr>
          <a:lstStyle>
            <a:lvl1pPr lvl="0">
              <a:spcBef>
                <a:spcPts val="0"/>
              </a:spcBef>
              <a:spcAft>
                <a:spcPts val="0"/>
              </a:spcAft>
              <a:buClr>
                <a:schemeClr val="dk1"/>
              </a:buClr>
              <a:buSzPts val="3200"/>
              <a:buFont typeface="Londrina Solid"/>
              <a:buNone/>
              <a:defRPr sz="3200">
                <a:solidFill>
                  <a:schemeClr val="dk1"/>
                </a:solidFill>
                <a:latin typeface="Londrina Solid"/>
                <a:ea typeface="Londrina Solid"/>
                <a:cs typeface="Londrina Solid"/>
                <a:sym typeface="Londrina Solid"/>
              </a:defRPr>
            </a:lvl1pPr>
            <a:lvl2pPr lvl="1">
              <a:spcBef>
                <a:spcPts val="0"/>
              </a:spcBef>
              <a:spcAft>
                <a:spcPts val="0"/>
              </a:spcAft>
              <a:buClr>
                <a:schemeClr val="dk1"/>
              </a:buClr>
              <a:buSzPts val="3200"/>
              <a:buFont typeface="Londrina Solid"/>
              <a:buNone/>
              <a:defRPr sz="3200">
                <a:solidFill>
                  <a:schemeClr val="dk1"/>
                </a:solidFill>
                <a:latin typeface="Londrina Solid"/>
                <a:ea typeface="Londrina Solid"/>
                <a:cs typeface="Londrina Solid"/>
                <a:sym typeface="Londrina Solid"/>
              </a:defRPr>
            </a:lvl2pPr>
            <a:lvl3pPr lvl="2">
              <a:spcBef>
                <a:spcPts val="0"/>
              </a:spcBef>
              <a:spcAft>
                <a:spcPts val="0"/>
              </a:spcAft>
              <a:buClr>
                <a:schemeClr val="dk1"/>
              </a:buClr>
              <a:buSzPts val="3200"/>
              <a:buFont typeface="Londrina Solid"/>
              <a:buNone/>
              <a:defRPr sz="3200">
                <a:solidFill>
                  <a:schemeClr val="dk1"/>
                </a:solidFill>
                <a:latin typeface="Londrina Solid"/>
                <a:ea typeface="Londrina Solid"/>
                <a:cs typeface="Londrina Solid"/>
                <a:sym typeface="Londrina Solid"/>
              </a:defRPr>
            </a:lvl3pPr>
            <a:lvl4pPr lvl="3">
              <a:spcBef>
                <a:spcPts val="0"/>
              </a:spcBef>
              <a:spcAft>
                <a:spcPts val="0"/>
              </a:spcAft>
              <a:buClr>
                <a:schemeClr val="dk1"/>
              </a:buClr>
              <a:buSzPts val="3200"/>
              <a:buFont typeface="Londrina Solid"/>
              <a:buNone/>
              <a:defRPr sz="3200">
                <a:solidFill>
                  <a:schemeClr val="dk1"/>
                </a:solidFill>
                <a:latin typeface="Londrina Solid"/>
                <a:ea typeface="Londrina Solid"/>
                <a:cs typeface="Londrina Solid"/>
                <a:sym typeface="Londrina Solid"/>
              </a:defRPr>
            </a:lvl4pPr>
            <a:lvl5pPr lvl="4">
              <a:spcBef>
                <a:spcPts val="0"/>
              </a:spcBef>
              <a:spcAft>
                <a:spcPts val="0"/>
              </a:spcAft>
              <a:buClr>
                <a:schemeClr val="dk1"/>
              </a:buClr>
              <a:buSzPts val="3200"/>
              <a:buFont typeface="Londrina Solid"/>
              <a:buNone/>
              <a:defRPr sz="3200">
                <a:solidFill>
                  <a:schemeClr val="dk1"/>
                </a:solidFill>
                <a:latin typeface="Londrina Solid"/>
                <a:ea typeface="Londrina Solid"/>
                <a:cs typeface="Londrina Solid"/>
                <a:sym typeface="Londrina Solid"/>
              </a:defRPr>
            </a:lvl5pPr>
            <a:lvl6pPr lvl="5">
              <a:spcBef>
                <a:spcPts val="0"/>
              </a:spcBef>
              <a:spcAft>
                <a:spcPts val="0"/>
              </a:spcAft>
              <a:buClr>
                <a:schemeClr val="dk1"/>
              </a:buClr>
              <a:buSzPts val="3200"/>
              <a:buFont typeface="Londrina Solid"/>
              <a:buNone/>
              <a:defRPr sz="3200">
                <a:solidFill>
                  <a:schemeClr val="dk1"/>
                </a:solidFill>
                <a:latin typeface="Londrina Solid"/>
                <a:ea typeface="Londrina Solid"/>
                <a:cs typeface="Londrina Solid"/>
                <a:sym typeface="Londrina Solid"/>
              </a:defRPr>
            </a:lvl6pPr>
            <a:lvl7pPr lvl="6">
              <a:spcBef>
                <a:spcPts val="0"/>
              </a:spcBef>
              <a:spcAft>
                <a:spcPts val="0"/>
              </a:spcAft>
              <a:buClr>
                <a:schemeClr val="dk1"/>
              </a:buClr>
              <a:buSzPts val="3200"/>
              <a:buFont typeface="Londrina Solid"/>
              <a:buNone/>
              <a:defRPr sz="3200">
                <a:solidFill>
                  <a:schemeClr val="dk1"/>
                </a:solidFill>
                <a:latin typeface="Londrina Solid"/>
                <a:ea typeface="Londrina Solid"/>
                <a:cs typeface="Londrina Solid"/>
                <a:sym typeface="Londrina Solid"/>
              </a:defRPr>
            </a:lvl7pPr>
            <a:lvl8pPr lvl="7">
              <a:spcBef>
                <a:spcPts val="0"/>
              </a:spcBef>
              <a:spcAft>
                <a:spcPts val="0"/>
              </a:spcAft>
              <a:buClr>
                <a:schemeClr val="dk1"/>
              </a:buClr>
              <a:buSzPts val="3200"/>
              <a:buFont typeface="Londrina Solid"/>
              <a:buNone/>
              <a:defRPr sz="3200">
                <a:solidFill>
                  <a:schemeClr val="dk1"/>
                </a:solidFill>
                <a:latin typeface="Londrina Solid"/>
                <a:ea typeface="Londrina Solid"/>
                <a:cs typeface="Londrina Solid"/>
                <a:sym typeface="Londrina Solid"/>
              </a:defRPr>
            </a:lvl8pPr>
            <a:lvl9pPr lvl="8">
              <a:spcBef>
                <a:spcPts val="0"/>
              </a:spcBef>
              <a:spcAft>
                <a:spcPts val="0"/>
              </a:spcAft>
              <a:buClr>
                <a:schemeClr val="dk1"/>
              </a:buClr>
              <a:buSzPts val="3200"/>
              <a:buFont typeface="Londrina Solid"/>
              <a:buNone/>
              <a:defRPr sz="3200">
                <a:solidFill>
                  <a:schemeClr val="dk1"/>
                </a:solidFill>
                <a:latin typeface="Londrina Solid"/>
                <a:ea typeface="Londrina Solid"/>
                <a:cs typeface="Londrina Solid"/>
                <a:sym typeface="Londrina Solid"/>
              </a:defRPr>
            </a:lvl9pPr>
          </a:lstStyle>
          <a:p>
            <a:endParaRPr/>
          </a:p>
        </p:txBody>
      </p:sp>
      <p:sp>
        <p:nvSpPr>
          <p:cNvPr id="7" name="Google Shape;7;p1"/>
          <p:cNvSpPr txBox="1">
            <a:spLocks noGrp="1"/>
          </p:cNvSpPr>
          <p:nvPr>
            <p:ph type="body" idx="1"/>
          </p:nvPr>
        </p:nvSpPr>
        <p:spPr>
          <a:xfrm>
            <a:off x="1299100" y="1575767"/>
            <a:ext cx="9942000" cy="4555200"/>
          </a:xfrm>
          <a:prstGeom prst="rect">
            <a:avLst/>
          </a:prstGeom>
          <a:noFill/>
          <a:ln>
            <a:noFill/>
          </a:ln>
        </p:spPr>
        <p:txBody>
          <a:bodyPr spcFirstLastPara="1" wrap="square" lIns="91425" tIns="91425" rIns="91425" bIns="91425" anchor="t" anchorCtr="0">
            <a:noAutofit/>
          </a:bodyPr>
          <a:lstStyle>
            <a:lvl1pPr marL="457200" lvl="0" indent="-317500">
              <a:lnSpc>
                <a:spcPct val="115000"/>
              </a:lnSpc>
              <a:spcBef>
                <a:spcPts val="0"/>
              </a:spcBef>
              <a:spcAft>
                <a:spcPts val="0"/>
              </a:spcAft>
              <a:buClr>
                <a:schemeClr val="dk1"/>
              </a:buClr>
              <a:buSzPts val="1400"/>
              <a:buFont typeface="Anaheim"/>
              <a:buChar char="●"/>
              <a:defRPr>
                <a:solidFill>
                  <a:schemeClr val="dk1"/>
                </a:solidFill>
                <a:latin typeface="Anaheim"/>
                <a:ea typeface="Anaheim"/>
                <a:cs typeface="Anaheim"/>
                <a:sym typeface="Anaheim"/>
              </a:defRPr>
            </a:lvl1pPr>
            <a:lvl2pPr marL="914400" lvl="1" indent="-317500">
              <a:lnSpc>
                <a:spcPct val="115000"/>
              </a:lnSpc>
              <a:spcBef>
                <a:spcPts val="0"/>
              </a:spcBef>
              <a:spcAft>
                <a:spcPts val="0"/>
              </a:spcAft>
              <a:buClr>
                <a:schemeClr val="dk1"/>
              </a:buClr>
              <a:buSzPts val="1400"/>
              <a:buFont typeface="Anaheim"/>
              <a:buChar char="○"/>
              <a:defRPr>
                <a:solidFill>
                  <a:schemeClr val="dk1"/>
                </a:solidFill>
                <a:latin typeface="Anaheim"/>
                <a:ea typeface="Anaheim"/>
                <a:cs typeface="Anaheim"/>
                <a:sym typeface="Anaheim"/>
              </a:defRPr>
            </a:lvl2pPr>
            <a:lvl3pPr marL="1371600" lvl="2" indent="-317500">
              <a:lnSpc>
                <a:spcPct val="115000"/>
              </a:lnSpc>
              <a:spcBef>
                <a:spcPts val="0"/>
              </a:spcBef>
              <a:spcAft>
                <a:spcPts val="0"/>
              </a:spcAft>
              <a:buClr>
                <a:schemeClr val="dk1"/>
              </a:buClr>
              <a:buSzPts val="1400"/>
              <a:buFont typeface="Anaheim"/>
              <a:buChar char="■"/>
              <a:defRPr>
                <a:solidFill>
                  <a:schemeClr val="dk1"/>
                </a:solidFill>
                <a:latin typeface="Anaheim"/>
                <a:ea typeface="Anaheim"/>
                <a:cs typeface="Anaheim"/>
                <a:sym typeface="Anaheim"/>
              </a:defRPr>
            </a:lvl3pPr>
            <a:lvl4pPr marL="1828800" lvl="3" indent="-317500">
              <a:lnSpc>
                <a:spcPct val="115000"/>
              </a:lnSpc>
              <a:spcBef>
                <a:spcPts val="0"/>
              </a:spcBef>
              <a:spcAft>
                <a:spcPts val="0"/>
              </a:spcAft>
              <a:buClr>
                <a:schemeClr val="dk1"/>
              </a:buClr>
              <a:buSzPts val="1400"/>
              <a:buFont typeface="Anaheim"/>
              <a:buChar char="●"/>
              <a:defRPr>
                <a:solidFill>
                  <a:schemeClr val="dk1"/>
                </a:solidFill>
                <a:latin typeface="Anaheim"/>
                <a:ea typeface="Anaheim"/>
                <a:cs typeface="Anaheim"/>
                <a:sym typeface="Anaheim"/>
              </a:defRPr>
            </a:lvl4pPr>
            <a:lvl5pPr marL="2286000" lvl="4" indent="-317500">
              <a:lnSpc>
                <a:spcPct val="115000"/>
              </a:lnSpc>
              <a:spcBef>
                <a:spcPts val="0"/>
              </a:spcBef>
              <a:spcAft>
                <a:spcPts val="0"/>
              </a:spcAft>
              <a:buClr>
                <a:schemeClr val="dk1"/>
              </a:buClr>
              <a:buSzPts val="1400"/>
              <a:buFont typeface="Anaheim"/>
              <a:buChar char="○"/>
              <a:defRPr>
                <a:solidFill>
                  <a:schemeClr val="dk1"/>
                </a:solidFill>
                <a:latin typeface="Anaheim"/>
                <a:ea typeface="Anaheim"/>
                <a:cs typeface="Anaheim"/>
                <a:sym typeface="Anaheim"/>
              </a:defRPr>
            </a:lvl5pPr>
            <a:lvl6pPr marL="2743200" lvl="5" indent="-317500">
              <a:lnSpc>
                <a:spcPct val="115000"/>
              </a:lnSpc>
              <a:spcBef>
                <a:spcPts val="0"/>
              </a:spcBef>
              <a:spcAft>
                <a:spcPts val="0"/>
              </a:spcAft>
              <a:buClr>
                <a:schemeClr val="dk1"/>
              </a:buClr>
              <a:buSzPts val="1400"/>
              <a:buFont typeface="Anaheim"/>
              <a:buChar char="■"/>
              <a:defRPr>
                <a:solidFill>
                  <a:schemeClr val="dk1"/>
                </a:solidFill>
                <a:latin typeface="Anaheim"/>
                <a:ea typeface="Anaheim"/>
                <a:cs typeface="Anaheim"/>
                <a:sym typeface="Anaheim"/>
              </a:defRPr>
            </a:lvl6pPr>
            <a:lvl7pPr marL="3200400" lvl="6" indent="-317500">
              <a:lnSpc>
                <a:spcPct val="115000"/>
              </a:lnSpc>
              <a:spcBef>
                <a:spcPts val="0"/>
              </a:spcBef>
              <a:spcAft>
                <a:spcPts val="0"/>
              </a:spcAft>
              <a:buClr>
                <a:schemeClr val="dk1"/>
              </a:buClr>
              <a:buSzPts val="1400"/>
              <a:buFont typeface="Anaheim"/>
              <a:buChar char="●"/>
              <a:defRPr>
                <a:solidFill>
                  <a:schemeClr val="dk1"/>
                </a:solidFill>
                <a:latin typeface="Anaheim"/>
                <a:ea typeface="Anaheim"/>
                <a:cs typeface="Anaheim"/>
                <a:sym typeface="Anaheim"/>
              </a:defRPr>
            </a:lvl7pPr>
            <a:lvl8pPr marL="3657600" lvl="7" indent="-317500">
              <a:lnSpc>
                <a:spcPct val="115000"/>
              </a:lnSpc>
              <a:spcBef>
                <a:spcPts val="0"/>
              </a:spcBef>
              <a:spcAft>
                <a:spcPts val="0"/>
              </a:spcAft>
              <a:buClr>
                <a:schemeClr val="dk1"/>
              </a:buClr>
              <a:buSzPts val="1400"/>
              <a:buFont typeface="Anaheim"/>
              <a:buChar char="○"/>
              <a:defRPr>
                <a:solidFill>
                  <a:schemeClr val="dk1"/>
                </a:solidFill>
                <a:latin typeface="Anaheim"/>
                <a:ea typeface="Anaheim"/>
                <a:cs typeface="Anaheim"/>
                <a:sym typeface="Anaheim"/>
              </a:defRPr>
            </a:lvl8pPr>
            <a:lvl9pPr marL="4114800" lvl="8" indent="-317500">
              <a:lnSpc>
                <a:spcPct val="115000"/>
              </a:lnSpc>
              <a:spcBef>
                <a:spcPts val="0"/>
              </a:spcBef>
              <a:spcAft>
                <a:spcPts val="0"/>
              </a:spcAft>
              <a:buClr>
                <a:schemeClr val="dk1"/>
              </a:buClr>
              <a:buSzPts val="1400"/>
              <a:buFont typeface="Anaheim"/>
              <a:buChar char="■"/>
              <a:defRPr>
                <a:solidFill>
                  <a:schemeClr val="dk1"/>
                </a:solidFill>
                <a:latin typeface="Anaheim"/>
                <a:ea typeface="Anaheim"/>
                <a:cs typeface="Anaheim"/>
                <a:sym typeface="Anaheim"/>
              </a:defRPr>
            </a:lvl9pPr>
          </a:lstStyle>
          <a:p>
            <a:endParaRPr/>
          </a:p>
        </p:txBody>
      </p:sp>
    </p:spTree>
    <p:extLst>
      <p:ext uri="{BB962C8B-B14F-4D97-AF65-F5344CB8AC3E}">
        <p14:creationId xmlns:p14="http://schemas.microsoft.com/office/powerpoint/2010/main" val="2382671731"/>
      </p:ext>
    </p:extLst>
  </p:cSld>
  <p:clrMap bg1="lt1" tx1="dk1" bg2="dk2" tx2="lt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tags" Target="../tags/tag7.xml"/><Relationship Id="rId7" Type="http://schemas.openxmlformats.org/officeDocument/2006/relationships/image" Target="../media/image9.png"/><Relationship Id="rId2" Type="http://schemas.openxmlformats.org/officeDocument/2006/relationships/tags" Target="../tags/tag6.xml"/><Relationship Id="rId1" Type="http://schemas.openxmlformats.org/officeDocument/2006/relationships/tags" Target="../tags/tag5.xml"/><Relationship Id="rId6" Type="http://schemas.microsoft.com/office/2007/relationships/hdphoto" Target="../media/hdphoto3.wdp"/><Relationship Id="rId11" Type="http://schemas.openxmlformats.org/officeDocument/2006/relationships/image" Target="../media/image12.png"/><Relationship Id="rId5" Type="http://schemas.openxmlformats.org/officeDocument/2006/relationships/image" Target="../media/image8.png"/><Relationship Id="rId10" Type="http://schemas.openxmlformats.org/officeDocument/2006/relationships/image" Target="../media/image11.png"/><Relationship Id="rId4" Type="http://schemas.openxmlformats.org/officeDocument/2006/relationships/slideLayout" Target="../slideLayouts/slideLayout24.xml"/><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7.png"/><Relationship Id="rId3" Type="http://schemas.openxmlformats.org/officeDocument/2006/relationships/audio" Target="../media/audio1.wav"/><Relationship Id="rId7" Type="http://schemas.openxmlformats.org/officeDocument/2006/relationships/image" Target="../media/image33.png"/><Relationship Id="rId12" Type="http://schemas.openxmlformats.org/officeDocument/2006/relationships/image" Target="../media/image36.png"/><Relationship Id="rId2" Type="http://schemas.openxmlformats.org/officeDocument/2006/relationships/notesSlide" Target="../notesSlides/notesSlide2.xml"/><Relationship Id="rId16" Type="http://schemas.openxmlformats.org/officeDocument/2006/relationships/audio" Target="../media/audio3.wav"/><Relationship Id="rId1" Type="http://schemas.openxmlformats.org/officeDocument/2006/relationships/slideLayout" Target="../slideLayouts/slideLayout76.xml"/><Relationship Id="rId6" Type="http://schemas.openxmlformats.org/officeDocument/2006/relationships/image" Target="../media/image28.jfif"/><Relationship Id="rId11" Type="http://schemas.openxmlformats.org/officeDocument/2006/relationships/image" Target="../media/image29.png"/><Relationship Id="rId5" Type="http://schemas.openxmlformats.org/officeDocument/2006/relationships/audio" Target="../media/audio3.wav"/><Relationship Id="rId15" Type="http://schemas.openxmlformats.org/officeDocument/2006/relationships/audio" Target="../media/audio2.wav"/><Relationship Id="rId10" Type="http://schemas.openxmlformats.org/officeDocument/2006/relationships/slide" Target="slide10.xml"/><Relationship Id="rId4" Type="http://schemas.openxmlformats.org/officeDocument/2006/relationships/audio" Target="../media/audio2.wav"/><Relationship Id="rId9" Type="http://schemas.openxmlformats.org/officeDocument/2006/relationships/image" Target="../media/image35.png"/><Relationship Id="rId14" Type="http://schemas.openxmlformats.org/officeDocument/2006/relationships/audio" Target="../media/audio1.wav"/></Relationships>
</file>

<file path=ppt/slides/_rels/slide11.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38.png"/><Relationship Id="rId1" Type="http://schemas.openxmlformats.org/officeDocument/2006/relationships/slideLayout" Target="../slideLayouts/slideLayout51.xml"/><Relationship Id="rId5" Type="http://schemas.openxmlformats.org/officeDocument/2006/relationships/image" Target="../media/image40.svg"/><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33.png"/><Relationship Id="rId3" Type="http://schemas.openxmlformats.org/officeDocument/2006/relationships/audio" Target="../media/audio1.wav"/><Relationship Id="rId7" Type="http://schemas.openxmlformats.org/officeDocument/2006/relationships/image" Target="../media/image34.png"/><Relationship Id="rId12" Type="http://schemas.openxmlformats.org/officeDocument/2006/relationships/image" Target="../media/image37.png"/><Relationship Id="rId2" Type="http://schemas.openxmlformats.org/officeDocument/2006/relationships/notesSlide" Target="../notesSlides/notesSlide3.xml"/><Relationship Id="rId16" Type="http://schemas.openxmlformats.org/officeDocument/2006/relationships/audio" Target="../media/audio3.wav"/><Relationship Id="rId1" Type="http://schemas.openxmlformats.org/officeDocument/2006/relationships/slideLayout" Target="../slideLayouts/slideLayout76.xml"/><Relationship Id="rId6" Type="http://schemas.openxmlformats.org/officeDocument/2006/relationships/image" Target="../media/image28.jfif"/><Relationship Id="rId11" Type="http://schemas.openxmlformats.org/officeDocument/2006/relationships/image" Target="../media/image36.png"/><Relationship Id="rId5" Type="http://schemas.openxmlformats.org/officeDocument/2006/relationships/audio" Target="../media/audio3.wav"/><Relationship Id="rId15" Type="http://schemas.openxmlformats.org/officeDocument/2006/relationships/audio" Target="../media/audio2.wav"/><Relationship Id="rId10" Type="http://schemas.openxmlformats.org/officeDocument/2006/relationships/image" Target="../media/image29.png"/><Relationship Id="rId4" Type="http://schemas.openxmlformats.org/officeDocument/2006/relationships/audio" Target="../media/audio2.wav"/><Relationship Id="rId9" Type="http://schemas.openxmlformats.org/officeDocument/2006/relationships/slide" Target="slide10.xml"/><Relationship Id="rId14" Type="http://schemas.openxmlformats.org/officeDocument/2006/relationships/audio" Target="../media/audio1.wav"/></Relationships>
</file>

<file path=ppt/slides/_rels/slide13.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38.png"/><Relationship Id="rId1" Type="http://schemas.openxmlformats.org/officeDocument/2006/relationships/slideLayout" Target="../slideLayouts/slideLayout51.xml"/><Relationship Id="rId5" Type="http://schemas.openxmlformats.org/officeDocument/2006/relationships/image" Target="../media/image40.svg"/><Relationship Id="rId4" Type="http://schemas.openxmlformats.org/officeDocument/2006/relationships/image" Target="../media/image39.png"/></Relationships>
</file>

<file path=ppt/slides/_rels/slide1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audio" Target="../media/audio1.wav"/><Relationship Id="rId7" Type="http://schemas.openxmlformats.org/officeDocument/2006/relationships/slide" Target="slide10.xml"/><Relationship Id="rId12" Type="http://schemas.microsoft.com/office/2007/relationships/hdphoto" Target="../media/hdphoto7.wdp"/><Relationship Id="rId2" Type="http://schemas.openxmlformats.org/officeDocument/2006/relationships/notesSlide" Target="../notesSlides/notesSlide4.xml"/><Relationship Id="rId1" Type="http://schemas.openxmlformats.org/officeDocument/2006/relationships/slideLayout" Target="../slideLayouts/slideLayout76.xml"/><Relationship Id="rId6" Type="http://schemas.openxmlformats.org/officeDocument/2006/relationships/image" Target="../media/image35.png"/><Relationship Id="rId11" Type="http://schemas.openxmlformats.org/officeDocument/2006/relationships/image" Target="../media/image22.png"/><Relationship Id="rId5" Type="http://schemas.openxmlformats.org/officeDocument/2006/relationships/image" Target="../media/image34.png"/><Relationship Id="rId10" Type="http://schemas.openxmlformats.org/officeDocument/2006/relationships/image" Target="../media/image41.png"/><Relationship Id="rId4" Type="http://schemas.openxmlformats.org/officeDocument/2006/relationships/image" Target="../media/image28.jfif"/><Relationship Id="rId9"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Layout" Target="../slideLayouts/slideLayout51.xml"/><Relationship Id="rId6" Type="http://schemas.microsoft.com/office/2007/relationships/hdphoto" Target="../media/hdphoto9.wdp"/><Relationship Id="rId5" Type="http://schemas.openxmlformats.org/officeDocument/2006/relationships/image" Target="../media/image27.png"/><Relationship Id="rId4" Type="http://schemas.microsoft.com/office/2007/relationships/hdphoto" Target="../media/hdphoto7.wdp"/></Relationships>
</file>

<file path=ppt/slides/_rels/slide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51.xml"/><Relationship Id="rId7" Type="http://schemas.openxmlformats.org/officeDocument/2006/relationships/image" Target="../media/image25.png"/><Relationship Id="rId2" Type="http://schemas.openxmlformats.org/officeDocument/2006/relationships/audio" Target="../media/media3.mp3"/><Relationship Id="rId1" Type="http://schemas.microsoft.com/office/2007/relationships/media" Target="../media/media3.mp3"/><Relationship Id="rId6" Type="http://schemas.openxmlformats.org/officeDocument/2006/relationships/image" Target="../media/image24.png"/><Relationship Id="rId5" Type="http://schemas.microsoft.com/office/2007/relationships/hdphoto" Target="../media/hdphoto8.wdp"/><Relationship Id="rId10" Type="http://schemas.openxmlformats.org/officeDocument/2006/relationships/image" Target="../media/image20.png"/><Relationship Id="rId4" Type="http://schemas.openxmlformats.org/officeDocument/2006/relationships/image" Target="../media/image23.png"/><Relationship Id="rId9" Type="http://schemas.microsoft.com/office/2007/relationships/hdphoto" Target="../media/hdphoto7.wdp"/></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7.xml"/><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7.xml"/><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51.xml"/><Relationship Id="rId7" Type="http://schemas.openxmlformats.org/officeDocument/2006/relationships/image" Target="../media/image25.png"/><Relationship Id="rId2" Type="http://schemas.openxmlformats.org/officeDocument/2006/relationships/audio" Target="../media/media3.mp3"/><Relationship Id="rId1" Type="http://schemas.microsoft.com/office/2007/relationships/media" Target="../media/media3.mp3"/><Relationship Id="rId6" Type="http://schemas.openxmlformats.org/officeDocument/2006/relationships/image" Target="../media/image24.png"/><Relationship Id="rId5" Type="http://schemas.microsoft.com/office/2007/relationships/hdphoto" Target="../media/hdphoto8.wdp"/><Relationship Id="rId10" Type="http://schemas.openxmlformats.org/officeDocument/2006/relationships/image" Target="../media/image20.png"/><Relationship Id="rId4" Type="http://schemas.openxmlformats.org/officeDocument/2006/relationships/image" Target="../media/image23.png"/><Relationship Id="rId9" Type="http://schemas.microsoft.com/office/2007/relationships/hdphoto" Target="../media/hdphoto7.wdp"/></Relationships>
</file>

<file path=ppt/slides/_rels/slide2.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image" Target="../media/image13.jpeg"/><Relationship Id="rId1" Type="http://schemas.openxmlformats.org/officeDocument/2006/relationships/slideLayout" Target="../slideLayouts/slideLayout34.xml"/><Relationship Id="rId6" Type="http://schemas.openxmlformats.org/officeDocument/2006/relationships/image" Target="../media/image16.png"/><Relationship Id="rId5" Type="http://schemas.microsoft.com/office/2007/relationships/hdphoto" Target="../media/hdphoto5.wdp"/><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gif"/><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Layout" Target="../slideLayouts/slideLayout7.xml"/><Relationship Id="rId6" Type="http://schemas.openxmlformats.org/officeDocument/2006/relationships/image" Target="../media/image48.gif"/><Relationship Id="rId5" Type="http://schemas.openxmlformats.org/officeDocument/2006/relationships/image" Target="../media/image41.png"/><Relationship Id="rId4" Type="http://schemas.microsoft.com/office/2007/relationships/hdphoto" Target="../media/hdphoto7.wdp"/></Relationships>
</file>

<file path=ppt/slides/_rels/slide2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51.xml"/><Relationship Id="rId7" Type="http://schemas.openxmlformats.org/officeDocument/2006/relationships/image" Target="../media/image25.png"/><Relationship Id="rId2" Type="http://schemas.openxmlformats.org/officeDocument/2006/relationships/audio" Target="../media/media3.mp3"/><Relationship Id="rId1" Type="http://schemas.microsoft.com/office/2007/relationships/media" Target="../media/media3.mp3"/><Relationship Id="rId6" Type="http://schemas.openxmlformats.org/officeDocument/2006/relationships/image" Target="../media/image24.png"/><Relationship Id="rId5" Type="http://schemas.microsoft.com/office/2007/relationships/hdphoto" Target="../media/hdphoto8.wdp"/><Relationship Id="rId10" Type="http://schemas.microsoft.com/office/2007/relationships/hdphoto" Target="../media/hdphoto7.wdp"/><Relationship Id="rId4" Type="http://schemas.openxmlformats.org/officeDocument/2006/relationships/image" Target="../media/image23.png"/><Relationship Id="rId9" Type="http://schemas.openxmlformats.org/officeDocument/2006/relationships/image" Target="../media/image22.png"/></Relationships>
</file>

<file path=ppt/slides/_rels/slide2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Layout" Target="../slideLayouts/slideLayout7.xml"/><Relationship Id="rId5" Type="http://schemas.openxmlformats.org/officeDocument/2006/relationships/image" Target="../media/image50.png"/><Relationship Id="rId4" Type="http://schemas.microsoft.com/office/2007/relationships/hdphoto" Target="../media/hdphoto7.wdp"/></Relationships>
</file>

<file path=ppt/slides/_rels/slide2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51.xml"/><Relationship Id="rId7" Type="http://schemas.openxmlformats.org/officeDocument/2006/relationships/image" Target="../media/image25.png"/><Relationship Id="rId2" Type="http://schemas.openxmlformats.org/officeDocument/2006/relationships/audio" Target="../media/media3.mp3"/><Relationship Id="rId1" Type="http://schemas.microsoft.com/office/2007/relationships/media" Target="../media/media3.mp3"/><Relationship Id="rId6" Type="http://schemas.openxmlformats.org/officeDocument/2006/relationships/image" Target="../media/image24.png"/><Relationship Id="rId5" Type="http://schemas.microsoft.com/office/2007/relationships/hdphoto" Target="../media/hdphoto8.wdp"/><Relationship Id="rId10" Type="http://schemas.microsoft.com/office/2007/relationships/hdphoto" Target="../media/hdphoto7.wdp"/><Relationship Id="rId4" Type="http://schemas.openxmlformats.org/officeDocument/2006/relationships/image" Target="../media/image23.png"/><Relationship Id="rId9" Type="http://schemas.openxmlformats.org/officeDocument/2006/relationships/image" Target="../media/image22.png"/></Relationships>
</file>

<file path=ppt/slides/_rels/slide2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8" Type="http://schemas.openxmlformats.org/officeDocument/2006/relationships/audio" Target="../media/audio2.wav"/><Relationship Id="rId3" Type="http://schemas.openxmlformats.org/officeDocument/2006/relationships/audio" Target="../media/audio3.wav"/><Relationship Id="rId7" Type="http://schemas.openxmlformats.org/officeDocument/2006/relationships/image" Target="../media/image37.png"/><Relationship Id="rId2" Type="http://schemas.openxmlformats.org/officeDocument/2006/relationships/audio" Target="../media/audio2.wav"/><Relationship Id="rId1" Type="http://schemas.openxmlformats.org/officeDocument/2006/relationships/slideLayout" Target="../slideLayouts/slideLayout7.xml"/><Relationship Id="rId6" Type="http://schemas.openxmlformats.org/officeDocument/2006/relationships/image" Target="../media/image36.png"/><Relationship Id="rId5" Type="http://schemas.openxmlformats.org/officeDocument/2006/relationships/image" Target="../media/image44.png"/><Relationship Id="rId4" Type="http://schemas.openxmlformats.org/officeDocument/2006/relationships/image" Target="../media/image42.png"/><Relationship Id="rId9" Type="http://schemas.openxmlformats.org/officeDocument/2006/relationships/audio" Target="../media/audio3.wav"/></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microsoft.com/office/2007/relationships/media" Target="../media/media1.mp4"/><Relationship Id="rId1" Type="http://schemas.openxmlformats.org/officeDocument/2006/relationships/video" Target="NULL" TargetMode="External"/><Relationship Id="rId4" Type="http://schemas.openxmlformats.org/officeDocument/2006/relationships/image" Target="../media/image18.png"/></Relationships>
</file>

<file path=ppt/slides/_rels/slide30.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22.png"/><Relationship Id="rId1" Type="http://schemas.openxmlformats.org/officeDocument/2006/relationships/slideLayout" Target="../slideLayouts/slideLayout51.xml"/><Relationship Id="rId4" Type="http://schemas.openxmlformats.org/officeDocument/2006/relationships/image" Target="../media/image14.png"/></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8" Type="http://schemas.microsoft.com/office/2007/relationships/hdphoto" Target="../media/hdphoto12.wdp"/><Relationship Id="rId13" Type="http://schemas.openxmlformats.org/officeDocument/2006/relationships/image" Target="../media/image20.png"/><Relationship Id="rId3" Type="http://schemas.openxmlformats.org/officeDocument/2006/relationships/slideLayout" Target="../slideLayouts/slideLayout51.xml"/><Relationship Id="rId7" Type="http://schemas.openxmlformats.org/officeDocument/2006/relationships/image" Target="../media/image53.png"/><Relationship Id="rId12" Type="http://schemas.microsoft.com/office/2007/relationships/hdphoto" Target="../media/hdphoto13.wdp"/><Relationship Id="rId2" Type="http://schemas.openxmlformats.org/officeDocument/2006/relationships/audio" Target="../media/media3.mp3"/><Relationship Id="rId1" Type="http://schemas.microsoft.com/office/2007/relationships/media" Target="../media/media3.mp3"/><Relationship Id="rId6" Type="http://schemas.microsoft.com/office/2007/relationships/hdphoto" Target="../media/hdphoto11.wdp"/><Relationship Id="rId11" Type="http://schemas.openxmlformats.org/officeDocument/2006/relationships/image" Target="../media/image54.png"/><Relationship Id="rId5" Type="http://schemas.openxmlformats.org/officeDocument/2006/relationships/image" Target="../media/image52.png"/><Relationship Id="rId10" Type="http://schemas.microsoft.com/office/2007/relationships/hdphoto" Target="../media/hdphoto7.wdp"/><Relationship Id="rId4" Type="http://schemas.openxmlformats.org/officeDocument/2006/relationships/notesSlide" Target="../notesSlides/notesSlide5.xml"/><Relationship Id="rId9" Type="http://schemas.openxmlformats.org/officeDocument/2006/relationships/image" Target="../media/image22.png"/></Relationships>
</file>

<file path=ppt/slides/_rels/slide3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8.xml"/><Relationship Id="rId7" Type="http://schemas.openxmlformats.org/officeDocument/2006/relationships/image" Target="../media/image57.svg"/><Relationship Id="rId2" Type="http://schemas.openxmlformats.org/officeDocument/2006/relationships/audio" Target="../media/media2.mp3"/><Relationship Id="rId1" Type="http://schemas.microsoft.com/office/2007/relationships/media" Target="../media/media2.mp3"/><Relationship Id="rId6" Type="http://schemas.openxmlformats.org/officeDocument/2006/relationships/image" Target="../media/image56.png"/><Relationship Id="rId5" Type="http://schemas.openxmlformats.org/officeDocument/2006/relationships/image" Target="../media/image20.png"/><Relationship Id="rId4" Type="http://schemas.openxmlformats.org/officeDocument/2006/relationships/image" Target="../media/image55.jpeg"/><Relationship Id="rId9" Type="http://schemas.microsoft.com/office/2007/relationships/hdphoto" Target="../media/hdphoto7.wdp"/></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audio" Target="../media/media2.mp3"/><Relationship Id="rId1" Type="http://schemas.microsoft.com/office/2007/relationships/media" Target="../media/media2.mp3"/><Relationship Id="rId5" Type="http://schemas.openxmlformats.org/officeDocument/2006/relationships/image" Target="../media/image20.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image" Target="../media/image21.png"/><Relationship Id="rId1" Type="http://schemas.openxmlformats.org/officeDocument/2006/relationships/slideLayout" Target="../slideLayouts/slideLayout51.xml"/><Relationship Id="rId6" Type="http://schemas.openxmlformats.org/officeDocument/2006/relationships/image" Target="../media/image16.png"/><Relationship Id="rId5" Type="http://schemas.microsoft.com/office/2007/relationships/hdphoto" Target="../media/hdphoto5.wdp"/><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22.png"/><Relationship Id="rId1" Type="http://schemas.openxmlformats.org/officeDocument/2006/relationships/slideLayout" Target="../slideLayouts/slideLayout51.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51.xml"/><Relationship Id="rId7" Type="http://schemas.openxmlformats.org/officeDocument/2006/relationships/image" Target="../media/image25.png"/><Relationship Id="rId2" Type="http://schemas.openxmlformats.org/officeDocument/2006/relationships/audio" Target="../media/media3.mp3"/><Relationship Id="rId1" Type="http://schemas.microsoft.com/office/2007/relationships/media" Target="../media/media3.mp3"/><Relationship Id="rId6" Type="http://schemas.openxmlformats.org/officeDocument/2006/relationships/image" Target="../media/image24.png"/><Relationship Id="rId5" Type="http://schemas.microsoft.com/office/2007/relationships/hdphoto" Target="../media/hdphoto8.wdp"/><Relationship Id="rId10" Type="http://schemas.openxmlformats.org/officeDocument/2006/relationships/image" Target="../media/image20.png"/><Relationship Id="rId4" Type="http://schemas.openxmlformats.org/officeDocument/2006/relationships/image" Target="../media/image23.png"/><Relationship Id="rId9" Type="http://schemas.microsoft.com/office/2007/relationships/hdphoto" Target="../media/hdphoto7.wdp"/></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Layout" Target="../slideLayouts/slideLayout51.xml"/><Relationship Id="rId6" Type="http://schemas.microsoft.com/office/2007/relationships/hdphoto" Target="../media/hdphoto9.wdp"/><Relationship Id="rId5" Type="http://schemas.openxmlformats.org/officeDocument/2006/relationships/image" Target="../media/image27.png"/><Relationship Id="rId4" Type="http://schemas.microsoft.com/office/2007/relationships/hdphoto" Target="../media/hdphoto7.wdp"/></Relationships>
</file>

<file path=ppt/slides/_rels/slide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76.xml"/><Relationship Id="rId7" Type="http://schemas.openxmlformats.org/officeDocument/2006/relationships/image" Target="../media/image20.png"/><Relationship Id="rId12" Type="http://schemas.microsoft.com/office/2007/relationships/hdphoto" Target="../media/hdphoto7.wdp"/><Relationship Id="rId2" Type="http://schemas.openxmlformats.org/officeDocument/2006/relationships/audio" Target="../media/media4.mp3"/><Relationship Id="rId1" Type="http://schemas.microsoft.com/office/2007/relationships/media" Target="../media/media4.mp3"/><Relationship Id="rId6" Type="http://schemas.openxmlformats.org/officeDocument/2006/relationships/image" Target="../media/image29.png"/><Relationship Id="rId11" Type="http://schemas.openxmlformats.org/officeDocument/2006/relationships/image" Target="../media/image22.png"/><Relationship Id="rId5" Type="http://schemas.openxmlformats.org/officeDocument/2006/relationships/image" Target="../media/image28.jfif"/><Relationship Id="rId10" Type="http://schemas.openxmlformats.org/officeDocument/2006/relationships/image" Target="../media/image32.emf"/><Relationship Id="rId4" Type="http://schemas.openxmlformats.org/officeDocument/2006/relationships/notesSlide" Target="../notesSlides/notesSlide1.xml"/><Relationship Id="rId9"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5C67C2E-AA34-6867-CF18-5CFCD39ABAAF}"/>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5333" r="94111">
                        <a14:foregroundMark x1="5444" y1="38556" x2="11556" y2="42444"/>
                        <a14:foregroundMark x1="89667" y1="54222" x2="94111" y2="56556"/>
                        <a14:foregroundMark x1="21333" y1="28778" x2="25333" y2="31000"/>
                        <a14:foregroundMark x1="39778" y1="18111" x2="41111" y2="23778"/>
                        <a14:foregroundMark x1="58111" y1="21333" x2="58111" y2="22222"/>
                        <a14:foregroundMark x1="73333" y1="32778" x2="74000" y2="34222"/>
                        <a14:foregroundMark x1="76333" y1="44556" x2="78333" y2="46889"/>
                        <a14:foregroundMark x1="63000" y1="72222" x2="66444" y2="73222"/>
                        <a14:foregroundMark x1="56444" y1="76444" x2="58444" y2="77778"/>
                        <a14:foregroundMark x1="41222" y1="76111" x2="43667" y2="79222"/>
                        <a14:foregroundMark x1="29222" y1="72000" x2="30444" y2="72000"/>
                        <a14:foregroundMark x1="18111" y1="59556" x2="22556" y2="61444"/>
                        <a14:foregroundMark x1="20444" y1="37222" x2="24333" y2="39111"/>
                        <a14:backgroundMark x1="20556" y1="19778" x2="33889" y2="28333"/>
                        <a14:backgroundMark x1="15444" y1="54111" x2="22000" y2="55333"/>
                      </a14:backgroundRemoval>
                    </a14:imgEffect>
                  </a14:imgLayer>
                </a14:imgProps>
              </a:ext>
            </a:extLst>
          </a:blip>
          <a:stretch>
            <a:fillRect/>
          </a:stretch>
        </p:blipFill>
        <p:spPr>
          <a:xfrm>
            <a:off x="9457329" y="-468957"/>
            <a:ext cx="2170974" cy="2170974"/>
          </a:xfrm>
          <a:prstGeom prst="rect">
            <a:avLst/>
          </a:prstGeom>
        </p:spPr>
      </p:pic>
      <p:pic>
        <p:nvPicPr>
          <p:cNvPr id="9" name="Picture 8" descr="A group of trees in a field&#10;&#10;Description automatically generated with low confidence">
            <a:extLst>
              <a:ext uri="{FF2B5EF4-FFF2-40B4-BE49-F238E27FC236}">
                <a16:creationId xmlns:a16="http://schemas.microsoft.com/office/drawing/2014/main" id="{AA5A87E4-5066-259B-E850-130463909A13}"/>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9602" b="96956" l="938" r="98125">
                        <a14:foregroundMark x1="2500" y1="74473" x2="47656" y2="86651"/>
                        <a14:foregroundMark x1="47656" y1="86651" x2="79844" y2="87588"/>
                        <a14:foregroundMark x1="8906" y1="86885" x2="74219" y2="93677"/>
                        <a14:foregroundMark x1="938" y1="92272" x2="89688" y2="94614"/>
                        <a14:foregroundMark x1="87344" y1="79157" x2="98125" y2="82904"/>
                        <a14:foregroundMark x1="70938" y1="96956" x2="93906" y2="96019"/>
                      </a14:backgroundRemoval>
                    </a14:imgEffect>
                  </a14:imgLayer>
                </a14:imgProps>
              </a:ext>
              <a:ext uri="{28A0092B-C50C-407E-A947-70E740481C1C}">
                <a14:useLocalDpi xmlns:a14="http://schemas.microsoft.com/office/drawing/2010/main" val="0"/>
              </a:ext>
            </a:extLst>
          </a:blip>
          <a:srcRect t="50994"/>
          <a:stretch/>
        </p:blipFill>
        <p:spPr>
          <a:xfrm>
            <a:off x="-55388" y="4658090"/>
            <a:ext cx="12191999" cy="2199909"/>
          </a:xfrm>
          <a:prstGeom prst="rect">
            <a:avLst/>
          </a:prstGeom>
        </p:spPr>
      </p:pic>
      <p:pic>
        <p:nvPicPr>
          <p:cNvPr id="6" name="Picture 5">
            <a:extLst>
              <a:ext uri="{FF2B5EF4-FFF2-40B4-BE49-F238E27FC236}">
                <a16:creationId xmlns:a16="http://schemas.microsoft.com/office/drawing/2014/main" id="{1161B459-A83E-F4D2-CD9D-6D1E2DB1AAF5}"/>
              </a:ext>
            </a:extLst>
          </p:cNvPr>
          <p:cNvPicPr>
            <a:picLocks noChangeAspect="1"/>
          </p:cNvPicPr>
          <p:nvPr/>
        </p:nvPicPr>
        <p:blipFill>
          <a:blip r:embed="rId9"/>
          <a:stretch>
            <a:fillRect/>
          </a:stretch>
        </p:blipFill>
        <p:spPr>
          <a:xfrm flipH="1">
            <a:off x="265938" y="3928653"/>
            <a:ext cx="4721534" cy="4052458"/>
          </a:xfrm>
          <a:prstGeom prst="rect">
            <a:avLst/>
          </a:prstGeom>
        </p:spPr>
      </p:pic>
      <p:pic>
        <p:nvPicPr>
          <p:cNvPr id="2" name="Picture 1">
            <a:extLst>
              <a:ext uri="{FF2B5EF4-FFF2-40B4-BE49-F238E27FC236}">
                <a16:creationId xmlns:a16="http://schemas.microsoft.com/office/drawing/2014/main" id="{572496BF-B975-B199-C62A-5A1FA3733259}"/>
              </a:ext>
            </a:extLst>
          </p:cNvPr>
          <p:cNvPicPr>
            <a:picLocks noChangeAspect="1"/>
          </p:cNvPicPr>
          <p:nvPr/>
        </p:nvPicPr>
        <p:blipFill>
          <a:blip r:embed="rId10"/>
          <a:stretch>
            <a:fillRect/>
          </a:stretch>
        </p:blipFill>
        <p:spPr>
          <a:xfrm>
            <a:off x="238810" y="132834"/>
            <a:ext cx="1416970" cy="1326567"/>
          </a:xfrm>
          <a:prstGeom prst="rect">
            <a:avLst/>
          </a:prstGeom>
        </p:spPr>
      </p:pic>
      <p:sp>
        <p:nvSpPr>
          <p:cNvPr id="17" name="TextBox 16">
            <a:extLst>
              <a:ext uri="{FF2B5EF4-FFF2-40B4-BE49-F238E27FC236}">
                <a16:creationId xmlns:a16="http://schemas.microsoft.com/office/drawing/2014/main" id="{B2B27B23-7588-5C35-D840-820944039083}"/>
              </a:ext>
            </a:extLst>
          </p:cNvPr>
          <p:cNvSpPr txBox="1"/>
          <p:nvPr/>
        </p:nvSpPr>
        <p:spPr>
          <a:xfrm>
            <a:off x="5500680" y="4399701"/>
            <a:ext cx="4928781"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1" u="none" strike="noStrike" kern="1200" cap="none" spc="0" normalizeH="0" baseline="0" noProof="0" dirty="0" err="1">
                <a:ln w="0"/>
                <a:solidFill>
                  <a:srgbClr val="002060"/>
                </a:solidFill>
                <a:effectLst>
                  <a:outerShdw blurRad="38100" dist="25400" dir="5400000" algn="ctr" rotWithShape="0">
                    <a:srgbClr val="6E747A">
                      <a:alpha val="43000"/>
                    </a:srgbClr>
                  </a:outerShdw>
                </a:effectLst>
                <a:uLnTx/>
                <a:uFillTx/>
                <a:latin typeface="Times New Roman" panose="02020603050405020304" pitchFamily="18" charset="0"/>
                <a:ea typeface="+mn-ea"/>
                <a:cs typeface="Times New Roman" panose="02020603050405020304" pitchFamily="18" charset="0"/>
              </a:rPr>
              <a:t>Giáo</a:t>
            </a:r>
            <a:r>
              <a:rPr kumimoji="0" lang="en-US" sz="3000" b="0" i="1" u="none" strike="noStrike" kern="1200" cap="none" spc="0" normalizeH="0" baseline="0" noProof="0" dirty="0">
                <a:ln w="0"/>
                <a:solidFill>
                  <a:srgbClr val="002060"/>
                </a:solidFill>
                <a:effectLst>
                  <a:outerShdw blurRad="38100" dist="25400" dir="5400000" algn="ctr" rotWithShape="0">
                    <a:srgbClr val="6E747A">
                      <a:alpha val="43000"/>
                    </a:srgbClr>
                  </a:outerShdw>
                </a:effectLst>
                <a:uLnTx/>
                <a:uFillTx/>
                <a:latin typeface="Times New Roman" panose="02020603050405020304" pitchFamily="18" charset="0"/>
                <a:ea typeface="+mn-ea"/>
                <a:cs typeface="Times New Roman" panose="02020603050405020304" pitchFamily="18" charset="0"/>
              </a:rPr>
              <a:t> </a:t>
            </a:r>
            <a:r>
              <a:rPr kumimoji="0" lang="en-US" sz="3000" b="0" i="1" u="none" strike="noStrike" kern="1200" cap="none" spc="0" normalizeH="0" baseline="0" noProof="0" dirty="0" err="1">
                <a:ln w="0"/>
                <a:solidFill>
                  <a:srgbClr val="002060"/>
                </a:solidFill>
                <a:effectLst>
                  <a:outerShdw blurRad="38100" dist="25400" dir="5400000" algn="ctr" rotWithShape="0">
                    <a:srgbClr val="6E747A">
                      <a:alpha val="43000"/>
                    </a:srgbClr>
                  </a:outerShdw>
                </a:effectLst>
                <a:uLnTx/>
                <a:uFillTx/>
                <a:latin typeface="Times New Roman" panose="02020603050405020304" pitchFamily="18" charset="0"/>
                <a:ea typeface="+mn-ea"/>
                <a:cs typeface="Times New Roman" panose="02020603050405020304" pitchFamily="18" charset="0"/>
              </a:rPr>
              <a:t>viên:Nguyễn</a:t>
            </a:r>
            <a:r>
              <a:rPr kumimoji="0" lang="en-US" sz="3000" b="0" i="1" u="none" strike="noStrike" kern="1200" cap="none" spc="0" normalizeH="0" baseline="0" noProof="0" dirty="0">
                <a:ln w="0"/>
                <a:solidFill>
                  <a:srgbClr val="002060"/>
                </a:solidFill>
                <a:effectLst>
                  <a:outerShdw blurRad="38100" dist="25400" dir="5400000" algn="ctr" rotWithShape="0">
                    <a:srgbClr val="6E747A">
                      <a:alpha val="43000"/>
                    </a:srgbClr>
                  </a:outerShdw>
                </a:effectLst>
                <a:uLnTx/>
                <a:uFillTx/>
                <a:latin typeface="Times New Roman" panose="02020603050405020304" pitchFamily="18" charset="0"/>
                <a:ea typeface="+mn-ea"/>
                <a:cs typeface="Times New Roman" panose="02020603050405020304" pitchFamily="18" charset="0"/>
              </a:rPr>
              <a:t> </a:t>
            </a:r>
            <a:r>
              <a:rPr kumimoji="0" lang="en-US" sz="3000" b="0" i="1" u="none" strike="noStrike" kern="1200" cap="none" spc="0" normalizeH="0" baseline="0" noProof="0" dirty="0" err="1">
                <a:ln w="0"/>
                <a:solidFill>
                  <a:srgbClr val="002060"/>
                </a:solidFill>
                <a:effectLst>
                  <a:outerShdw blurRad="38100" dist="25400" dir="5400000" algn="ctr" rotWithShape="0">
                    <a:srgbClr val="6E747A">
                      <a:alpha val="43000"/>
                    </a:srgbClr>
                  </a:outerShdw>
                </a:effectLst>
                <a:uLnTx/>
                <a:uFillTx/>
                <a:latin typeface="Times New Roman" panose="02020603050405020304" pitchFamily="18" charset="0"/>
                <a:ea typeface="+mn-ea"/>
                <a:cs typeface="Times New Roman" panose="02020603050405020304" pitchFamily="18" charset="0"/>
              </a:rPr>
              <a:t>Thị</a:t>
            </a:r>
            <a:r>
              <a:rPr kumimoji="0" lang="en-US" sz="3000" b="0" i="1" u="none" strike="noStrike" kern="1200" cap="none" spc="0" normalizeH="0" baseline="0" noProof="0" dirty="0">
                <a:ln w="0"/>
                <a:solidFill>
                  <a:srgbClr val="002060"/>
                </a:solidFill>
                <a:effectLst>
                  <a:outerShdw blurRad="38100" dist="25400" dir="5400000" algn="ctr" rotWithShape="0">
                    <a:srgbClr val="6E747A">
                      <a:alpha val="43000"/>
                    </a:srgbClr>
                  </a:outerShdw>
                </a:effectLst>
                <a:uLnTx/>
                <a:uFillTx/>
                <a:latin typeface="Times New Roman" panose="02020603050405020304" pitchFamily="18" charset="0"/>
                <a:ea typeface="+mn-ea"/>
                <a:cs typeface="Times New Roman" panose="02020603050405020304" pitchFamily="18" charset="0"/>
              </a:rPr>
              <a:t> </a:t>
            </a:r>
            <a:r>
              <a:rPr lang="en-US" sz="3000" i="1" dirty="0">
                <a:ln w="0"/>
                <a:solidFill>
                  <a:srgbClr val="002060"/>
                </a:solidFill>
                <a:effectLst>
                  <a:outerShdw blurRad="38100" dist="25400" dir="5400000" algn="ctr" rotWithShape="0">
                    <a:srgbClr val="6E747A">
                      <a:alpha val="43000"/>
                    </a:srgbClr>
                  </a:outerShdw>
                </a:effectLst>
                <a:latin typeface="Times New Roman" panose="02020603050405020304" pitchFamily="18" charset="0"/>
                <a:cs typeface="Times New Roman" panose="02020603050405020304" pitchFamily="18" charset="0"/>
              </a:rPr>
              <a:t>T</a:t>
            </a:r>
            <a:r>
              <a:rPr kumimoji="0" lang="en-US" sz="3000" b="0" i="1" u="none" strike="noStrike" kern="1200" cap="none" spc="0" normalizeH="0" baseline="0" noProof="0" dirty="0" err="1">
                <a:ln w="0"/>
                <a:solidFill>
                  <a:srgbClr val="002060"/>
                </a:solidFill>
                <a:effectLst>
                  <a:outerShdw blurRad="38100" dist="25400" dir="5400000" algn="ctr" rotWithShape="0">
                    <a:srgbClr val="6E747A">
                      <a:alpha val="43000"/>
                    </a:srgbClr>
                  </a:outerShdw>
                </a:effectLst>
                <a:uLnTx/>
                <a:uFillTx/>
                <a:latin typeface="Times New Roman" panose="02020603050405020304" pitchFamily="18" charset="0"/>
                <a:ea typeface="+mn-ea"/>
                <a:cs typeface="Times New Roman" panose="02020603050405020304" pitchFamily="18" charset="0"/>
              </a:rPr>
              <a:t>hắm</a:t>
            </a:r>
            <a:r>
              <a:rPr kumimoji="0" lang="en-US" sz="3000" b="0" i="1" u="none" strike="noStrike" kern="1200" cap="none" spc="0" normalizeH="0" baseline="0" noProof="0" dirty="0">
                <a:ln w="0"/>
                <a:solidFill>
                  <a:srgbClr val="002060"/>
                </a:solidFill>
                <a:effectLst>
                  <a:outerShdw blurRad="38100" dist="25400" dir="5400000" algn="ctr" rotWithShape="0">
                    <a:srgbClr val="6E747A">
                      <a:alpha val="43000"/>
                    </a:srgbClr>
                  </a:outerShdw>
                </a:effectLst>
                <a:uLnTx/>
                <a:uFillTx/>
                <a:latin typeface="Times New Roman" panose="02020603050405020304" pitchFamily="18" charset="0"/>
                <a:ea typeface="+mn-ea"/>
                <a:cs typeface="Times New Roman" panose="02020603050405020304" pitchFamily="18" charset="0"/>
              </a:rPr>
              <a:t> </a:t>
            </a:r>
          </a:p>
        </p:txBody>
      </p:sp>
      <p:grpSp>
        <p:nvGrpSpPr>
          <p:cNvPr id="27" name="School" descr="{&quot;Key&quot;:&quot;POWER_USER_SHAPE_ICON&quot;,&quot;Value&quot;:&quot;POWER_USER_SHAPE_ICON_STYLE_1&quot;}">
            <a:extLst>
              <a:ext uri="{FF2B5EF4-FFF2-40B4-BE49-F238E27FC236}">
                <a16:creationId xmlns:a16="http://schemas.microsoft.com/office/drawing/2014/main" id="{12925B3F-4B3D-B407-0A75-10D51AD0D8FA}"/>
              </a:ext>
            </a:extLst>
          </p:cNvPr>
          <p:cNvGrpSpPr>
            <a:grpSpLocks noChangeAspect="1"/>
          </p:cNvGrpSpPr>
          <p:nvPr>
            <p:custDataLst>
              <p:tags r:id="rId1"/>
            </p:custDataLst>
          </p:nvPr>
        </p:nvGrpSpPr>
        <p:grpSpPr bwMode="auto">
          <a:xfrm>
            <a:off x="4365666" y="2445218"/>
            <a:ext cx="3678391" cy="1736136"/>
            <a:chOff x="8" y="8"/>
            <a:chExt cx="470" cy="471"/>
          </a:xfrm>
          <a:solidFill>
            <a:schemeClr val="bg1"/>
          </a:solidFill>
          <a:effectLst>
            <a:glow rad="63500">
              <a:schemeClr val="accent4">
                <a:satMod val="175000"/>
                <a:alpha val="40000"/>
              </a:schemeClr>
            </a:glow>
          </a:effectLst>
        </p:grpSpPr>
        <p:sp>
          <p:nvSpPr>
            <p:cNvPr id="28" name="School">
              <a:extLst>
                <a:ext uri="{FF2B5EF4-FFF2-40B4-BE49-F238E27FC236}">
                  <a16:creationId xmlns:a16="http://schemas.microsoft.com/office/drawing/2014/main" id="{9AEA5497-74C2-F1C1-B94B-84880F850EA4}"/>
                </a:ext>
              </a:extLst>
            </p:cNvPr>
            <p:cNvSpPr>
              <a:spLocks/>
            </p:cNvSpPr>
            <p:nvPr>
              <p:custDataLst>
                <p:tags r:id="rId2"/>
              </p:custDataLst>
            </p:nvPr>
          </p:nvSpPr>
          <p:spPr bwMode="auto">
            <a:xfrm>
              <a:off x="8" y="8"/>
              <a:ext cx="470" cy="157"/>
            </a:xfrm>
            <a:custGeom>
              <a:avLst/>
              <a:gdLst>
                <a:gd name="T0" fmla="*/ 1198 w 1250"/>
                <a:gd name="T1" fmla="*/ 416 h 416"/>
                <a:gd name="T2" fmla="*/ 625 w 1250"/>
                <a:gd name="T3" fmla="*/ 131 h 416"/>
                <a:gd name="T4" fmla="*/ 52 w 1250"/>
                <a:gd name="T5" fmla="*/ 416 h 416"/>
                <a:gd name="T6" fmla="*/ 0 w 1250"/>
                <a:gd name="T7" fmla="*/ 311 h 416"/>
                <a:gd name="T8" fmla="*/ 624 w 1250"/>
                <a:gd name="T9" fmla="*/ 1 h 416"/>
                <a:gd name="T10" fmla="*/ 624 w 1250"/>
                <a:gd name="T11" fmla="*/ 0 h 416"/>
                <a:gd name="T12" fmla="*/ 625 w 1250"/>
                <a:gd name="T13" fmla="*/ 0 h 416"/>
                <a:gd name="T14" fmla="*/ 626 w 1250"/>
                <a:gd name="T15" fmla="*/ 0 h 416"/>
                <a:gd name="T16" fmla="*/ 626 w 1250"/>
                <a:gd name="T17" fmla="*/ 1 h 416"/>
                <a:gd name="T18" fmla="*/ 1250 w 1250"/>
                <a:gd name="T19" fmla="*/ 311 h 416"/>
                <a:gd name="T20" fmla="*/ 1198 w 1250"/>
                <a:gd name="T21" fmla="*/ 41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0" h="416">
                  <a:moveTo>
                    <a:pt x="1198" y="416"/>
                  </a:moveTo>
                  <a:lnTo>
                    <a:pt x="625" y="131"/>
                  </a:lnTo>
                  <a:lnTo>
                    <a:pt x="52" y="416"/>
                  </a:lnTo>
                  <a:lnTo>
                    <a:pt x="0" y="311"/>
                  </a:lnTo>
                  <a:lnTo>
                    <a:pt x="624" y="1"/>
                  </a:lnTo>
                  <a:lnTo>
                    <a:pt x="624" y="0"/>
                  </a:lnTo>
                  <a:lnTo>
                    <a:pt x="625" y="0"/>
                  </a:lnTo>
                  <a:lnTo>
                    <a:pt x="626" y="0"/>
                  </a:lnTo>
                  <a:lnTo>
                    <a:pt x="626" y="1"/>
                  </a:lnTo>
                  <a:lnTo>
                    <a:pt x="1250" y="311"/>
                  </a:lnTo>
                  <a:lnTo>
                    <a:pt x="1198" y="416"/>
                  </a:lnTo>
                  <a:close/>
                </a:path>
              </a:pathLst>
            </a:custGeom>
            <a:ln>
              <a:headEnd/>
              <a:tailEn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
          <p:nvSpPr>
            <p:cNvPr id="29" name="School">
              <a:extLst>
                <a:ext uri="{FF2B5EF4-FFF2-40B4-BE49-F238E27FC236}">
                  <a16:creationId xmlns:a16="http://schemas.microsoft.com/office/drawing/2014/main" id="{F1F1B41A-29F8-9957-B946-972C4FEE1D34}"/>
                </a:ext>
              </a:extLst>
            </p:cNvPr>
            <p:cNvSpPr>
              <a:spLocks noEditPoints="1"/>
            </p:cNvSpPr>
            <p:nvPr>
              <p:custDataLst>
                <p:tags r:id="rId3"/>
              </p:custDataLst>
            </p:nvPr>
          </p:nvSpPr>
          <p:spPr bwMode="auto">
            <a:xfrm>
              <a:off x="39" y="160"/>
              <a:ext cx="407" cy="319"/>
            </a:xfrm>
            <a:custGeom>
              <a:avLst/>
              <a:gdLst>
                <a:gd name="T0" fmla="*/ 547 w 1084"/>
                <a:gd name="T1" fmla="*/ 160 h 845"/>
                <a:gd name="T2" fmla="*/ 0 w 1084"/>
                <a:gd name="T3" fmla="*/ 127 h 845"/>
                <a:gd name="T4" fmla="*/ 0 w 1084"/>
                <a:gd name="T5" fmla="*/ 218 h 845"/>
                <a:gd name="T6" fmla="*/ 0 w 1084"/>
                <a:gd name="T7" fmla="*/ 823 h 845"/>
                <a:gd name="T8" fmla="*/ 446 w 1084"/>
                <a:gd name="T9" fmla="*/ 823 h 845"/>
                <a:gd name="T10" fmla="*/ 541 w 1084"/>
                <a:gd name="T11" fmla="*/ 845 h 845"/>
                <a:gd name="T12" fmla="*/ 635 w 1084"/>
                <a:gd name="T13" fmla="*/ 823 h 845"/>
                <a:gd name="T14" fmla="*/ 1084 w 1084"/>
                <a:gd name="T15" fmla="*/ 823 h 845"/>
                <a:gd name="T16" fmla="*/ 1084 w 1084"/>
                <a:gd name="T17" fmla="*/ 218 h 845"/>
                <a:gd name="T18" fmla="*/ 1084 w 1084"/>
                <a:gd name="T19" fmla="*/ 127 h 845"/>
                <a:gd name="T20" fmla="*/ 547 w 1084"/>
                <a:gd name="T21" fmla="*/ 160 h 845"/>
                <a:gd name="T22" fmla="*/ 507 w 1084"/>
                <a:gd name="T23" fmla="*/ 779 h 845"/>
                <a:gd name="T24" fmla="*/ 56 w 1084"/>
                <a:gd name="T25" fmla="*/ 768 h 845"/>
                <a:gd name="T26" fmla="*/ 56 w 1084"/>
                <a:gd name="T27" fmla="*/ 178 h 845"/>
                <a:gd name="T28" fmla="*/ 240 w 1084"/>
                <a:gd name="T29" fmla="*/ 134 h 845"/>
                <a:gd name="T30" fmla="*/ 507 w 1084"/>
                <a:gd name="T31" fmla="*/ 273 h 845"/>
                <a:gd name="T32" fmla="*/ 507 w 1084"/>
                <a:gd name="T33" fmla="*/ 779 h 845"/>
                <a:gd name="T34" fmla="*/ 1031 w 1084"/>
                <a:gd name="T35" fmla="*/ 768 h 845"/>
                <a:gd name="T36" fmla="*/ 580 w 1084"/>
                <a:gd name="T37" fmla="*/ 779 h 845"/>
                <a:gd name="T38" fmla="*/ 580 w 1084"/>
                <a:gd name="T39" fmla="*/ 273 h 845"/>
                <a:gd name="T40" fmla="*/ 848 w 1084"/>
                <a:gd name="T41" fmla="*/ 134 h 845"/>
                <a:gd name="T42" fmla="*/ 1031 w 1084"/>
                <a:gd name="T43" fmla="*/ 178 h 845"/>
                <a:gd name="T44" fmla="*/ 1031 w 1084"/>
                <a:gd name="T45" fmla="*/ 768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4" h="845">
                  <a:moveTo>
                    <a:pt x="547" y="160"/>
                  </a:moveTo>
                  <a:cubicBezTo>
                    <a:pt x="510" y="125"/>
                    <a:pt x="295" y="0"/>
                    <a:pt x="0" y="127"/>
                  </a:cubicBezTo>
                  <a:lnTo>
                    <a:pt x="0" y="218"/>
                  </a:lnTo>
                  <a:lnTo>
                    <a:pt x="0" y="823"/>
                  </a:lnTo>
                  <a:lnTo>
                    <a:pt x="446" y="823"/>
                  </a:lnTo>
                  <a:cubicBezTo>
                    <a:pt x="462" y="836"/>
                    <a:pt x="498" y="845"/>
                    <a:pt x="541" y="845"/>
                  </a:cubicBezTo>
                  <a:cubicBezTo>
                    <a:pt x="583" y="845"/>
                    <a:pt x="620" y="836"/>
                    <a:pt x="635" y="823"/>
                  </a:cubicBezTo>
                  <a:lnTo>
                    <a:pt x="1084" y="823"/>
                  </a:lnTo>
                  <a:lnTo>
                    <a:pt x="1084" y="218"/>
                  </a:lnTo>
                  <a:lnTo>
                    <a:pt x="1084" y="127"/>
                  </a:lnTo>
                  <a:cubicBezTo>
                    <a:pt x="801" y="2"/>
                    <a:pt x="576" y="134"/>
                    <a:pt x="547" y="160"/>
                  </a:cubicBezTo>
                  <a:close/>
                  <a:moveTo>
                    <a:pt x="507" y="779"/>
                  </a:moveTo>
                  <a:cubicBezTo>
                    <a:pt x="507" y="755"/>
                    <a:pt x="298" y="616"/>
                    <a:pt x="56" y="768"/>
                  </a:cubicBezTo>
                  <a:lnTo>
                    <a:pt x="56" y="178"/>
                  </a:lnTo>
                  <a:cubicBezTo>
                    <a:pt x="104" y="151"/>
                    <a:pt x="168" y="134"/>
                    <a:pt x="240" y="134"/>
                  </a:cubicBezTo>
                  <a:cubicBezTo>
                    <a:pt x="388" y="134"/>
                    <a:pt x="507" y="182"/>
                    <a:pt x="507" y="273"/>
                  </a:cubicBezTo>
                  <a:lnTo>
                    <a:pt x="507" y="779"/>
                  </a:lnTo>
                  <a:close/>
                  <a:moveTo>
                    <a:pt x="1031" y="768"/>
                  </a:moveTo>
                  <a:cubicBezTo>
                    <a:pt x="789" y="616"/>
                    <a:pt x="580" y="755"/>
                    <a:pt x="580" y="779"/>
                  </a:cubicBezTo>
                  <a:lnTo>
                    <a:pt x="580" y="273"/>
                  </a:lnTo>
                  <a:cubicBezTo>
                    <a:pt x="580" y="182"/>
                    <a:pt x="700" y="134"/>
                    <a:pt x="848" y="134"/>
                  </a:cubicBezTo>
                  <a:cubicBezTo>
                    <a:pt x="919" y="134"/>
                    <a:pt x="983" y="151"/>
                    <a:pt x="1031" y="178"/>
                  </a:cubicBezTo>
                  <a:lnTo>
                    <a:pt x="1031" y="768"/>
                  </a:lnTo>
                  <a:close/>
                </a:path>
              </a:pathLst>
            </a:custGeom>
            <a:ln>
              <a:headEnd/>
              <a:tailEn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grpSp>
      <p:sp>
        <p:nvSpPr>
          <p:cNvPr id="21" name="TextBox 11">
            <a:extLst>
              <a:ext uri="{FF2B5EF4-FFF2-40B4-BE49-F238E27FC236}">
                <a16:creationId xmlns:a16="http://schemas.microsoft.com/office/drawing/2014/main" id="{90CDDD02-24E4-7C05-9544-C6BB6044D798}"/>
              </a:ext>
            </a:extLst>
          </p:cNvPr>
          <p:cNvSpPr txBox="1"/>
          <p:nvPr/>
        </p:nvSpPr>
        <p:spPr>
          <a:xfrm>
            <a:off x="3620188" y="3220209"/>
            <a:ext cx="5169349" cy="820738"/>
          </a:xfrm>
          <a:prstGeom prst="rect">
            <a:avLst/>
          </a:prstGeom>
          <a:effectLst>
            <a:glow rad="63500">
              <a:schemeClr val="accent4">
                <a:satMod val="175000"/>
                <a:alpha val="40000"/>
              </a:schemeClr>
            </a:glow>
          </a:effectLst>
        </p:spPr>
        <p:txBody>
          <a:bodyPr wrap="square" lIns="0" tIns="0" rIns="0" bIns="0" rtlCol="0" anchor="t">
            <a:spAutoFit/>
          </a:bodyPr>
          <a:lstStyle/>
          <a:p>
            <a:pPr marL="0" marR="0" lvl="0" indent="0" algn="ctr" defTabSz="609539" rtl="0" eaLnBrk="1" fontAlgn="auto" latinLnBrk="0" hangingPunct="1">
              <a:lnSpc>
                <a:spcPts val="6400"/>
              </a:lnSpc>
              <a:spcBef>
                <a:spcPts val="0"/>
              </a:spcBef>
              <a:spcAft>
                <a:spcPts val="0"/>
              </a:spcAft>
              <a:buClrTx/>
              <a:buSzTx/>
              <a:buFontTx/>
              <a:buNone/>
              <a:tabLst/>
              <a:defRPr/>
            </a:pPr>
            <a:r>
              <a:rPr kumimoji="0" lang="en-US" sz="6000" b="1" i="0" u="none" strike="noStrike" kern="1200" cap="none" spc="0" normalizeH="0" baseline="0" noProof="0">
                <a:ln>
                  <a:noFill/>
                </a:ln>
                <a:solidFill>
                  <a:srgbClr val="002060"/>
                </a:solidFill>
                <a:effectLst>
                  <a:outerShdw blurRad="38100" dist="38100" dir="2700000" algn="tl">
                    <a:srgbClr val="000000">
                      <a:alpha val="43137"/>
                    </a:srgbClr>
                  </a:outerShdw>
                </a:effectLst>
                <a:uLnTx/>
                <a:uFillTx/>
                <a:latin typeface="Algerian" panose="04020705040A02060702" pitchFamily="82" charset="0"/>
                <a:ea typeface="+mn-ea"/>
                <a:cs typeface="+mn-cs"/>
              </a:rPr>
              <a:t>toán</a:t>
            </a:r>
            <a:endParaRPr kumimoji="0" lang="en-US" sz="6000" b="1" i="0" u="none" strike="noStrike" kern="1200" cap="none" spc="0" normalizeH="0" baseline="0" noProof="0" dirty="0">
              <a:ln>
                <a:noFill/>
              </a:ln>
              <a:solidFill>
                <a:srgbClr val="002060"/>
              </a:solidFill>
              <a:effectLst>
                <a:outerShdw blurRad="38100" dist="38100" dir="2700000" algn="tl">
                  <a:srgbClr val="000000">
                    <a:alpha val="43137"/>
                  </a:srgbClr>
                </a:outerShdw>
              </a:effectLst>
              <a:uLnTx/>
              <a:uFillTx/>
              <a:latin typeface="Algerian" panose="04020705040A02060702" pitchFamily="82" charset="0"/>
              <a:ea typeface="+mn-ea"/>
              <a:cs typeface="+mn-cs"/>
            </a:endParaRPr>
          </a:p>
        </p:txBody>
      </p:sp>
      <p:pic>
        <p:nvPicPr>
          <p:cNvPr id="4" name="Picture 3" descr="Text&#10;&#10;Description automatically generated">
            <a:extLst>
              <a:ext uri="{FF2B5EF4-FFF2-40B4-BE49-F238E27FC236}">
                <a16:creationId xmlns:a16="http://schemas.microsoft.com/office/drawing/2014/main" id="{041A6A35-CE18-8CAC-17AB-67AE14301D3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97107" y="901457"/>
            <a:ext cx="10887008" cy="1950739"/>
          </a:xfrm>
          <a:prstGeom prst="rect">
            <a:avLst/>
          </a:prstGeom>
        </p:spPr>
      </p:pic>
    </p:spTree>
    <p:extLst>
      <p:ext uri="{BB962C8B-B14F-4D97-AF65-F5344CB8AC3E}">
        <p14:creationId xmlns:p14="http://schemas.microsoft.com/office/powerpoint/2010/main" val="137296085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fractur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 presetClass="entr" presetSubtype="4" fill="hold" nodeType="after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ppt_x"/>
                                          </p:val>
                                        </p:tav>
                                        <p:tav tm="100000">
                                          <p:val>
                                            <p:strVal val="#ppt_x"/>
                                          </p:val>
                                        </p:tav>
                                      </p:tavLst>
                                    </p:anim>
                                    <p:anim calcmode="lin" valueType="num">
                                      <p:cBhvr additive="base">
                                        <p:cTn id="14" dur="500" fill="hold"/>
                                        <p:tgtEl>
                                          <p:spTgt spid="7"/>
                                        </p:tgtEl>
                                        <p:attrNameLst>
                                          <p:attrName>ppt_y</p:attrName>
                                        </p:attrNameLst>
                                      </p:cBhvr>
                                      <p:tavLst>
                                        <p:tav tm="0">
                                          <p:val>
                                            <p:strVal val="1+#ppt_h/2"/>
                                          </p:val>
                                        </p:tav>
                                        <p:tav tm="100000">
                                          <p:val>
                                            <p:strVal val="#ppt_y"/>
                                          </p:val>
                                        </p:tav>
                                      </p:tavLst>
                                    </p:anim>
                                  </p:childTnLst>
                                </p:cTn>
                              </p:par>
                            </p:childTnLst>
                          </p:cTn>
                        </p:par>
                        <p:par>
                          <p:cTn id="15" fill="hold">
                            <p:stCondLst>
                              <p:cond delay="1500"/>
                            </p:stCondLst>
                            <p:childTnLst>
                              <p:par>
                                <p:cTn id="16" presetID="2" presetClass="entr" presetSubtype="4"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500" fill="hold"/>
                                        <p:tgtEl>
                                          <p:spTgt spid="6"/>
                                        </p:tgtEl>
                                        <p:attrNameLst>
                                          <p:attrName>ppt_x</p:attrName>
                                        </p:attrNameLst>
                                      </p:cBhvr>
                                      <p:tavLst>
                                        <p:tav tm="0">
                                          <p:val>
                                            <p:strVal val="#ppt_x"/>
                                          </p:val>
                                        </p:tav>
                                        <p:tav tm="100000">
                                          <p:val>
                                            <p:strVal val="#ppt_x"/>
                                          </p:val>
                                        </p:tav>
                                      </p:tavLst>
                                    </p:anim>
                                    <p:anim calcmode="lin" valueType="num">
                                      <p:cBhvr additive="base">
                                        <p:cTn id="19"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772D1759-950B-4696-9447-CEA7823C040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781" y="0"/>
            <a:ext cx="12192000" cy="6858000"/>
          </a:xfrm>
          <a:prstGeom prst="rect">
            <a:avLst/>
          </a:prstGeom>
        </p:spPr>
      </p:pic>
      <p:sp>
        <p:nvSpPr>
          <p:cNvPr id="6" name="Snip Diagonal Corner Rectangle 3">
            <a:extLst>
              <a:ext uri="{FF2B5EF4-FFF2-40B4-BE49-F238E27FC236}">
                <a16:creationId xmlns:a16="http://schemas.microsoft.com/office/drawing/2014/main" id="{0BEB7791-20AB-4543-B399-7279E390E3E2}"/>
              </a:ext>
            </a:extLst>
          </p:cNvPr>
          <p:cNvSpPr/>
          <p:nvPr/>
        </p:nvSpPr>
        <p:spPr>
          <a:xfrm>
            <a:off x="2189103" y="246160"/>
            <a:ext cx="7611656" cy="1407137"/>
          </a:xfrm>
          <a:prstGeom prst="round2DiagRect">
            <a:avLst>
              <a:gd name="adj1" fmla="val 29425"/>
              <a:gd name="adj2" fmla="val 5074"/>
            </a:avLst>
          </a:prstGeom>
          <a:solidFill>
            <a:schemeClr val="bg1"/>
          </a:solidFill>
          <a:ln w="57150">
            <a:solidFill>
              <a:srgbClr val="E65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mn-cs"/>
              </a:rPr>
              <a:t>a, </a:t>
            </a:r>
            <a:r>
              <a:rPr kumimoji="0" lang="en-US" sz="48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605,26 + 217,3</a:t>
            </a:r>
          </a:p>
        </p:txBody>
      </p:sp>
      <p:pic>
        <p:nvPicPr>
          <p:cNvPr id="11" name="Picture 10">
            <a:extLst>
              <a:ext uri="{FF2B5EF4-FFF2-40B4-BE49-F238E27FC236}">
                <a16:creationId xmlns:a16="http://schemas.microsoft.com/office/drawing/2014/main" id="{A30936A0-B094-4C58-AB3F-1DA17E023A7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2500" y="71655"/>
            <a:ext cx="1407136" cy="1407136"/>
          </a:xfrm>
          <a:prstGeom prst="rect">
            <a:avLst/>
          </a:prstGeom>
        </p:spPr>
      </p:pic>
      <p:pic>
        <p:nvPicPr>
          <p:cNvPr id="23" name="Picture 22">
            <a:extLst>
              <a:ext uri="{FF2B5EF4-FFF2-40B4-BE49-F238E27FC236}">
                <a16:creationId xmlns:a16="http://schemas.microsoft.com/office/drawing/2014/main" id="{41C484AF-79E3-41AE-A433-F54C3A7BCA3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7829" y="1415747"/>
            <a:ext cx="647213" cy="4306615"/>
          </a:xfrm>
          <a:prstGeom prst="rect">
            <a:avLst/>
          </a:prstGeom>
        </p:spPr>
      </p:pic>
      <p:pic>
        <p:nvPicPr>
          <p:cNvPr id="27" name="Thoi Gian - 9Slide.vn">
            <a:extLst>
              <a:ext uri="{FF2B5EF4-FFF2-40B4-BE49-F238E27FC236}">
                <a16:creationId xmlns:a16="http://schemas.microsoft.com/office/drawing/2014/main" id="{201F5575-422E-4FC8-BD3B-78F09E84370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3487" y="1415747"/>
            <a:ext cx="647583" cy="4309071"/>
          </a:xfrm>
          <a:prstGeom prst="rect">
            <a:avLst/>
          </a:prstGeom>
        </p:spPr>
      </p:pic>
      <p:pic>
        <p:nvPicPr>
          <p:cNvPr id="13" name="Content Placeholder 12">
            <a:hlinkClick r:id="rId10" action="ppaction://hlinksldjump"/>
            <a:extLst>
              <a:ext uri="{FF2B5EF4-FFF2-40B4-BE49-F238E27FC236}">
                <a16:creationId xmlns:a16="http://schemas.microsoft.com/office/drawing/2014/main" id="{ED80E900-1749-4BC8-9668-6BC593C919E3}"/>
              </a:ext>
            </a:extLst>
          </p:cNvPr>
          <p:cNvPicPr>
            <a:picLocks noGrp="1" noChangeAspect="1"/>
          </p:cNvPicPr>
          <p:nvPr>
            <p:ph idx="4294967295"/>
          </p:nvPr>
        </p:nvPicPr>
        <p:blipFill>
          <a:blip r:embed="rId11">
            <a:extLst>
              <a:ext uri="{28A0092B-C50C-407E-A947-70E740481C1C}">
                <a14:useLocalDpi xmlns:a14="http://schemas.microsoft.com/office/drawing/2010/main" val="0"/>
              </a:ext>
            </a:extLst>
          </a:blip>
          <a:stretch>
            <a:fillRect/>
          </a:stretch>
        </p:blipFill>
        <p:spPr>
          <a:xfrm rot="16200000">
            <a:off x="-174946" y="4994809"/>
            <a:ext cx="1372764" cy="983309"/>
          </a:xfrm>
          <a:prstGeom prst="rect">
            <a:avLst/>
          </a:prstGeom>
        </p:spPr>
      </p:pic>
      <p:sp>
        <p:nvSpPr>
          <p:cNvPr id="12" name="Dap An A - 9Slide.vn">
            <a:extLst>
              <a:ext uri="{FF2B5EF4-FFF2-40B4-BE49-F238E27FC236}">
                <a16:creationId xmlns:a16="http://schemas.microsoft.com/office/drawing/2014/main" id="{6176446E-A115-45F0-AB68-C5D364CE22F9}"/>
              </a:ext>
            </a:extLst>
          </p:cNvPr>
          <p:cNvSpPr/>
          <p:nvPr/>
        </p:nvSpPr>
        <p:spPr>
          <a:xfrm>
            <a:off x="953637" y="2059822"/>
            <a:ext cx="2544605" cy="4552018"/>
          </a:xfrm>
          <a:prstGeom prst="roundRect">
            <a:avLst>
              <a:gd name="adj" fmla="val 43919"/>
            </a:avLst>
          </a:prstGeom>
          <a:solidFill>
            <a:schemeClr val="bg1"/>
          </a:solidFill>
          <a:ln w="38100">
            <a:solidFill>
              <a:srgbClr val="E65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605,26</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217,3</a:t>
            </a:r>
            <a:endParaRPr kumimoji="0" lang="vi-VN" sz="3600" b="1" i="0" u="none" strike="noStrike" kern="1200" cap="none" spc="0" normalizeH="0" baseline="0" noProof="0" dirty="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14" name="Picture 13">
            <a:extLst>
              <a:ext uri="{FF2B5EF4-FFF2-40B4-BE49-F238E27FC236}">
                <a16:creationId xmlns:a16="http://schemas.microsoft.com/office/drawing/2014/main" id="{CB4B253C-DB4D-4558-BB38-4785FFA12FB0}"/>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2517174" y="1916813"/>
            <a:ext cx="1199765" cy="1168851"/>
          </a:xfrm>
          <a:prstGeom prst="rect">
            <a:avLst/>
          </a:prstGeom>
        </p:spPr>
      </p:pic>
      <p:sp>
        <p:nvSpPr>
          <p:cNvPr id="17" name="Dap An B - 9Slide.vn">
            <a:extLst>
              <a:ext uri="{FF2B5EF4-FFF2-40B4-BE49-F238E27FC236}">
                <a16:creationId xmlns:a16="http://schemas.microsoft.com/office/drawing/2014/main" id="{4EE3E23B-2B49-4C98-890B-AE91113638C6}"/>
              </a:ext>
            </a:extLst>
          </p:cNvPr>
          <p:cNvSpPr/>
          <p:nvPr/>
        </p:nvSpPr>
        <p:spPr>
          <a:xfrm>
            <a:off x="6486936" y="2115745"/>
            <a:ext cx="2514986" cy="4496095"/>
          </a:xfrm>
          <a:prstGeom prst="roundRect">
            <a:avLst>
              <a:gd name="adj" fmla="val 43919"/>
            </a:avLst>
          </a:prstGeom>
          <a:solidFill>
            <a:schemeClr val="bg1"/>
          </a:solidFill>
          <a:ln w="38100">
            <a:solidFill>
              <a:srgbClr val="E65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32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605,26217,3</a:t>
            </a:r>
            <a:endParaRPr kumimoji="0" lang="vi-VN" sz="3600" b="1" i="0" u="none" strike="noStrike" kern="1200" cap="none" spc="0" normalizeH="0" baseline="0" noProof="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vi-VN" sz="3200" b="1" i="0" u="none" strike="noStrike" kern="1200" cap="none" spc="0" normalizeH="0" baseline="0" noProof="0" dirty="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 name="Dap An C - 9Slide.vn">
            <a:extLst>
              <a:ext uri="{FF2B5EF4-FFF2-40B4-BE49-F238E27FC236}">
                <a16:creationId xmlns:a16="http://schemas.microsoft.com/office/drawing/2014/main" id="{9F682473-4D95-4501-9320-21A6D26E96CC}"/>
              </a:ext>
            </a:extLst>
          </p:cNvPr>
          <p:cNvSpPr/>
          <p:nvPr/>
        </p:nvSpPr>
        <p:spPr>
          <a:xfrm>
            <a:off x="3605049" y="2059822"/>
            <a:ext cx="2676717" cy="4496095"/>
          </a:xfrm>
          <a:prstGeom prst="roundRect">
            <a:avLst>
              <a:gd name="adj" fmla="val 43919"/>
            </a:avLst>
          </a:prstGeom>
          <a:solidFill>
            <a:schemeClr val="bg1"/>
          </a:solidFill>
          <a:ln w="38100">
            <a:solidFill>
              <a:srgbClr val="E65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200" marR="0" lvl="1" indent="-257175" algn="ctr" defTabSz="4572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a:p>
            <a:pPr marL="457200" marR="0" lvl="1" indent="-257175" algn="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605,26    217,3</a:t>
            </a:r>
            <a:endParaRPr kumimoji="0" lang="vi-VN" sz="3600" b="1" i="0" u="none" strike="noStrike" kern="1200" cap="none" spc="0" normalizeH="0" baseline="0" noProof="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endParaRPr>
          </a:p>
          <a:p>
            <a:pPr marL="457200" marR="0" lvl="1" indent="-257175" algn="ctr" defTabSz="457200" rtl="0" eaLnBrk="1" fontAlgn="auto" latinLnBrk="0" hangingPunct="1">
              <a:lnSpc>
                <a:spcPct val="100000"/>
              </a:lnSpc>
              <a:spcBef>
                <a:spcPts val="0"/>
              </a:spcBef>
              <a:spcAft>
                <a:spcPts val="0"/>
              </a:spcAft>
              <a:buClrTx/>
              <a:buSzTx/>
              <a:buFontTx/>
              <a:buNone/>
              <a:tabLst/>
              <a:defRPr/>
            </a:pPr>
            <a:endParaRPr kumimoji="0" lang="vi-VN" sz="3600" b="1" i="0" u="none" strike="noStrike" kern="1200" cap="none" spc="0" normalizeH="0" baseline="0" noProof="0" dirty="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28" name="Picture 27">
            <a:extLst>
              <a:ext uri="{FF2B5EF4-FFF2-40B4-BE49-F238E27FC236}">
                <a16:creationId xmlns:a16="http://schemas.microsoft.com/office/drawing/2014/main" id="{34F30A8C-DA76-44F8-BC6D-CF1DB15124CC}"/>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7925938" y="1653297"/>
            <a:ext cx="1401950" cy="1256577"/>
          </a:xfrm>
          <a:prstGeom prst="rect">
            <a:avLst/>
          </a:prstGeom>
        </p:spPr>
      </p:pic>
      <p:pic>
        <p:nvPicPr>
          <p:cNvPr id="29" name="Picture 28">
            <a:extLst>
              <a:ext uri="{FF2B5EF4-FFF2-40B4-BE49-F238E27FC236}">
                <a16:creationId xmlns:a16="http://schemas.microsoft.com/office/drawing/2014/main" id="{60AE0D7F-A524-4513-AB5F-8A0A788B51E6}"/>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5205463" y="1866848"/>
            <a:ext cx="1302341" cy="1268783"/>
          </a:xfrm>
          <a:prstGeom prst="rect">
            <a:avLst/>
          </a:prstGeom>
        </p:spPr>
      </p:pic>
      <p:pic>
        <p:nvPicPr>
          <p:cNvPr id="15" name="Content Placeholder 121">
            <a:extLst>
              <a:ext uri="{FF2B5EF4-FFF2-40B4-BE49-F238E27FC236}">
                <a16:creationId xmlns:a16="http://schemas.microsoft.com/office/drawing/2014/main" id="{708732F1-9D41-4539-8E15-67376D65174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9540099">
            <a:off x="11465054" y="-4611994"/>
            <a:ext cx="7310041" cy="5236265"/>
          </a:xfrm>
          <a:prstGeom prst="rect">
            <a:avLst/>
          </a:prstGeom>
        </p:spPr>
      </p:pic>
      <p:sp>
        <p:nvSpPr>
          <p:cNvPr id="19" name="Dap An C - 9Slide.vn">
            <a:extLst>
              <a:ext uri="{FF2B5EF4-FFF2-40B4-BE49-F238E27FC236}">
                <a16:creationId xmlns:a16="http://schemas.microsoft.com/office/drawing/2014/main" id="{9F682473-4D95-4501-9320-21A6D26E96CC}"/>
              </a:ext>
            </a:extLst>
          </p:cNvPr>
          <p:cNvSpPr/>
          <p:nvPr/>
        </p:nvSpPr>
        <p:spPr>
          <a:xfrm>
            <a:off x="9195505" y="2087783"/>
            <a:ext cx="2607973" cy="4496095"/>
          </a:xfrm>
          <a:prstGeom prst="roundRect">
            <a:avLst>
              <a:gd name="adj" fmla="val 43919"/>
            </a:avLst>
          </a:prstGeom>
          <a:solidFill>
            <a:schemeClr val="bg1"/>
          </a:solidFill>
          <a:ln w="38100">
            <a:solidFill>
              <a:srgbClr val="E65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605,26 217,3</a:t>
            </a:r>
            <a:endParaRPr kumimoji="0" lang="vi-VN" sz="3600" b="1" i="0" u="none" strike="noStrike" kern="1200" cap="none" spc="0" normalizeH="0" baseline="0" noProof="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vi-VN" sz="3200" b="1" i="0" u="none" strike="noStrike" kern="1200" cap="none" spc="0" normalizeH="0" baseline="0" noProof="0" dirty="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20" name="Picture 19">
            <a:extLst>
              <a:ext uri="{FF2B5EF4-FFF2-40B4-BE49-F238E27FC236}">
                <a16:creationId xmlns:a16="http://schemas.microsoft.com/office/drawing/2014/main" id="{60AE0D7F-A524-4513-AB5F-8A0A788B51E6}"/>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10746022" y="1846927"/>
            <a:ext cx="1271500" cy="1238737"/>
          </a:xfrm>
          <a:prstGeom prst="rect">
            <a:avLst/>
          </a:prstGeom>
        </p:spPr>
      </p:pic>
      <p:cxnSp>
        <p:nvCxnSpPr>
          <p:cNvPr id="3" name="Straight Connector 2">
            <a:extLst>
              <a:ext uri="{FF2B5EF4-FFF2-40B4-BE49-F238E27FC236}">
                <a16:creationId xmlns:a16="http://schemas.microsoft.com/office/drawing/2014/main" id="{7FAC93FC-14A4-0B05-7882-613299103765}"/>
              </a:ext>
            </a:extLst>
          </p:cNvPr>
          <p:cNvCxnSpPr>
            <a:cxnSpLocks/>
          </p:cNvCxnSpPr>
          <p:nvPr/>
        </p:nvCxnSpPr>
        <p:spPr>
          <a:xfrm>
            <a:off x="1098143" y="4303142"/>
            <a:ext cx="2181919"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F153B37-6C8C-A04B-12A7-8DE2756F74CA}"/>
              </a:ext>
            </a:extLst>
          </p:cNvPr>
          <p:cNvCxnSpPr>
            <a:cxnSpLocks/>
          </p:cNvCxnSpPr>
          <p:nvPr/>
        </p:nvCxnSpPr>
        <p:spPr>
          <a:xfrm>
            <a:off x="3852447" y="4303142"/>
            <a:ext cx="2181919"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26CA6CA-D9E0-628C-3BF6-68B04F11842D}"/>
              </a:ext>
            </a:extLst>
          </p:cNvPr>
          <p:cNvCxnSpPr>
            <a:cxnSpLocks/>
          </p:cNvCxnSpPr>
          <p:nvPr/>
        </p:nvCxnSpPr>
        <p:spPr>
          <a:xfrm>
            <a:off x="6653469" y="4283961"/>
            <a:ext cx="2181919"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ED503A6-CCA0-3174-AEB2-598BE6F42767}"/>
              </a:ext>
            </a:extLst>
          </p:cNvPr>
          <p:cNvCxnSpPr>
            <a:cxnSpLocks/>
          </p:cNvCxnSpPr>
          <p:nvPr/>
        </p:nvCxnSpPr>
        <p:spPr>
          <a:xfrm>
            <a:off x="9534266" y="4283961"/>
            <a:ext cx="2181919"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591D7-A3BE-0AF2-AE95-10D2A2C56BC3}"/>
              </a:ext>
            </a:extLst>
          </p:cNvPr>
          <p:cNvSpPr txBox="1"/>
          <p:nvPr/>
        </p:nvSpPr>
        <p:spPr>
          <a:xfrm>
            <a:off x="1208261" y="4335831"/>
            <a:ext cx="200705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rPr>
              <a:t>812,56</a:t>
            </a:r>
          </a:p>
        </p:txBody>
      </p:sp>
      <p:sp>
        <p:nvSpPr>
          <p:cNvPr id="10" name="TextBox 9">
            <a:extLst>
              <a:ext uri="{FF2B5EF4-FFF2-40B4-BE49-F238E27FC236}">
                <a16:creationId xmlns:a16="http://schemas.microsoft.com/office/drawing/2014/main" id="{FBFDAEFF-67DE-1860-7FA1-6F6839BD3D56}"/>
              </a:ext>
            </a:extLst>
          </p:cNvPr>
          <p:cNvSpPr txBox="1"/>
          <p:nvPr/>
        </p:nvSpPr>
        <p:spPr>
          <a:xfrm>
            <a:off x="4154738" y="4303142"/>
            <a:ext cx="200705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rPr>
              <a:t>6269,9</a:t>
            </a:r>
          </a:p>
        </p:txBody>
      </p:sp>
      <p:sp>
        <p:nvSpPr>
          <p:cNvPr id="21" name="TextBox 20">
            <a:extLst>
              <a:ext uri="{FF2B5EF4-FFF2-40B4-BE49-F238E27FC236}">
                <a16:creationId xmlns:a16="http://schemas.microsoft.com/office/drawing/2014/main" id="{E319518A-31E4-4077-B318-51C21856684D}"/>
              </a:ext>
            </a:extLst>
          </p:cNvPr>
          <p:cNvSpPr txBox="1"/>
          <p:nvPr/>
        </p:nvSpPr>
        <p:spPr>
          <a:xfrm>
            <a:off x="6810521" y="4283961"/>
            <a:ext cx="22279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rPr>
              <a:t>822,56</a:t>
            </a:r>
          </a:p>
        </p:txBody>
      </p:sp>
      <p:sp>
        <p:nvSpPr>
          <p:cNvPr id="22" name="TextBox 21">
            <a:extLst>
              <a:ext uri="{FF2B5EF4-FFF2-40B4-BE49-F238E27FC236}">
                <a16:creationId xmlns:a16="http://schemas.microsoft.com/office/drawing/2014/main" id="{2E5D1B06-E0AA-BA07-4108-B61B00D92BFD}"/>
              </a:ext>
            </a:extLst>
          </p:cNvPr>
          <p:cNvSpPr txBox="1"/>
          <p:nvPr/>
        </p:nvSpPr>
        <p:spPr>
          <a:xfrm>
            <a:off x="9607399" y="4347158"/>
            <a:ext cx="22279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rPr>
              <a:t>822 56</a:t>
            </a:r>
          </a:p>
        </p:txBody>
      </p:sp>
      <p:sp>
        <p:nvSpPr>
          <p:cNvPr id="25" name="TextBox 24">
            <a:extLst>
              <a:ext uri="{FF2B5EF4-FFF2-40B4-BE49-F238E27FC236}">
                <a16:creationId xmlns:a16="http://schemas.microsoft.com/office/drawing/2014/main" id="{3ABB9208-DC3D-1B32-567D-EDCF5ACDDC2E}"/>
              </a:ext>
            </a:extLst>
          </p:cNvPr>
          <p:cNvSpPr txBox="1"/>
          <p:nvPr/>
        </p:nvSpPr>
        <p:spPr>
          <a:xfrm>
            <a:off x="917106" y="3085664"/>
            <a:ext cx="448435" cy="707886"/>
          </a:xfrm>
          <a:prstGeom prst="rect">
            <a:avLst/>
          </a:prstGeom>
          <a:noFill/>
        </p:spPr>
        <p:txBody>
          <a:bodyPr wrap="square">
            <a:spAutoFit/>
          </a:bodyPr>
          <a:lstStyle/>
          <a:p>
            <a:r>
              <a:rPr lang="en-US" sz="4000" b="1">
                <a:solidFill>
                  <a:srgbClr val="FF0000"/>
                </a:solidFill>
                <a:latin typeface="Verdana" panose="020B0604030504040204" pitchFamily="34" charset="0"/>
                <a:ea typeface="Verdana" panose="020B0604030504040204" pitchFamily="34" charset="0"/>
              </a:rPr>
              <a:t>+</a:t>
            </a:r>
            <a:endParaRPr lang="en-US" sz="4000"/>
          </a:p>
        </p:txBody>
      </p:sp>
      <p:sp>
        <p:nvSpPr>
          <p:cNvPr id="26" name="TextBox 25">
            <a:extLst>
              <a:ext uri="{FF2B5EF4-FFF2-40B4-BE49-F238E27FC236}">
                <a16:creationId xmlns:a16="http://schemas.microsoft.com/office/drawing/2014/main" id="{C1216E6E-6908-4C80-6667-21C0EF6E9159}"/>
              </a:ext>
            </a:extLst>
          </p:cNvPr>
          <p:cNvSpPr txBox="1"/>
          <p:nvPr/>
        </p:nvSpPr>
        <p:spPr>
          <a:xfrm>
            <a:off x="3716939" y="3169809"/>
            <a:ext cx="448435" cy="707886"/>
          </a:xfrm>
          <a:prstGeom prst="rect">
            <a:avLst/>
          </a:prstGeom>
          <a:noFill/>
        </p:spPr>
        <p:txBody>
          <a:bodyPr wrap="square">
            <a:spAutoFit/>
          </a:bodyPr>
          <a:lstStyle/>
          <a:p>
            <a:r>
              <a:rPr lang="en-US" sz="4000" b="1">
                <a:solidFill>
                  <a:srgbClr val="FF0000"/>
                </a:solidFill>
                <a:latin typeface="Verdana" panose="020B0604030504040204" pitchFamily="34" charset="0"/>
                <a:ea typeface="Verdana" panose="020B0604030504040204" pitchFamily="34" charset="0"/>
              </a:rPr>
              <a:t>+</a:t>
            </a:r>
            <a:endParaRPr lang="en-US" sz="4000"/>
          </a:p>
        </p:txBody>
      </p:sp>
      <p:sp>
        <p:nvSpPr>
          <p:cNvPr id="30" name="TextBox 29">
            <a:extLst>
              <a:ext uri="{FF2B5EF4-FFF2-40B4-BE49-F238E27FC236}">
                <a16:creationId xmlns:a16="http://schemas.microsoft.com/office/drawing/2014/main" id="{4A6EA5D4-954D-56F0-9036-8FE2F5F3A1D3}"/>
              </a:ext>
            </a:extLst>
          </p:cNvPr>
          <p:cNvSpPr txBox="1"/>
          <p:nvPr/>
        </p:nvSpPr>
        <p:spPr>
          <a:xfrm>
            <a:off x="6429251" y="3085184"/>
            <a:ext cx="448435" cy="707886"/>
          </a:xfrm>
          <a:prstGeom prst="rect">
            <a:avLst/>
          </a:prstGeom>
          <a:noFill/>
        </p:spPr>
        <p:txBody>
          <a:bodyPr wrap="square">
            <a:spAutoFit/>
          </a:bodyPr>
          <a:lstStyle/>
          <a:p>
            <a:r>
              <a:rPr lang="en-US" sz="4000" b="1">
                <a:solidFill>
                  <a:srgbClr val="FF0000"/>
                </a:solidFill>
                <a:latin typeface="Verdana" panose="020B0604030504040204" pitchFamily="34" charset="0"/>
                <a:ea typeface="Verdana" panose="020B0604030504040204" pitchFamily="34" charset="0"/>
              </a:rPr>
              <a:t>+</a:t>
            </a:r>
            <a:endParaRPr lang="en-US" sz="4000"/>
          </a:p>
        </p:txBody>
      </p:sp>
      <p:sp>
        <p:nvSpPr>
          <p:cNvPr id="31" name="TextBox 30">
            <a:extLst>
              <a:ext uri="{FF2B5EF4-FFF2-40B4-BE49-F238E27FC236}">
                <a16:creationId xmlns:a16="http://schemas.microsoft.com/office/drawing/2014/main" id="{E9B18297-4360-CF44-F213-4B431787C59C}"/>
              </a:ext>
            </a:extLst>
          </p:cNvPr>
          <p:cNvSpPr txBox="1"/>
          <p:nvPr/>
        </p:nvSpPr>
        <p:spPr>
          <a:xfrm>
            <a:off x="9158964" y="3169809"/>
            <a:ext cx="448435" cy="707886"/>
          </a:xfrm>
          <a:prstGeom prst="rect">
            <a:avLst/>
          </a:prstGeom>
          <a:noFill/>
        </p:spPr>
        <p:txBody>
          <a:bodyPr wrap="square">
            <a:spAutoFit/>
          </a:bodyPr>
          <a:lstStyle/>
          <a:p>
            <a:r>
              <a:rPr lang="en-US" sz="4000" b="1">
                <a:solidFill>
                  <a:srgbClr val="FF0000"/>
                </a:solidFill>
                <a:latin typeface="Verdana" panose="020B0604030504040204" pitchFamily="34" charset="0"/>
                <a:ea typeface="Verdana" panose="020B0604030504040204" pitchFamily="34" charset="0"/>
              </a:rPr>
              <a:t>+</a:t>
            </a:r>
            <a:endParaRPr lang="en-US" sz="4000"/>
          </a:p>
        </p:txBody>
      </p:sp>
      <p:sp>
        <p:nvSpPr>
          <p:cNvPr id="32" name="Rectangle 31">
            <a:extLst>
              <a:ext uri="{FF2B5EF4-FFF2-40B4-BE49-F238E27FC236}">
                <a16:creationId xmlns:a16="http://schemas.microsoft.com/office/drawing/2014/main" id="{C0346DDB-CDE9-15B8-5479-260FA1FE392F}"/>
              </a:ext>
            </a:extLst>
          </p:cNvPr>
          <p:cNvSpPr/>
          <p:nvPr/>
        </p:nvSpPr>
        <p:spPr>
          <a:xfrm>
            <a:off x="1625952" y="5061205"/>
            <a:ext cx="957313" cy="144655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8800" b="1" cap="none" spc="0">
                <a:ln/>
                <a:solidFill>
                  <a:srgbClr val="00B050"/>
                </a:solidFill>
                <a:effectLst/>
                <a:latin typeface="Tahoma" panose="020B0604030504040204" pitchFamily="34" charset="0"/>
                <a:ea typeface="Tahoma" panose="020B0604030504040204" pitchFamily="34" charset="0"/>
                <a:cs typeface="Tahoma" panose="020B0604030504040204" pitchFamily="34" charset="0"/>
              </a:rPr>
              <a:t>A</a:t>
            </a:r>
          </a:p>
        </p:txBody>
      </p:sp>
      <p:sp>
        <p:nvSpPr>
          <p:cNvPr id="33" name="Rectangle 32">
            <a:extLst>
              <a:ext uri="{FF2B5EF4-FFF2-40B4-BE49-F238E27FC236}">
                <a16:creationId xmlns:a16="http://schemas.microsoft.com/office/drawing/2014/main" id="{B3B46258-1A59-08D6-F50B-4E9D454EDA94}"/>
              </a:ext>
            </a:extLst>
          </p:cNvPr>
          <p:cNvSpPr/>
          <p:nvPr/>
        </p:nvSpPr>
        <p:spPr>
          <a:xfrm>
            <a:off x="4421603" y="5109368"/>
            <a:ext cx="958917" cy="144655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8800" b="1" cap="none" spc="0">
                <a:ln/>
                <a:solidFill>
                  <a:srgbClr val="00B050"/>
                </a:solidFill>
                <a:effectLst/>
                <a:latin typeface="Tahoma" panose="020B0604030504040204" pitchFamily="34" charset="0"/>
                <a:ea typeface="Tahoma" panose="020B0604030504040204" pitchFamily="34" charset="0"/>
                <a:cs typeface="Tahoma" panose="020B0604030504040204" pitchFamily="34" charset="0"/>
              </a:rPr>
              <a:t>B</a:t>
            </a:r>
          </a:p>
        </p:txBody>
      </p:sp>
      <p:sp>
        <p:nvSpPr>
          <p:cNvPr id="34" name="Rectangle 33">
            <a:extLst>
              <a:ext uri="{FF2B5EF4-FFF2-40B4-BE49-F238E27FC236}">
                <a16:creationId xmlns:a16="http://schemas.microsoft.com/office/drawing/2014/main" id="{FDD502E1-BDEA-B0CC-DDC9-6F64B06350C1}"/>
              </a:ext>
            </a:extLst>
          </p:cNvPr>
          <p:cNvSpPr/>
          <p:nvPr/>
        </p:nvSpPr>
        <p:spPr>
          <a:xfrm>
            <a:off x="7275389" y="5137328"/>
            <a:ext cx="938077" cy="144655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8800" b="1">
                <a:ln/>
                <a:solidFill>
                  <a:srgbClr val="00B050"/>
                </a:solidFill>
                <a:latin typeface="Tahoma" panose="020B0604030504040204" pitchFamily="34" charset="0"/>
                <a:ea typeface="Tahoma" panose="020B0604030504040204" pitchFamily="34" charset="0"/>
                <a:cs typeface="Tahoma" panose="020B0604030504040204" pitchFamily="34" charset="0"/>
              </a:rPr>
              <a:t>C</a:t>
            </a:r>
            <a:endParaRPr lang="en-US" sz="8800" b="1" cap="none" spc="0">
              <a:ln/>
              <a:solidFill>
                <a:srgbClr val="00B050"/>
              </a:solidFill>
              <a:effectLst/>
              <a:latin typeface="Tahoma" panose="020B0604030504040204" pitchFamily="34" charset="0"/>
              <a:ea typeface="Tahoma" panose="020B0604030504040204" pitchFamily="34" charset="0"/>
              <a:cs typeface="Tahoma" panose="020B0604030504040204" pitchFamily="34" charset="0"/>
            </a:endParaRPr>
          </a:p>
        </p:txBody>
      </p:sp>
      <p:sp>
        <p:nvSpPr>
          <p:cNvPr id="35" name="Rectangle 34">
            <a:extLst>
              <a:ext uri="{FF2B5EF4-FFF2-40B4-BE49-F238E27FC236}">
                <a16:creationId xmlns:a16="http://schemas.microsoft.com/office/drawing/2014/main" id="{860090B0-AE02-1A1B-205F-F0D06A8E42D1}"/>
              </a:ext>
            </a:extLst>
          </p:cNvPr>
          <p:cNvSpPr/>
          <p:nvPr/>
        </p:nvSpPr>
        <p:spPr>
          <a:xfrm>
            <a:off x="10046514" y="5065408"/>
            <a:ext cx="1039067" cy="144655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8800" b="1" cap="none" spc="0">
                <a:ln/>
                <a:solidFill>
                  <a:srgbClr val="00B050"/>
                </a:solidFill>
                <a:effectLst/>
                <a:latin typeface="Tahoma" panose="020B0604030504040204" pitchFamily="34" charset="0"/>
                <a:ea typeface="Tahoma" panose="020B0604030504040204" pitchFamily="34" charset="0"/>
                <a:cs typeface="Tahoma" panose="020B0604030504040204" pitchFamily="34" charset="0"/>
              </a:rPr>
              <a:t>D</a:t>
            </a:r>
          </a:p>
        </p:txBody>
      </p:sp>
    </p:spTree>
    <p:extLst>
      <p:ext uri="{BB962C8B-B14F-4D97-AF65-F5344CB8AC3E}">
        <p14:creationId xmlns:p14="http://schemas.microsoft.com/office/powerpoint/2010/main" val="3624589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14:presetBounceEnd="69000">
                                      <p:stCondLst>
                                        <p:cond delay="0"/>
                                      </p:stCondLst>
                                      <p:childTnLst>
                                        <p:set>
                                          <p:cBhvr>
                                            <p:cTn id="13" dur="1" fill="hold">
                                              <p:stCondLst>
                                                <p:cond delay="0"/>
                                              </p:stCondLst>
                                            </p:cTn>
                                            <p:tgtEl>
                                              <p:spTgt spid="12"/>
                                            </p:tgtEl>
                                            <p:attrNameLst>
                                              <p:attrName>style.visibility</p:attrName>
                                            </p:attrNameLst>
                                          </p:cBhvr>
                                          <p:to>
                                            <p:strVal val="visible"/>
                                          </p:to>
                                        </p:set>
                                        <p:anim calcmode="lin" valueType="num" p14:bounceEnd="69000">
                                          <p:cBhvr additive="base">
                                            <p:cTn id="14" dur="1000" fill="hold"/>
                                            <p:tgtEl>
                                              <p:spTgt spid="12"/>
                                            </p:tgtEl>
                                            <p:attrNameLst>
                                              <p:attrName>ppt_x</p:attrName>
                                            </p:attrNameLst>
                                          </p:cBhvr>
                                          <p:tavLst>
                                            <p:tav tm="0">
                                              <p:val>
                                                <p:strVal val="#ppt_x"/>
                                              </p:val>
                                            </p:tav>
                                            <p:tav tm="100000">
                                              <p:val>
                                                <p:strVal val="#ppt_x"/>
                                              </p:val>
                                            </p:tav>
                                          </p:tavLst>
                                        </p:anim>
                                        <p:anim calcmode="lin" valueType="num" p14:bounceEnd="69000">
                                          <p:cBhvr additive="base">
                                            <p:cTn id="15" dur="1000" fill="hold"/>
                                            <p:tgtEl>
                                              <p:spTgt spid="12"/>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14:presetBounceEnd="69000">
                                      <p:stCondLst>
                                        <p:cond delay="200"/>
                                      </p:stCondLst>
                                      <p:childTnLst>
                                        <p:set>
                                          <p:cBhvr>
                                            <p:cTn id="17" dur="1" fill="hold">
                                              <p:stCondLst>
                                                <p:cond delay="0"/>
                                              </p:stCondLst>
                                            </p:cTn>
                                            <p:tgtEl>
                                              <p:spTgt spid="17"/>
                                            </p:tgtEl>
                                            <p:attrNameLst>
                                              <p:attrName>style.visibility</p:attrName>
                                            </p:attrNameLst>
                                          </p:cBhvr>
                                          <p:to>
                                            <p:strVal val="visible"/>
                                          </p:to>
                                        </p:set>
                                        <p:anim calcmode="lin" valueType="num" p14:bounceEnd="69000">
                                          <p:cBhvr additive="base">
                                            <p:cTn id="18" dur="1000" fill="hold"/>
                                            <p:tgtEl>
                                              <p:spTgt spid="17"/>
                                            </p:tgtEl>
                                            <p:attrNameLst>
                                              <p:attrName>ppt_x</p:attrName>
                                            </p:attrNameLst>
                                          </p:cBhvr>
                                          <p:tavLst>
                                            <p:tav tm="0">
                                              <p:val>
                                                <p:strVal val="#ppt_x"/>
                                              </p:val>
                                            </p:tav>
                                            <p:tav tm="100000">
                                              <p:val>
                                                <p:strVal val="#ppt_x"/>
                                              </p:val>
                                            </p:tav>
                                          </p:tavLst>
                                        </p:anim>
                                        <p:anim calcmode="lin" valueType="num" p14:bounceEnd="69000">
                                          <p:cBhvr additive="base">
                                            <p:cTn id="19" dur="1000" fill="hold"/>
                                            <p:tgtEl>
                                              <p:spTgt spid="17"/>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14:presetBounceEnd="69000">
                                      <p:stCondLst>
                                        <p:cond delay="600"/>
                                      </p:stCondLst>
                                      <p:childTnLst>
                                        <p:set>
                                          <p:cBhvr>
                                            <p:cTn id="21" dur="1" fill="hold">
                                              <p:stCondLst>
                                                <p:cond delay="0"/>
                                              </p:stCondLst>
                                            </p:cTn>
                                            <p:tgtEl>
                                              <p:spTgt spid="18"/>
                                            </p:tgtEl>
                                            <p:attrNameLst>
                                              <p:attrName>style.visibility</p:attrName>
                                            </p:attrNameLst>
                                          </p:cBhvr>
                                          <p:to>
                                            <p:strVal val="visible"/>
                                          </p:to>
                                        </p:set>
                                        <p:anim calcmode="lin" valueType="num" p14:bounceEnd="69000">
                                          <p:cBhvr additive="base">
                                            <p:cTn id="22" dur="1000" fill="hold"/>
                                            <p:tgtEl>
                                              <p:spTgt spid="18"/>
                                            </p:tgtEl>
                                            <p:attrNameLst>
                                              <p:attrName>ppt_x</p:attrName>
                                            </p:attrNameLst>
                                          </p:cBhvr>
                                          <p:tavLst>
                                            <p:tav tm="0">
                                              <p:val>
                                                <p:strVal val="#ppt_x"/>
                                              </p:val>
                                            </p:tav>
                                            <p:tav tm="100000">
                                              <p:val>
                                                <p:strVal val="#ppt_x"/>
                                              </p:val>
                                            </p:tav>
                                          </p:tavLst>
                                        </p:anim>
                                        <p:anim calcmode="lin" valueType="num" p14:bounceEnd="69000">
                                          <p:cBhvr additive="base">
                                            <p:cTn id="23" dur="1000" fill="hold"/>
                                            <p:tgtEl>
                                              <p:spTgt spid="18"/>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14:presetBounceEnd="69000">
                                      <p:stCondLst>
                                        <p:cond delay="600"/>
                                      </p:stCondLst>
                                      <p:childTnLst>
                                        <p:set>
                                          <p:cBhvr>
                                            <p:cTn id="25" dur="1" fill="hold">
                                              <p:stCondLst>
                                                <p:cond delay="0"/>
                                              </p:stCondLst>
                                            </p:cTn>
                                            <p:tgtEl>
                                              <p:spTgt spid="19"/>
                                            </p:tgtEl>
                                            <p:attrNameLst>
                                              <p:attrName>style.visibility</p:attrName>
                                            </p:attrNameLst>
                                          </p:cBhvr>
                                          <p:to>
                                            <p:strVal val="visible"/>
                                          </p:to>
                                        </p:set>
                                        <p:anim calcmode="lin" valueType="num" p14:bounceEnd="69000">
                                          <p:cBhvr additive="base">
                                            <p:cTn id="26" dur="1000" fill="hold"/>
                                            <p:tgtEl>
                                              <p:spTgt spid="19"/>
                                            </p:tgtEl>
                                            <p:attrNameLst>
                                              <p:attrName>ppt_x</p:attrName>
                                            </p:attrNameLst>
                                          </p:cBhvr>
                                          <p:tavLst>
                                            <p:tav tm="0">
                                              <p:val>
                                                <p:strVal val="#ppt_x"/>
                                              </p:val>
                                            </p:tav>
                                            <p:tav tm="100000">
                                              <p:val>
                                                <p:strVal val="#ppt_x"/>
                                              </p:val>
                                            </p:tav>
                                          </p:tavLst>
                                        </p:anim>
                                        <p:anim calcmode="lin" valueType="num" p14:bounceEnd="69000">
                                          <p:cBhvr additive="base">
                                            <p:cTn id="27" dur="1000" fill="hold"/>
                                            <p:tgtEl>
                                              <p:spTgt spid="19"/>
                                            </p:tgtEl>
                                            <p:attrNameLst>
                                              <p:attrName>ppt_y</p:attrName>
                                            </p:attrNameLst>
                                          </p:cBhvr>
                                          <p:tavLst>
                                            <p:tav tm="0">
                                              <p:val>
                                                <p:strVal val="1+#ppt_h/2"/>
                                              </p:val>
                                            </p:tav>
                                            <p:tav tm="100000">
                                              <p:val>
                                                <p:strVal val="#ppt_y"/>
                                              </p:val>
                                            </p:tav>
                                          </p:tavLst>
                                        </p:anim>
                                      </p:childTnLst>
                                    </p:cTn>
                                  </p:par>
                                </p:childTnLst>
                              </p:cTn>
                            </p:par>
                            <p:par>
                              <p:cTn id="28" fill="hold">
                                <p:stCondLst>
                                  <p:cond delay="1600"/>
                                </p:stCondLst>
                                <p:childTnLst>
                                  <p:par>
                                    <p:cTn id="29" presetID="2" presetClass="entr" presetSubtype="8" fill="hold" nodeType="afterEffect">
                                      <p:stCondLst>
                                        <p:cond delay="0"/>
                                      </p:stCondLst>
                                      <p:childTnLst>
                                        <p:set>
                                          <p:cBhvr>
                                            <p:cTn id="30" dur="1" fill="hold">
                                              <p:stCondLst>
                                                <p:cond delay="0"/>
                                              </p:stCondLst>
                                            </p:cTn>
                                            <p:tgtEl>
                                              <p:spTgt spid="23"/>
                                            </p:tgtEl>
                                            <p:attrNameLst>
                                              <p:attrName>style.visibility</p:attrName>
                                            </p:attrNameLst>
                                          </p:cBhvr>
                                          <p:to>
                                            <p:strVal val="visible"/>
                                          </p:to>
                                        </p:set>
                                        <p:anim calcmode="lin" valueType="num">
                                          <p:cBhvr additive="base">
                                            <p:cTn id="31" dur="500" fill="hold"/>
                                            <p:tgtEl>
                                              <p:spTgt spid="23"/>
                                            </p:tgtEl>
                                            <p:attrNameLst>
                                              <p:attrName>ppt_x</p:attrName>
                                            </p:attrNameLst>
                                          </p:cBhvr>
                                          <p:tavLst>
                                            <p:tav tm="0">
                                              <p:val>
                                                <p:strVal val="0-#ppt_w/2"/>
                                              </p:val>
                                            </p:tav>
                                            <p:tav tm="100000">
                                              <p:val>
                                                <p:strVal val="#ppt_x"/>
                                              </p:val>
                                            </p:tav>
                                          </p:tavLst>
                                        </p:anim>
                                        <p:anim calcmode="lin" valueType="num">
                                          <p:cBhvr additive="base">
                                            <p:cTn id="32" dur="500" fill="hold"/>
                                            <p:tgtEl>
                                              <p:spTgt spid="23"/>
                                            </p:tgtEl>
                                            <p:attrNameLst>
                                              <p:attrName>ppt_y</p:attrName>
                                            </p:attrNameLst>
                                          </p:cBhvr>
                                          <p:tavLst>
                                            <p:tav tm="0">
                                              <p:val>
                                                <p:strVal val="#ppt_y"/>
                                              </p:val>
                                            </p:tav>
                                            <p:tav tm="100000">
                                              <p:val>
                                                <p:strVal val="#ppt_y"/>
                                              </p:val>
                                            </p:tav>
                                          </p:tavLst>
                                        </p:anim>
                                      </p:childTnLst>
                                    </p:cTn>
                                  </p:par>
                                  <p:par>
                                    <p:cTn id="33" presetID="2" presetClass="entr" presetSubtype="8" fill="hold" nodeType="with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500" fill="hold"/>
                                            <p:tgtEl>
                                              <p:spTgt spid="13"/>
                                            </p:tgtEl>
                                            <p:attrNameLst>
                                              <p:attrName>ppt_x</p:attrName>
                                            </p:attrNameLst>
                                          </p:cBhvr>
                                          <p:tavLst>
                                            <p:tav tm="0">
                                              <p:val>
                                                <p:strVal val="0-#ppt_w/2"/>
                                              </p:val>
                                            </p:tav>
                                            <p:tav tm="100000">
                                              <p:val>
                                                <p:strVal val="#ppt_x"/>
                                              </p:val>
                                            </p:tav>
                                          </p:tavLst>
                                        </p:anim>
                                        <p:anim calcmode="lin" valueType="num">
                                          <p:cBhvr additive="base">
                                            <p:cTn id="36" dur="500" fill="hold"/>
                                            <p:tgtEl>
                                              <p:spTgt spid="13"/>
                                            </p:tgtEl>
                                            <p:attrNameLst>
                                              <p:attrName>ppt_y</p:attrName>
                                            </p:attrNameLst>
                                          </p:cBhvr>
                                          <p:tavLst>
                                            <p:tav tm="0">
                                              <p:val>
                                                <p:strVal val="#ppt_y"/>
                                              </p:val>
                                            </p:tav>
                                            <p:tav tm="100000">
                                              <p:val>
                                                <p:strVal val="#ppt_y"/>
                                              </p:val>
                                            </p:tav>
                                          </p:tavLst>
                                        </p:anim>
                                      </p:childTnLst>
                                    </p:cTn>
                                  </p:par>
                                </p:childTnLst>
                              </p:cTn>
                            </p:par>
                            <p:par>
                              <p:cTn id="37" fill="hold">
                                <p:stCondLst>
                                  <p:cond delay="2100"/>
                                </p:stCondLst>
                                <p:childTnLst>
                                  <p:par>
                                    <p:cTn id="38" presetID="64" presetClass="path" presetSubtype="0" accel="50000" decel="50000" fill="hold" nodeType="afterEffect">
                                      <p:stCondLst>
                                        <p:cond delay="0"/>
                                      </p:stCondLst>
                                      <p:childTnLst>
                                        <p:animMotion origin="layout" path="M -4.72222E-6 -1.11111E-6 L -4.72222E-6 -0.60154 " pathEditMode="relative" rAng="0" ptsTypes="AA">
                                          <p:cBhvr>
                                            <p:cTn id="39" dur="15000" fill="hold"/>
                                            <p:tgtEl>
                                              <p:spTgt spid="13"/>
                                            </p:tgtEl>
                                            <p:attrNameLst>
                                              <p:attrName>ppt_x</p:attrName>
                                              <p:attrName>ppt_y</p:attrName>
                                            </p:attrNameLst>
                                          </p:cBhvr>
                                          <p:rCtr x="0" y="-30093"/>
                                        </p:animMotion>
                                      </p:childTnLst>
                                    </p:cTn>
                                  </p:par>
                                  <p:par>
                                    <p:cTn id="40" presetID="22" presetClass="entr" presetSubtype="4" fill="hold" nodeType="with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wipe(down)">
                                          <p:cBhvr>
                                            <p:cTn id="42" dur="15000"/>
                                            <p:tgtEl>
                                              <p:spTgt spid="27"/>
                                            </p:tgtEl>
                                          </p:cBhvr>
                                        </p:animEffect>
                                      </p:childTnLst>
                                    </p:cTn>
                                  </p:par>
                                </p:childTnLst>
                              </p:cTn>
                            </p:par>
                            <p:par>
                              <p:cTn id="43" fill="hold">
                                <p:stCondLst>
                                  <p:cond delay="17100"/>
                                </p:stCondLst>
                                <p:childTnLst>
                                  <p:par>
                                    <p:cTn id="44" presetID="26" presetClass="emph" presetSubtype="0" repeatCount="5000" fill="hold" nodeType="afterEffect">
                                      <p:stCondLst>
                                        <p:cond delay="0"/>
                                      </p:stCondLst>
                                      <p:childTnLst>
                                        <p:animEffect transition="out" filter="fade">
                                          <p:cBhvr>
                                            <p:cTn id="45" dur="500" tmFilter="0, 0; .2, .5; .8, .5; 1, 0"/>
                                            <p:tgtEl>
                                              <p:spTgt spid="13"/>
                                            </p:tgtEl>
                                          </p:cBhvr>
                                        </p:animEffect>
                                        <p:animScale>
                                          <p:cBhvr>
                                            <p:cTn id="46" dur="250" autoRev="1" fill="hold"/>
                                            <p:tgtEl>
                                              <p:spTgt spid="13"/>
                                            </p:tgtEl>
                                          </p:cBhvr>
                                          <p:by x="105000" y="105000"/>
                                        </p:animScale>
                                      </p:childTnLst>
                                      <p:subTnLst>
                                        <p:audio>
                                          <p:cMediaNode vol="80000">
                                            <p:cTn display="0" masterRel="sameClick">
                                              <p:stCondLst>
                                                <p:cond evt="begin" delay="0">
                                                  <p:tn val="44"/>
                                                </p:cond>
                                              </p:stCondLst>
                                              <p:endCondLst>
                                                <p:cond evt="onStopAudio" delay="0">
                                                  <p:tgtEl>
                                                    <p:sldTgt/>
                                                  </p:tgtEl>
                                                </p:cond>
                                              </p:endCondLst>
                                            </p:cTn>
                                            <p:tgtEl>
                                              <p:sndTgt r:embed="rId3" name="AmHetGio.wav"/>
                                            </p:tgtEl>
                                          </p:cMediaNode>
                                        </p:audio>
                                      </p:subTnLst>
                                    </p:cTn>
                                  </p:par>
                                  <p:par>
                                    <p:cTn id="47" presetID="6" presetClass="emph" presetSubtype="0" fill="hold" nodeType="withEffect">
                                      <p:stCondLst>
                                        <p:cond delay="0"/>
                                      </p:stCondLst>
                                      <p:childTnLst>
                                        <p:animScale>
                                          <p:cBhvr>
                                            <p:cTn id="48" dur="10000" fill="hold"/>
                                            <p:tgtEl>
                                              <p:spTgt spid="16"/>
                                            </p:tgtEl>
                                          </p:cBhvr>
                                          <p:by x="150000" y="150000"/>
                                        </p:animScale>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grpId="0" nodeType="clickEffect">
                                      <p:stCondLst>
                                        <p:cond delay="0"/>
                                      </p:stCondLst>
                                      <p:childTnLst>
                                        <p:set>
                                          <p:cBhvr>
                                            <p:cTn id="52" dur="1" fill="hold">
                                              <p:stCondLst>
                                                <p:cond delay="0"/>
                                              </p:stCondLst>
                                            </p:cTn>
                                            <p:tgtEl>
                                              <p:spTgt spid="9"/>
                                            </p:tgtEl>
                                            <p:attrNameLst>
                                              <p:attrName>style.visibility</p:attrName>
                                            </p:attrNameLst>
                                          </p:cBhvr>
                                          <p:to>
                                            <p:strVal val="visible"/>
                                          </p:to>
                                        </p:set>
                                        <p:animEffect transition="in" filter="fade">
                                          <p:cBhvr>
                                            <p:cTn id="53" dur="1000"/>
                                            <p:tgtEl>
                                              <p:spTgt spid="9"/>
                                            </p:tgtEl>
                                          </p:cBhvr>
                                        </p:animEffect>
                                        <p:anim calcmode="lin" valueType="num">
                                          <p:cBhvr>
                                            <p:cTn id="54" dur="1000" fill="hold"/>
                                            <p:tgtEl>
                                              <p:spTgt spid="9"/>
                                            </p:tgtEl>
                                            <p:attrNameLst>
                                              <p:attrName>ppt_x</p:attrName>
                                            </p:attrNameLst>
                                          </p:cBhvr>
                                          <p:tavLst>
                                            <p:tav tm="0">
                                              <p:val>
                                                <p:strVal val="#ppt_x"/>
                                              </p:val>
                                            </p:tav>
                                            <p:tav tm="100000">
                                              <p:val>
                                                <p:strVal val="#ppt_x"/>
                                              </p:val>
                                            </p:tav>
                                          </p:tavLst>
                                        </p:anim>
                                        <p:anim calcmode="lin" valueType="num">
                                          <p:cBhvr>
                                            <p:cTn id="55" dur="1000" fill="hold"/>
                                            <p:tgtEl>
                                              <p:spTgt spid="9"/>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10"/>
                                            </p:tgtEl>
                                            <p:attrNameLst>
                                              <p:attrName>style.visibility</p:attrName>
                                            </p:attrNameLst>
                                          </p:cBhvr>
                                          <p:to>
                                            <p:strVal val="visible"/>
                                          </p:to>
                                        </p:set>
                                        <p:animEffect transition="in" filter="fade">
                                          <p:cBhvr>
                                            <p:cTn id="58" dur="1000"/>
                                            <p:tgtEl>
                                              <p:spTgt spid="10"/>
                                            </p:tgtEl>
                                          </p:cBhvr>
                                        </p:animEffect>
                                        <p:anim calcmode="lin" valueType="num">
                                          <p:cBhvr>
                                            <p:cTn id="59" dur="1000" fill="hold"/>
                                            <p:tgtEl>
                                              <p:spTgt spid="10"/>
                                            </p:tgtEl>
                                            <p:attrNameLst>
                                              <p:attrName>ppt_x</p:attrName>
                                            </p:attrNameLst>
                                          </p:cBhvr>
                                          <p:tavLst>
                                            <p:tav tm="0">
                                              <p:val>
                                                <p:strVal val="#ppt_x"/>
                                              </p:val>
                                            </p:tav>
                                            <p:tav tm="100000">
                                              <p:val>
                                                <p:strVal val="#ppt_x"/>
                                              </p:val>
                                            </p:tav>
                                          </p:tavLst>
                                        </p:anim>
                                        <p:anim calcmode="lin" valueType="num">
                                          <p:cBhvr>
                                            <p:cTn id="60" dur="1000" fill="hold"/>
                                            <p:tgtEl>
                                              <p:spTgt spid="10"/>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p:stCondLst>
                                        <p:cond delay="0"/>
                                      </p:stCondLst>
                                      <p:childTnLst>
                                        <p:set>
                                          <p:cBhvr>
                                            <p:cTn id="62" dur="1" fill="hold">
                                              <p:stCondLst>
                                                <p:cond delay="0"/>
                                              </p:stCondLst>
                                            </p:cTn>
                                            <p:tgtEl>
                                              <p:spTgt spid="21"/>
                                            </p:tgtEl>
                                            <p:attrNameLst>
                                              <p:attrName>style.visibility</p:attrName>
                                            </p:attrNameLst>
                                          </p:cBhvr>
                                          <p:to>
                                            <p:strVal val="visible"/>
                                          </p:to>
                                        </p:set>
                                        <p:animEffect transition="in" filter="fade">
                                          <p:cBhvr>
                                            <p:cTn id="63" dur="1000"/>
                                            <p:tgtEl>
                                              <p:spTgt spid="21"/>
                                            </p:tgtEl>
                                          </p:cBhvr>
                                        </p:animEffect>
                                        <p:anim calcmode="lin" valueType="num">
                                          <p:cBhvr>
                                            <p:cTn id="64" dur="1000" fill="hold"/>
                                            <p:tgtEl>
                                              <p:spTgt spid="21"/>
                                            </p:tgtEl>
                                            <p:attrNameLst>
                                              <p:attrName>ppt_x</p:attrName>
                                            </p:attrNameLst>
                                          </p:cBhvr>
                                          <p:tavLst>
                                            <p:tav tm="0">
                                              <p:val>
                                                <p:strVal val="#ppt_x"/>
                                              </p:val>
                                            </p:tav>
                                            <p:tav tm="100000">
                                              <p:val>
                                                <p:strVal val="#ppt_x"/>
                                              </p:val>
                                            </p:tav>
                                          </p:tavLst>
                                        </p:anim>
                                        <p:anim calcmode="lin" valueType="num">
                                          <p:cBhvr>
                                            <p:cTn id="65" dur="1000" fill="hold"/>
                                            <p:tgtEl>
                                              <p:spTgt spid="21"/>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0"/>
                                      </p:stCondLst>
                                      <p:childTnLst>
                                        <p:set>
                                          <p:cBhvr>
                                            <p:cTn id="67" dur="1" fill="hold">
                                              <p:stCondLst>
                                                <p:cond delay="0"/>
                                              </p:stCondLst>
                                            </p:cTn>
                                            <p:tgtEl>
                                              <p:spTgt spid="22"/>
                                            </p:tgtEl>
                                            <p:attrNameLst>
                                              <p:attrName>style.visibility</p:attrName>
                                            </p:attrNameLst>
                                          </p:cBhvr>
                                          <p:to>
                                            <p:strVal val="visible"/>
                                          </p:to>
                                        </p:set>
                                        <p:animEffect transition="in" filter="fade">
                                          <p:cBhvr>
                                            <p:cTn id="68" dur="1000"/>
                                            <p:tgtEl>
                                              <p:spTgt spid="22"/>
                                            </p:tgtEl>
                                          </p:cBhvr>
                                        </p:animEffect>
                                        <p:anim calcmode="lin" valueType="num">
                                          <p:cBhvr>
                                            <p:cTn id="69" dur="1000" fill="hold"/>
                                            <p:tgtEl>
                                              <p:spTgt spid="22"/>
                                            </p:tgtEl>
                                            <p:attrNameLst>
                                              <p:attrName>ppt_x</p:attrName>
                                            </p:attrNameLst>
                                          </p:cBhvr>
                                          <p:tavLst>
                                            <p:tav tm="0">
                                              <p:val>
                                                <p:strVal val="#ppt_x"/>
                                              </p:val>
                                            </p:tav>
                                            <p:tav tm="100000">
                                              <p:val>
                                                <p:strVal val="#ppt_x"/>
                                              </p:val>
                                            </p:tav>
                                          </p:tavLst>
                                        </p:anim>
                                        <p:anim calcmode="lin" valueType="num">
                                          <p:cBhvr>
                                            <p:cTn id="70" dur="1000" fill="hold"/>
                                            <p:tgtEl>
                                              <p:spTgt spid="22"/>
                                            </p:tgtEl>
                                            <p:attrNameLst>
                                              <p:attrName>ppt_y</p:attrName>
                                            </p:attrNameLst>
                                          </p:cBhvr>
                                          <p:tavLst>
                                            <p:tav tm="0">
                                              <p:val>
                                                <p:strVal val="#ppt_y+.1"/>
                                              </p:val>
                                            </p:tav>
                                            <p:tav tm="100000">
                                              <p:val>
                                                <p:strVal val="#ppt_y"/>
                                              </p:val>
                                            </p:tav>
                                          </p:tavLst>
                                        </p:anim>
                                      </p:childTnLst>
                                    </p:cTn>
                                  </p:par>
                                  <p:par>
                                    <p:cTn id="71" presetID="16" presetClass="entr" presetSubtype="21" fill="hold" nodeType="withEffect">
                                      <p:stCondLst>
                                        <p:cond delay="0"/>
                                      </p:stCondLst>
                                      <p:childTnLst>
                                        <p:set>
                                          <p:cBhvr>
                                            <p:cTn id="72" dur="1" fill="hold">
                                              <p:stCondLst>
                                                <p:cond delay="0"/>
                                              </p:stCondLst>
                                            </p:cTn>
                                            <p:tgtEl>
                                              <p:spTgt spid="3"/>
                                            </p:tgtEl>
                                            <p:attrNameLst>
                                              <p:attrName>style.visibility</p:attrName>
                                            </p:attrNameLst>
                                          </p:cBhvr>
                                          <p:to>
                                            <p:strVal val="visible"/>
                                          </p:to>
                                        </p:set>
                                        <p:animEffect transition="in" filter="barn(inVertical)">
                                          <p:cBhvr>
                                            <p:cTn id="73" dur="500"/>
                                            <p:tgtEl>
                                              <p:spTgt spid="3"/>
                                            </p:tgtEl>
                                          </p:cBhvr>
                                        </p:animEffect>
                                      </p:childTnLst>
                                    </p:cTn>
                                  </p:par>
                                  <p:par>
                                    <p:cTn id="74" presetID="16" presetClass="entr" presetSubtype="21" fill="hold" nodeType="withEffect">
                                      <p:stCondLst>
                                        <p:cond delay="0"/>
                                      </p:stCondLst>
                                      <p:childTnLst>
                                        <p:set>
                                          <p:cBhvr>
                                            <p:cTn id="75" dur="1" fill="hold">
                                              <p:stCondLst>
                                                <p:cond delay="0"/>
                                              </p:stCondLst>
                                            </p:cTn>
                                            <p:tgtEl>
                                              <p:spTgt spid="5"/>
                                            </p:tgtEl>
                                            <p:attrNameLst>
                                              <p:attrName>style.visibility</p:attrName>
                                            </p:attrNameLst>
                                          </p:cBhvr>
                                          <p:to>
                                            <p:strVal val="visible"/>
                                          </p:to>
                                        </p:set>
                                        <p:animEffect transition="in" filter="barn(inVertical)">
                                          <p:cBhvr>
                                            <p:cTn id="76" dur="500"/>
                                            <p:tgtEl>
                                              <p:spTgt spid="5"/>
                                            </p:tgtEl>
                                          </p:cBhvr>
                                        </p:animEffect>
                                      </p:childTnLst>
                                    </p:cTn>
                                  </p:par>
                                  <p:par>
                                    <p:cTn id="77" presetID="16" presetClass="entr" presetSubtype="21" fill="hold" nodeType="withEffect">
                                      <p:stCondLst>
                                        <p:cond delay="0"/>
                                      </p:stCondLst>
                                      <p:childTnLst>
                                        <p:set>
                                          <p:cBhvr>
                                            <p:cTn id="78" dur="1" fill="hold">
                                              <p:stCondLst>
                                                <p:cond delay="0"/>
                                              </p:stCondLst>
                                            </p:cTn>
                                            <p:tgtEl>
                                              <p:spTgt spid="7"/>
                                            </p:tgtEl>
                                            <p:attrNameLst>
                                              <p:attrName>style.visibility</p:attrName>
                                            </p:attrNameLst>
                                          </p:cBhvr>
                                          <p:to>
                                            <p:strVal val="visible"/>
                                          </p:to>
                                        </p:set>
                                        <p:animEffect transition="in" filter="barn(inVertical)">
                                          <p:cBhvr>
                                            <p:cTn id="79" dur="500"/>
                                            <p:tgtEl>
                                              <p:spTgt spid="7"/>
                                            </p:tgtEl>
                                          </p:cBhvr>
                                        </p:animEffect>
                                      </p:childTnLst>
                                    </p:cTn>
                                  </p:par>
                                  <p:par>
                                    <p:cTn id="80" presetID="16" presetClass="entr" presetSubtype="21" fill="hold" nodeType="withEffect">
                                      <p:stCondLst>
                                        <p:cond delay="0"/>
                                      </p:stCondLst>
                                      <p:childTnLst>
                                        <p:set>
                                          <p:cBhvr>
                                            <p:cTn id="81" dur="1" fill="hold">
                                              <p:stCondLst>
                                                <p:cond delay="0"/>
                                              </p:stCondLst>
                                            </p:cTn>
                                            <p:tgtEl>
                                              <p:spTgt spid="8"/>
                                            </p:tgtEl>
                                            <p:attrNameLst>
                                              <p:attrName>style.visibility</p:attrName>
                                            </p:attrNameLst>
                                          </p:cBhvr>
                                          <p:to>
                                            <p:strVal val="visible"/>
                                          </p:to>
                                        </p:set>
                                        <p:animEffect transition="in" filter="barn(inVertical)">
                                          <p:cBhvr>
                                            <p:cTn id="82" dur="500"/>
                                            <p:tgtEl>
                                              <p:spTgt spid="8"/>
                                            </p:tgtEl>
                                          </p:cBhvr>
                                        </p:animEffect>
                                      </p:childTnLst>
                                    </p:cTn>
                                  </p:par>
                                  <p:par>
                                    <p:cTn id="83" presetID="16" presetClass="entr" presetSubtype="21" fill="hold" grpId="0" nodeType="withEffect">
                                      <p:stCondLst>
                                        <p:cond delay="0"/>
                                      </p:stCondLst>
                                      <p:childTnLst>
                                        <p:set>
                                          <p:cBhvr>
                                            <p:cTn id="84" dur="1" fill="hold">
                                              <p:stCondLst>
                                                <p:cond delay="0"/>
                                              </p:stCondLst>
                                            </p:cTn>
                                            <p:tgtEl>
                                              <p:spTgt spid="25"/>
                                            </p:tgtEl>
                                            <p:attrNameLst>
                                              <p:attrName>style.visibility</p:attrName>
                                            </p:attrNameLst>
                                          </p:cBhvr>
                                          <p:to>
                                            <p:strVal val="visible"/>
                                          </p:to>
                                        </p:set>
                                        <p:animEffect transition="in" filter="barn(inVertical)">
                                          <p:cBhvr>
                                            <p:cTn id="85" dur="500"/>
                                            <p:tgtEl>
                                              <p:spTgt spid="25"/>
                                            </p:tgtEl>
                                          </p:cBhvr>
                                        </p:animEffect>
                                      </p:childTnLst>
                                    </p:cTn>
                                  </p:par>
                                  <p:par>
                                    <p:cTn id="86" presetID="16" presetClass="entr" presetSubtype="21" fill="hold" grpId="0" nodeType="withEffect">
                                      <p:stCondLst>
                                        <p:cond delay="0"/>
                                      </p:stCondLst>
                                      <p:childTnLst>
                                        <p:set>
                                          <p:cBhvr>
                                            <p:cTn id="87" dur="1" fill="hold">
                                              <p:stCondLst>
                                                <p:cond delay="0"/>
                                              </p:stCondLst>
                                            </p:cTn>
                                            <p:tgtEl>
                                              <p:spTgt spid="26"/>
                                            </p:tgtEl>
                                            <p:attrNameLst>
                                              <p:attrName>style.visibility</p:attrName>
                                            </p:attrNameLst>
                                          </p:cBhvr>
                                          <p:to>
                                            <p:strVal val="visible"/>
                                          </p:to>
                                        </p:set>
                                        <p:animEffect transition="in" filter="barn(inVertical)">
                                          <p:cBhvr>
                                            <p:cTn id="88" dur="500"/>
                                            <p:tgtEl>
                                              <p:spTgt spid="26"/>
                                            </p:tgtEl>
                                          </p:cBhvr>
                                        </p:animEffect>
                                      </p:childTnLst>
                                    </p:cTn>
                                  </p:par>
                                  <p:par>
                                    <p:cTn id="89" presetID="16" presetClass="entr" presetSubtype="21" fill="hold" grpId="0" nodeType="withEffect">
                                      <p:stCondLst>
                                        <p:cond delay="0"/>
                                      </p:stCondLst>
                                      <p:childTnLst>
                                        <p:set>
                                          <p:cBhvr>
                                            <p:cTn id="90" dur="1" fill="hold">
                                              <p:stCondLst>
                                                <p:cond delay="0"/>
                                              </p:stCondLst>
                                            </p:cTn>
                                            <p:tgtEl>
                                              <p:spTgt spid="30"/>
                                            </p:tgtEl>
                                            <p:attrNameLst>
                                              <p:attrName>style.visibility</p:attrName>
                                            </p:attrNameLst>
                                          </p:cBhvr>
                                          <p:to>
                                            <p:strVal val="visible"/>
                                          </p:to>
                                        </p:set>
                                        <p:animEffect transition="in" filter="barn(inVertical)">
                                          <p:cBhvr>
                                            <p:cTn id="91" dur="500"/>
                                            <p:tgtEl>
                                              <p:spTgt spid="30"/>
                                            </p:tgtEl>
                                          </p:cBhvr>
                                        </p:animEffect>
                                      </p:childTnLst>
                                    </p:cTn>
                                  </p:par>
                                  <p:par>
                                    <p:cTn id="92" presetID="16" presetClass="entr" presetSubtype="21" fill="hold" grpId="0" nodeType="withEffect">
                                      <p:stCondLst>
                                        <p:cond delay="0"/>
                                      </p:stCondLst>
                                      <p:childTnLst>
                                        <p:set>
                                          <p:cBhvr>
                                            <p:cTn id="93" dur="1" fill="hold">
                                              <p:stCondLst>
                                                <p:cond delay="0"/>
                                              </p:stCondLst>
                                            </p:cTn>
                                            <p:tgtEl>
                                              <p:spTgt spid="31"/>
                                            </p:tgtEl>
                                            <p:attrNameLst>
                                              <p:attrName>style.visibility</p:attrName>
                                            </p:attrNameLst>
                                          </p:cBhvr>
                                          <p:to>
                                            <p:strVal val="visible"/>
                                          </p:to>
                                        </p:set>
                                        <p:animEffect transition="in" filter="barn(inVertical)">
                                          <p:cBhvr>
                                            <p:cTn id="94"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5" restart="whenNotActive" fill="hold" evtFilter="cancelBubble" nodeType="interactiveSeq">
                    <p:stCondLst>
                      <p:cond evt="onClick" delay="0">
                        <p:tgtEl>
                          <p:spTgt spid="12"/>
                        </p:tgtEl>
                      </p:cond>
                    </p:stCondLst>
                    <p:endSync evt="end" delay="0">
                      <p:rtn val="all"/>
                    </p:endSync>
                    <p:childTnLst>
                      <p:par>
                        <p:cTn id="96" fill="hold">
                          <p:stCondLst>
                            <p:cond delay="0"/>
                          </p:stCondLst>
                          <p:childTnLst>
                            <p:par>
                              <p:cTn id="97" fill="hold">
                                <p:stCondLst>
                                  <p:cond delay="0"/>
                                </p:stCondLst>
                                <p:childTnLst>
                                  <p:par>
                                    <p:cTn id="98" presetID="1" presetClass="emph" presetSubtype="2" fill="hold" nodeType="clickEffect">
                                      <p:stCondLst>
                                        <p:cond delay="0"/>
                                      </p:stCondLst>
                                      <p:childTnLst>
                                        <p:animClr clrSpc="rgb" dir="cw">
                                          <p:cBhvr>
                                            <p:cTn id="99" dur="500" fill="hold"/>
                                            <p:tgtEl>
                                              <p:spTgt spid="12"/>
                                            </p:tgtEl>
                                            <p:attrNameLst>
                                              <p:attrName>fillcolor</p:attrName>
                                            </p:attrNameLst>
                                          </p:cBhvr>
                                          <p:to>
                                            <a:srgbClr val="FCECD0"/>
                                          </p:to>
                                        </p:animClr>
                                        <p:set>
                                          <p:cBhvr>
                                            <p:cTn id="100" dur="500" fill="hold"/>
                                            <p:tgtEl>
                                              <p:spTgt spid="12"/>
                                            </p:tgtEl>
                                            <p:attrNameLst>
                                              <p:attrName>fill.type</p:attrName>
                                            </p:attrNameLst>
                                          </p:cBhvr>
                                          <p:to>
                                            <p:strVal val="solid"/>
                                          </p:to>
                                        </p:set>
                                        <p:set>
                                          <p:cBhvr>
                                            <p:cTn id="101" dur="500" fill="hold"/>
                                            <p:tgtEl>
                                              <p:spTgt spid="12"/>
                                            </p:tgtEl>
                                            <p:attrNameLst>
                                              <p:attrName>fill.on</p:attrName>
                                            </p:attrNameLst>
                                          </p:cBhvr>
                                          <p:to>
                                            <p:strVal val="true"/>
                                          </p:to>
                                        </p:set>
                                      </p:childTnLst>
                                    </p:cTn>
                                  </p:par>
                                  <p:par>
                                    <p:cTn id="102" presetID="23" presetClass="entr" presetSubtype="32" fill="hold" nodeType="withEffect">
                                      <p:stCondLst>
                                        <p:cond delay="1500"/>
                                      </p:stCondLst>
                                      <p:childTnLst>
                                        <p:set>
                                          <p:cBhvr>
                                            <p:cTn id="103" dur="1" fill="hold">
                                              <p:stCondLst>
                                                <p:cond delay="0"/>
                                              </p:stCondLst>
                                            </p:cTn>
                                            <p:tgtEl>
                                              <p:spTgt spid="14"/>
                                            </p:tgtEl>
                                            <p:attrNameLst>
                                              <p:attrName>style.visibility</p:attrName>
                                            </p:attrNameLst>
                                          </p:cBhvr>
                                          <p:to>
                                            <p:strVal val="visible"/>
                                          </p:to>
                                        </p:set>
                                        <p:anim calcmode="lin" valueType="num">
                                          <p:cBhvr>
                                            <p:cTn id="104" dur="250" fill="hold"/>
                                            <p:tgtEl>
                                              <p:spTgt spid="14"/>
                                            </p:tgtEl>
                                            <p:attrNameLst>
                                              <p:attrName>ppt_w</p:attrName>
                                            </p:attrNameLst>
                                          </p:cBhvr>
                                          <p:tavLst>
                                            <p:tav tm="0">
                                              <p:val>
                                                <p:strVal val="4*#ppt_w"/>
                                              </p:val>
                                            </p:tav>
                                            <p:tav tm="100000">
                                              <p:val>
                                                <p:strVal val="#ppt_w"/>
                                              </p:val>
                                            </p:tav>
                                          </p:tavLst>
                                        </p:anim>
                                        <p:anim calcmode="lin" valueType="num">
                                          <p:cBhvr>
                                            <p:cTn id="105" dur="250" fill="hold"/>
                                            <p:tgtEl>
                                              <p:spTgt spid="14"/>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102"/>
                                                </p:cond>
                                              </p:stCondLst>
                                              <p:endCondLst>
                                                <p:cond evt="onStopAudio" delay="0">
                                                  <p:tgtEl>
                                                    <p:sldTgt/>
                                                  </p:tgtEl>
                                                </p:cond>
                                              </p:endCondLst>
                                            </p:cTn>
                                            <p:tgtEl>
                                              <p:sndTgt r:embed="rId4" name="Wrong Buzzer.wav"/>
                                            </p:tgtEl>
                                          </p:cMediaNode>
                                        </p:audio>
                                      </p:subTnLst>
                                    </p:cTn>
                                  </p:par>
                                  <p:par>
                                    <p:cTn id="106" presetID="1" presetClass="emph" presetSubtype="2" fill="hold" nodeType="withEffect">
                                      <p:stCondLst>
                                        <p:cond delay="1500"/>
                                      </p:stCondLst>
                                      <p:childTnLst>
                                        <p:animClr clrSpc="rgb" dir="cw">
                                          <p:cBhvr>
                                            <p:cTn id="107" dur="250" fill="hold"/>
                                            <p:tgtEl>
                                              <p:spTgt spid="12"/>
                                            </p:tgtEl>
                                            <p:attrNameLst>
                                              <p:attrName>fillcolor</p:attrName>
                                            </p:attrNameLst>
                                          </p:cBhvr>
                                          <p:to>
                                            <a:srgbClr val="ED5565"/>
                                          </p:to>
                                        </p:animClr>
                                        <p:set>
                                          <p:cBhvr>
                                            <p:cTn id="108" dur="250" fill="hold"/>
                                            <p:tgtEl>
                                              <p:spTgt spid="12"/>
                                            </p:tgtEl>
                                            <p:attrNameLst>
                                              <p:attrName>fill.type</p:attrName>
                                            </p:attrNameLst>
                                          </p:cBhvr>
                                          <p:to>
                                            <p:strVal val="solid"/>
                                          </p:to>
                                        </p:set>
                                        <p:set>
                                          <p:cBhvr>
                                            <p:cTn id="109" dur="250" fill="hold"/>
                                            <p:tgtEl>
                                              <p:spTgt spid="12"/>
                                            </p:tgtEl>
                                            <p:attrNameLst>
                                              <p:attrName>fill.on</p:attrName>
                                            </p:attrNameLst>
                                          </p:cBhvr>
                                          <p:to>
                                            <p:strVal val="true"/>
                                          </p:to>
                                        </p:set>
                                      </p:childTnLst>
                                    </p:cTn>
                                  </p:par>
                                </p:childTnLst>
                              </p:cTn>
                            </p:par>
                          </p:childTnLst>
                        </p:cTn>
                      </p:par>
                    </p:childTnLst>
                  </p:cTn>
                  <p:nextCondLst>
                    <p:cond evt="onClick" delay="0">
                      <p:tgtEl>
                        <p:spTgt spid="12"/>
                      </p:tgtEl>
                    </p:cond>
                  </p:nextCondLst>
                </p:seq>
                <p:seq concurrent="1" nextAc="seek">
                  <p:cTn id="110" restart="whenNotActive" fill="hold" evtFilter="cancelBubble" nodeType="interactiveSeq">
                    <p:stCondLst>
                      <p:cond evt="onClick" delay="0">
                        <p:tgtEl>
                          <p:spTgt spid="17"/>
                        </p:tgtEl>
                      </p:cond>
                    </p:stCondLst>
                    <p:endSync evt="end" delay="0">
                      <p:rtn val="all"/>
                    </p:endSync>
                    <p:childTnLst>
                      <p:par>
                        <p:cTn id="111" fill="hold">
                          <p:stCondLst>
                            <p:cond delay="0"/>
                          </p:stCondLst>
                          <p:childTnLst>
                            <p:par>
                              <p:cTn id="112" fill="hold">
                                <p:stCondLst>
                                  <p:cond delay="0"/>
                                </p:stCondLst>
                                <p:childTnLst>
                                  <p:par>
                                    <p:cTn id="113" presetID="1" presetClass="emph" presetSubtype="2" fill="hold" nodeType="clickEffect">
                                      <p:stCondLst>
                                        <p:cond delay="0"/>
                                      </p:stCondLst>
                                      <p:childTnLst>
                                        <p:animClr clrSpc="rgb" dir="cw">
                                          <p:cBhvr>
                                            <p:cTn id="114" dur="500" fill="hold"/>
                                            <p:tgtEl>
                                              <p:spTgt spid="17"/>
                                            </p:tgtEl>
                                            <p:attrNameLst>
                                              <p:attrName>fillcolor</p:attrName>
                                            </p:attrNameLst>
                                          </p:cBhvr>
                                          <p:to>
                                            <a:srgbClr val="FCECD0"/>
                                          </p:to>
                                        </p:animClr>
                                        <p:set>
                                          <p:cBhvr>
                                            <p:cTn id="115" dur="500" fill="hold"/>
                                            <p:tgtEl>
                                              <p:spTgt spid="17"/>
                                            </p:tgtEl>
                                            <p:attrNameLst>
                                              <p:attrName>fill.type</p:attrName>
                                            </p:attrNameLst>
                                          </p:cBhvr>
                                          <p:to>
                                            <p:strVal val="solid"/>
                                          </p:to>
                                        </p:set>
                                        <p:set>
                                          <p:cBhvr>
                                            <p:cTn id="116" dur="500" fill="hold"/>
                                            <p:tgtEl>
                                              <p:spTgt spid="17"/>
                                            </p:tgtEl>
                                            <p:attrNameLst>
                                              <p:attrName>fill.on</p:attrName>
                                            </p:attrNameLst>
                                          </p:cBhvr>
                                          <p:to>
                                            <p:strVal val="true"/>
                                          </p:to>
                                        </p:set>
                                      </p:childTnLst>
                                    </p:cTn>
                                  </p:par>
                                  <p:par>
                                    <p:cTn id="117" presetID="1" presetClass="emph" presetSubtype="2" fill="hold" nodeType="withEffect">
                                      <p:stCondLst>
                                        <p:cond delay="1500"/>
                                      </p:stCondLst>
                                      <p:childTnLst>
                                        <p:animClr clrSpc="rgb" dir="cw">
                                          <p:cBhvr>
                                            <p:cTn id="118" dur="250" fill="hold"/>
                                            <p:tgtEl>
                                              <p:spTgt spid="17"/>
                                            </p:tgtEl>
                                            <p:attrNameLst>
                                              <p:attrName>fillcolor</p:attrName>
                                            </p:attrNameLst>
                                          </p:cBhvr>
                                          <p:to>
                                            <a:srgbClr val="A0D468"/>
                                          </p:to>
                                        </p:animClr>
                                        <p:set>
                                          <p:cBhvr>
                                            <p:cTn id="119" dur="250" fill="hold"/>
                                            <p:tgtEl>
                                              <p:spTgt spid="17"/>
                                            </p:tgtEl>
                                            <p:attrNameLst>
                                              <p:attrName>fill.type</p:attrName>
                                            </p:attrNameLst>
                                          </p:cBhvr>
                                          <p:to>
                                            <p:strVal val="solid"/>
                                          </p:to>
                                        </p:set>
                                        <p:set>
                                          <p:cBhvr>
                                            <p:cTn id="120" dur="250" fill="hold"/>
                                            <p:tgtEl>
                                              <p:spTgt spid="17"/>
                                            </p:tgtEl>
                                            <p:attrNameLst>
                                              <p:attrName>fill.on</p:attrName>
                                            </p:attrNameLst>
                                          </p:cBhvr>
                                          <p:to>
                                            <p:strVal val="true"/>
                                          </p:to>
                                        </p:set>
                                      </p:childTnLst>
                                    </p:cTn>
                                  </p:par>
                                  <p:par>
                                    <p:cTn id="121" presetID="23" presetClass="entr" presetSubtype="32" fill="hold" nodeType="withEffect">
                                      <p:stCondLst>
                                        <p:cond delay="1500"/>
                                      </p:stCondLst>
                                      <p:childTnLst>
                                        <p:set>
                                          <p:cBhvr>
                                            <p:cTn id="122" dur="1" fill="hold">
                                              <p:stCondLst>
                                                <p:cond delay="0"/>
                                              </p:stCondLst>
                                            </p:cTn>
                                            <p:tgtEl>
                                              <p:spTgt spid="28"/>
                                            </p:tgtEl>
                                            <p:attrNameLst>
                                              <p:attrName>style.visibility</p:attrName>
                                            </p:attrNameLst>
                                          </p:cBhvr>
                                          <p:to>
                                            <p:strVal val="visible"/>
                                          </p:to>
                                        </p:set>
                                        <p:anim calcmode="lin" valueType="num">
                                          <p:cBhvr>
                                            <p:cTn id="123" dur="250" fill="hold"/>
                                            <p:tgtEl>
                                              <p:spTgt spid="28"/>
                                            </p:tgtEl>
                                            <p:attrNameLst>
                                              <p:attrName>ppt_w</p:attrName>
                                            </p:attrNameLst>
                                          </p:cBhvr>
                                          <p:tavLst>
                                            <p:tav tm="0">
                                              <p:val>
                                                <p:strVal val="4*#ppt_w"/>
                                              </p:val>
                                            </p:tav>
                                            <p:tav tm="100000">
                                              <p:val>
                                                <p:strVal val="#ppt_w"/>
                                              </p:val>
                                            </p:tav>
                                          </p:tavLst>
                                        </p:anim>
                                        <p:anim calcmode="lin" valueType="num">
                                          <p:cBhvr>
                                            <p:cTn id="124" dur="250" fill="hold"/>
                                            <p:tgtEl>
                                              <p:spTgt spid="28"/>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121"/>
                                                </p:cond>
                                              </p:stCondLst>
                                              <p:endCondLst>
                                                <p:cond evt="onStopAudio" delay="0">
                                                  <p:tgtEl>
                                                    <p:sldTgt/>
                                                  </p:tgtEl>
                                                </p:cond>
                                              </p:endCondLst>
                                            </p:cTn>
                                            <p:tgtEl>
                                              <p:sndTgt r:embed="rId5" name="Check mark.wav"/>
                                            </p:tgtEl>
                                          </p:cMediaNode>
                                        </p:audio>
                                      </p:subTnLst>
                                    </p:cTn>
                                  </p:par>
                                </p:childTnLst>
                              </p:cTn>
                            </p:par>
                          </p:childTnLst>
                        </p:cTn>
                      </p:par>
                    </p:childTnLst>
                  </p:cTn>
                  <p:nextCondLst>
                    <p:cond evt="onClick" delay="0">
                      <p:tgtEl>
                        <p:spTgt spid="17"/>
                      </p:tgtEl>
                    </p:cond>
                  </p:nextCondLst>
                </p:seq>
                <p:seq concurrent="1" nextAc="seek">
                  <p:cTn id="125" restart="whenNotActive" fill="hold" evtFilter="cancelBubble" nodeType="interactiveSeq">
                    <p:stCondLst>
                      <p:cond evt="onClick" delay="0">
                        <p:tgtEl>
                          <p:spTgt spid="18"/>
                        </p:tgtEl>
                      </p:cond>
                    </p:stCondLst>
                    <p:endSync evt="end" delay="0">
                      <p:rtn val="all"/>
                    </p:endSync>
                    <p:childTnLst>
                      <p:par>
                        <p:cTn id="126" fill="hold">
                          <p:stCondLst>
                            <p:cond delay="0"/>
                          </p:stCondLst>
                          <p:childTnLst>
                            <p:par>
                              <p:cTn id="127" fill="hold">
                                <p:stCondLst>
                                  <p:cond delay="0"/>
                                </p:stCondLst>
                                <p:childTnLst>
                                  <p:par>
                                    <p:cTn id="128" presetID="1" presetClass="emph" presetSubtype="2" fill="hold" nodeType="clickEffect">
                                      <p:stCondLst>
                                        <p:cond delay="0"/>
                                      </p:stCondLst>
                                      <p:childTnLst>
                                        <p:animClr clrSpc="rgb" dir="cw">
                                          <p:cBhvr>
                                            <p:cTn id="129" dur="500" fill="hold"/>
                                            <p:tgtEl>
                                              <p:spTgt spid="18"/>
                                            </p:tgtEl>
                                            <p:attrNameLst>
                                              <p:attrName>fillcolor</p:attrName>
                                            </p:attrNameLst>
                                          </p:cBhvr>
                                          <p:to>
                                            <a:srgbClr val="FCECD0"/>
                                          </p:to>
                                        </p:animClr>
                                        <p:set>
                                          <p:cBhvr>
                                            <p:cTn id="130" dur="500" fill="hold"/>
                                            <p:tgtEl>
                                              <p:spTgt spid="18"/>
                                            </p:tgtEl>
                                            <p:attrNameLst>
                                              <p:attrName>fill.type</p:attrName>
                                            </p:attrNameLst>
                                          </p:cBhvr>
                                          <p:to>
                                            <p:strVal val="solid"/>
                                          </p:to>
                                        </p:set>
                                        <p:set>
                                          <p:cBhvr>
                                            <p:cTn id="131" dur="500" fill="hold"/>
                                            <p:tgtEl>
                                              <p:spTgt spid="18"/>
                                            </p:tgtEl>
                                            <p:attrNameLst>
                                              <p:attrName>fill.on</p:attrName>
                                            </p:attrNameLst>
                                          </p:cBhvr>
                                          <p:to>
                                            <p:strVal val="true"/>
                                          </p:to>
                                        </p:set>
                                      </p:childTnLst>
                                    </p:cTn>
                                  </p:par>
                                  <p:par>
                                    <p:cTn id="132" presetID="1" presetClass="emph" presetSubtype="2" fill="hold" nodeType="withEffect">
                                      <p:stCondLst>
                                        <p:cond delay="1500"/>
                                      </p:stCondLst>
                                      <p:childTnLst>
                                        <p:animClr clrSpc="rgb" dir="cw">
                                          <p:cBhvr>
                                            <p:cTn id="133" dur="250" fill="hold"/>
                                            <p:tgtEl>
                                              <p:spTgt spid="18"/>
                                            </p:tgtEl>
                                            <p:attrNameLst>
                                              <p:attrName>fillcolor</p:attrName>
                                            </p:attrNameLst>
                                          </p:cBhvr>
                                          <p:to>
                                            <a:srgbClr val="ED5565"/>
                                          </p:to>
                                        </p:animClr>
                                        <p:set>
                                          <p:cBhvr>
                                            <p:cTn id="134" dur="250" fill="hold"/>
                                            <p:tgtEl>
                                              <p:spTgt spid="18"/>
                                            </p:tgtEl>
                                            <p:attrNameLst>
                                              <p:attrName>fill.type</p:attrName>
                                            </p:attrNameLst>
                                          </p:cBhvr>
                                          <p:to>
                                            <p:strVal val="solid"/>
                                          </p:to>
                                        </p:set>
                                        <p:set>
                                          <p:cBhvr>
                                            <p:cTn id="135" dur="250" fill="hold"/>
                                            <p:tgtEl>
                                              <p:spTgt spid="18"/>
                                            </p:tgtEl>
                                            <p:attrNameLst>
                                              <p:attrName>fill.on</p:attrName>
                                            </p:attrNameLst>
                                          </p:cBhvr>
                                          <p:to>
                                            <p:strVal val="true"/>
                                          </p:to>
                                        </p:set>
                                      </p:childTnLst>
                                    </p:cTn>
                                  </p:par>
                                  <p:par>
                                    <p:cTn id="136" presetID="23" presetClass="entr" presetSubtype="32" fill="hold" nodeType="withEffect">
                                      <p:stCondLst>
                                        <p:cond delay="1500"/>
                                      </p:stCondLst>
                                      <p:childTnLst>
                                        <p:set>
                                          <p:cBhvr>
                                            <p:cTn id="137" dur="1" fill="hold">
                                              <p:stCondLst>
                                                <p:cond delay="0"/>
                                              </p:stCondLst>
                                            </p:cTn>
                                            <p:tgtEl>
                                              <p:spTgt spid="29"/>
                                            </p:tgtEl>
                                            <p:attrNameLst>
                                              <p:attrName>style.visibility</p:attrName>
                                            </p:attrNameLst>
                                          </p:cBhvr>
                                          <p:to>
                                            <p:strVal val="visible"/>
                                          </p:to>
                                        </p:set>
                                        <p:anim calcmode="lin" valueType="num">
                                          <p:cBhvr>
                                            <p:cTn id="138" dur="250" fill="hold"/>
                                            <p:tgtEl>
                                              <p:spTgt spid="29"/>
                                            </p:tgtEl>
                                            <p:attrNameLst>
                                              <p:attrName>ppt_w</p:attrName>
                                            </p:attrNameLst>
                                          </p:cBhvr>
                                          <p:tavLst>
                                            <p:tav tm="0">
                                              <p:val>
                                                <p:strVal val="4*#ppt_w"/>
                                              </p:val>
                                            </p:tav>
                                            <p:tav tm="100000">
                                              <p:val>
                                                <p:strVal val="#ppt_w"/>
                                              </p:val>
                                            </p:tav>
                                          </p:tavLst>
                                        </p:anim>
                                        <p:anim calcmode="lin" valueType="num">
                                          <p:cBhvr>
                                            <p:cTn id="139" dur="250" fill="hold"/>
                                            <p:tgtEl>
                                              <p:spTgt spid="29"/>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136"/>
                                                </p:cond>
                                              </p:stCondLst>
                                              <p:endCondLst>
                                                <p:cond evt="onStopAudio" delay="0">
                                                  <p:tgtEl>
                                                    <p:sldTgt/>
                                                  </p:tgtEl>
                                                </p:cond>
                                              </p:endCondLst>
                                            </p:cTn>
                                            <p:tgtEl>
                                              <p:sndTgt r:embed="rId4" name="Wrong Buzzer.wav"/>
                                            </p:tgtEl>
                                          </p:cMediaNode>
                                        </p:audio>
                                      </p:subTnLst>
                                    </p:cTn>
                                  </p:par>
                                </p:childTnLst>
                              </p:cTn>
                            </p:par>
                          </p:childTnLst>
                        </p:cTn>
                      </p:par>
                    </p:childTnLst>
                  </p:cTn>
                  <p:nextCondLst>
                    <p:cond evt="onClick" delay="0">
                      <p:tgtEl>
                        <p:spTgt spid="18"/>
                      </p:tgtEl>
                    </p:cond>
                  </p:nextCondLst>
                </p:seq>
                <p:seq concurrent="1" nextAc="seek">
                  <p:cTn id="140" restart="whenNotActive" fill="hold" evtFilter="cancelBubble" nodeType="interactiveSeq">
                    <p:stCondLst>
                      <p:cond evt="onClick" delay="0">
                        <p:tgtEl>
                          <p:spTgt spid="19"/>
                        </p:tgtEl>
                      </p:cond>
                    </p:stCondLst>
                    <p:endSync evt="end" delay="0">
                      <p:rtn val="all"/>
                    </p:endSync>
                    <p:childTnLst>
                      <p:par>
                        <p:cTn id="141" fill="hold">
                          <p:stCondLst>
                            <p:cond delay="0"/>
                          </p:stCondLst>
                          <p:childTnLst>
                            <p:par>
                              <p:cTn id="142" fill="hold">
                                <p:stCondLst>
                                  <p:cond delay="0"/>
                                </p:stCondLst>
                                <p:childTnLst>
                                  <p:par>
                                    <p:cTn id="143" presetID="1" presetClass="emph" presetSubtype="2" fill="hold" nodeType="clickEffect">
                                      <p:stCondLst>
                                        <p:cond delay="0"/>
                                      </p:stCondLst>
                                      <p:childTnLst>
                                        <p:animClr clrSpc="rgb" dir="cw">
                                          <p:cBhvr>
                                            <p:cTn id="144" dur="500" fill="hold"/>
                                            <p:tgtEl>
                                              <p:spTgt spid="19"/>
                                            </p:tgtEl>
                                            <p:attrNameLst>
                                              <p:attrName>fillcolor</p:attrName>
                                            </p:attrNameLst>
                                          </p:cBhvr>
                                          <p:to>
                                            <a:srgbClr val="FCECD0"/>
                                          </p:to>
                                        </p:animClr>
                                        <p:set>
                                          <p:cBhvr>
                                            <p:cTn id="145" dur="500" fill="hold"/>
                                            <p:tgtEl>
                                              <p:spTgt spid="19"/>
                                            </p:tgtEl>
                                            <p:attrNameLst>
                                              <p:attrName>fill.type</p:attrName>
                                            </p:attrNameLst>
                                          </p:cBhvr>
                                          <p:to>
                                            <p:strVal val="solid"/>
                                          </p:to>
                                        </p:set>
                                        <p:set>
                                          <p:cBhvr>
                                            <p:cTn id="146" dur="500" fill="hold"/>
                                            <p:tgtEl>
                                              <p:spTgt spid="19"/>
                                            </p:tgtEl>
                                            <p:attrNameLst>
                                              <p:attrName>fill.on</p:attrName>
                                            </p:attrNameLst>
                                          </p:cBhvr>
                                          <p:to>
                                            <p:strVal val="true"/>
                                          </p:to>
                                        </p:set>
                                      </p:childTnLst>
                                    </p:cTn>
                                  </p:par>
                                  <p:par>
                                    <p:cTn id="147" presetID="1" presetClass="emph" presetSubtype="2" fill="hold" nodeType="withEffect">
                                      <p:stCondLst>
                                        <p:cond delay="1500"/>
                                      </p:stCondLst>
                                      <p:childTnLst>
                                        <p:animClr clrSpc="rgb" dir="cw">
                                          <p:cBhvr>
                                            <p:cTn id="148" dur="250" fill="hold"/>
                                            <p:tgtEl>
                                              <p:spTgt spid="19"/>
                                            </p:tgtEl>
                                            <p:attrNameLst>
                                              <p:attrName>fillcolor</p:attrName>
                                            </p:attrNameLst>
                                          </p:cBhvr>
                                          <p:to>
                                            <a:srgbClr val="ED5565"/>
                                          </p:to>
                                        </p:animClr>
                                        <p:set>
                                          <p:cBhvr>
                                            <p:cTn id="149" dur="250" fill="hold"/>
                                            <p:tgtEl>
                                              <p:spTgt spid="19"/>
                                            </p:tgtEl>
                                            <p:attrNameLst>
                                              <p:attrName>fill.type</p:attrName>
                                            </p:attrNameLst>
                                          </p:cBhvr>
                                          <p:to>
                                            <p:strVal val="solid"/>
                                          </p:to>
                                        </p:set>
                                        <p:set>
                                          <p:cBhvr>
                                            <p:cTn id="150" dur="250" fill="hold"/>
                                            <p:tgtEl>
                                              <p:spTgt spid="19"/>
                                            </p:tgtEl>
                                            <p:attrNameLst>
                                              <p:attrName>fill.on</p:attrName>
                                            </p:attrNameLst>
                                          </p:cBhvr>
                                          <p:to>
                                            <p:strVal val="true"/>
                                          </p:to>
                                        </p:set>
                                      </p:childTnLst>
                                    </p:cTn>
                                  </p:par>
                                  <p:par>
                                    <p:cTn id="151" presetID="23" presetClass="entr" presetSubtype="32" fill="hold" nodeType="withEffect">
                                      <p:stCondLst>
                                        <p:cond delay="1500"/>
                                      </p:stCondLst>
                                      <p:childTnLst>
                                        <p:set>
                                          <p:cBhvr>
                                            <p:cTn id="152" dur="1" fill="hold">
                                              <p:stCondLst>
                                                <p:cond delay="0"/>
                                              </p:stCondLst>
                                            </p:cTn>
                                            <p:tgtEl>
                                              <p:spTgt spid="20"/>
                                            </p:tgtEl>
                                            <p:attrNameLst>
                                              <p:attrName>style.visibility</p:attrName>
                                            </p:attrNameLst>
                                          </p:cBhvr>
                                          <p:to>
                                            <p:strVal val="visible"/>
                                          </p:to>
                                        </p:set>
                                        <p:anim calcmode="lin" valueType="num">
                                          <p:cBhvr>
                                            <p:cTn id="153" dur="250" fill="hold"/>
                                            <p:tgtEl>
                                              <p:spTgt spid="20"/>
                                            </p:tgtEl>
                                            <p:attrNameLst>
                                              <p:attrName>ppt_w</p:attrName>
                                            </p:attrNameLst>
                                          </p:cBhvr>
                                          <p:tavLst>
                                            <p:tav tm="0">
                                              <p:val>
                                                <p:strVal val="4*#ppt_w"/>
                                              </p:val>
                                            </p:tav>
                                            <p:tav tm="100000">
                                              <p:val>
                                                <p:strVal val="#ppt_w"/>
                                              </p:val>
                                            </p:tav>
                                          </p:tavLst>
                                        </p:anim>
                                        <p:anim calcmode="lin" valueType="num">
                                          <p:cBhvr>
                                            <p:cTn id="154" dur="250" fill="hold"/>
                                            <p:tgtEl>
                                              <p:spTgt spid="20"/>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151"/>
                                                </p:cond>
                                              </p:stCondLst>
                                              <p:endCondLst>
                                                <p:cond evt="onStopAudio" delay="0">
                                                  <p:tgtEl>
                                                    <p:sldTgt/>
                                                  </p:tgtEl>
                                                </p:cond>
                                              </p:endCondLst>
                                            </p:cTn>
                                            <p:tgtEl>
                                              <p:sndTgt r:embed="rId4" name="Wrong Buzzer.wav"/>
                                            </p:tgtEl>
                                          </p:cMediaNode>
                                        </p:audio>
                                      </p:subTnLst>
                                    </p:cTn>
                                  </p:par>
                                </p:childTnLst>
                              </p:cTn>
                            </p:par>
                          </p:childTnLst>
                        </p:cTn>
                      </p:par>
                    </p:childTnLst>
                  </p:cTn>
                  <p:nextCondLst>
                    <p:cond evt="onClick" delay="0">
                      <p:tgtEl>
                        <p:spTgt spid="19"/>
                      </p:tgtEl>
                    </p:cond>
                  </p:nextCondLst>
                </p:seq>
              </p:childTnLst>
            </p:cTn>
          </p:par>
        </p:tnLst>
        <p:bldLst>
          <p:bldP spid="12" grpId="0" animBg="1"/>
          <p:bldP spid="17" grpId="0" animBg="1"/>
          <p:bldP spid="18" grpId="0" animBg="1"/>
          <p:bldP spid="19" grpId="0" animBg="1"/>
          <p:bldP spid="9" grpId="0"/>
          <p:bldP spid="10" grpId="0"/>
          <p:bldP spid="21" grpId="0"/>
          <p:bldP spid="22" grpId="0"/>
          <p:bldP spid="25" grpId="0"/>
          <p:bldP spid="26" grpId="0"/>
          <p:bldP spid="30" grpId="0"/>
          <p:bldP spid="3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12"/>
                                            </p:tgtEl>
                                            <p:attrNameLst>
                                              <p:attrName>style.visibility</p:attrName>
                                            </p:attrNameLst>
                                          </p:cBhvr>
                                          <p:to>
                                            <p:strVal val="visible"/>
                                          </p:to>
                                        </p:set>
                                        <p:anim calcmode="lin" valueType="num">
                                          <p:cBhvr additive="base">
                                            <p:cTn id="14" dur="1000" fill="hold"/>
                                            <p:tgtEl>
                                              <p:spTgt spid="12"/>
                                            </p:tgtEl>
                                            <p:attrNameLst>
                                              <p:attrName>ppt_x</p:attrName>
                                            </p:attrNameLst>
                                          </p:cBhvr>
                                          <p:tavLst>
                                            <p:tav tm="0">
                                              <p:val>
                                                <p:strVal val="#ppt_x"/>
                                              </p:val>
                                            </p:tav>
                                            <p:tav tm="100000">
                                              <p:val>
                                                <p:strVal val="#ppt_x"/>
                                              </p:val>
                                            </p:tav>
                                          </p:tavLst>
                                        </p:anim>
                                        <p:anim calcmode="lin" valueType="num">
                                          <p:cBhvr additive="base">
                                            <p:cTn id="15" dur="1000" fill="hold"/>
                                            <p:tgtEl>
                                              <p:spTgt spid="12"/>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200"/>
                                      </p:stCondLst>
                                      <p:childTnLst>
                                        <p:set>
                                          <p:cBhvr>
                                            <p:cTn id="17" dur="1" fill="hold">
                                              <p:stCondLst>
                                                <p:cond delay="0"/>
                                              </p:stCondLst>
                                            </p:cTn>
                                            <p:tgtEl>
                                              <p:spTgt spid="17"/>
                                            </p:tgtEl>
                                            <p:attrNameLst>
                                              <p:attrName>style.visibility</p:attrName>
                                            </p:attrNameLst>
                                          </p:cBhvr>
                                          <p:to>
                                            <p:strVal val="visible"/>
                                          </p:to>
                                        </p:set>
                                        <p:anim calcmode="lin" valueType="num">
                                          <p:cBhvr additive="base">
                                            <p:cTn id="18" dur="1000" fill="hold"/>
                                            <p:tgtEl>
                                              <p:spTgt spid="17"/>
                                            </p:tgtEl>
                                            <p:attrNameLst>
                                              <p:attrName>ppt_x</p:attrName>
                                            </p:attrNameLst>
                                          </p:cBhvr>
                                          <p:tavLst>
                                            <p:tav tm="0">
                                              <p:val>
                                                <p:strVal val="#ppt_x"/>
                                              </p:val>
                                            </p:tav>
                                            <p:tav tm="100000">
                                              <p:val>
                                                <p:strVal val="#ppt_x"/>
                                              </p:val>
                                            </p:tav>
                                          </p:tavLst>
                                        </p:anim>
                                        <p:anim calcmode="lin" valueType="num">
                                          <p:cBhvr additive="base">
                                            <p:cTn id="19" dur="1000" fill="hold"/>
                                            <p:tgtEl>
                                              <p:spTgt spid="17"/>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600"/>
                                      </p:stCondLst>
                                      <p:childTnLst>
                                        <p:set>
                                          <p:cBhvr>
                                            <p:cTn id="21" dur="1" fill="hold">
                                              <p:stCondLst>
                                                <p:cond delay="0"/>
                                              </p:stCondLst>
                                            </p:cTn>
                                            <p:tgtEl>
                                              <p:spTgt spid="18"/>
                                            </p:tgtEl>
                                            <p:attrNameLst>
                                              <p:attrName>style.visibility</p:attrName>
                                            </p:attrNameLst>
                                          </p:cBhvr>
                                          <p:to>
                                            <p:strVal val="visible"/>
                                          </p:to>
                                        </p:set>
                                        <p:anim calcmode="lin" valueType="num">
                                          <p:cBhvr additive="base">
                                            <p:cTn id="22" dur="1000" fill="hold"/>
                                            <p:tgtEl>
                                              <p:spTgt spid="18"/>
                                            </p:tgtEl>
                                            <p:attrNameLst>
                                              <p:attrName>ppt_x</p:attrName>
                                            </p:attrNameLst>
                                          </p:cBhvr>
                                          <p:tavLst>
                                            <p:tav tm="0">
                                              <p:val>
                                                <p:strVal val="#ppt_x"/>
                                              </p:val>
                                            </p:tav>
                                            <p:tav tm="100000">
                                              <p:val>
                                                <p:strVal val="#ppt_x"/>
                                              </p:val>
                                            </p:tav>
                                          </p:tavLst>
                                        </p:anim>
                                        <p:anim calcmode="lin" valueType="num">
                                          <p:cBhvr additive="base">
                                            <p:cTn id="23" dur="1000" fill="hold"/>
                                            <p:tgtEl>
                                              <p:spTgt spid="18"/>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600"/>
                                      </p:stCondLst>
                                      <p:childTnLst>
                                        <p:set>
                                          <p:cBhvr>
                                            <p:cTn id="25" dur="1" fill="hold">
                                              <p:stCondLst>
                                                <p:cond delay="0"/>
                                              </p:stCondLst>
                                            </p:cTn>
                                            <p:tgtEl>
                                              <p:spTgt spid="19"/>
                                            </p:tgtEl>
                                            <p:attrNameLst>
                                              <p:attrName>style.visibility</p:attrName>
                                            </p:attrNameLst>
                                          </p:cBhvr>
                                          <p:to>
                                            <p:strVal val="visible"/>
                                          </p:to>
                                        </p:set>
                                        <p:anim calcmode="lin" valueType="num">
                                          <p:cBhvr additive="base">
                                            <p:cTn id="26" dur="1000" fill="hold"/>
                                            <p:tgtEl>
                                              <p:spTgt spid="19"/>
                                            </p:tgtEl>
                                            <p:attrNameLst>
                                              <p:attrName>ppt_x</p:attrName>
                                            </p:attrNameLst>
                                          </p:cBhvr>
                                          <p:tavLst>
                                            <p:tav tm="0">
                                              <p:val>
                                                <p:strVal val="#ppt_x"/>
                                              </p:val>
                                            </p:tav>
                                            <p:tav tm="100000">
                                              <p:val>
                                                <p:strVal val="#ppt_x"/>
                                              </p:val>
                                            </p:tav>
                                          </p:tavLst>
                                        </p:anim>
                                        <p:anim calcmode="lin" valueType="num">
                                          <p:cBhvr additive="base">
                                            <p:cTn id="27" dur="1000" fill="hold"/>
                                            <p:tgtEl>
                                              <p:spTgt spid="19"/>
                                            </p:tgtEl>
                                            <p:attrNameLst>
                                              <p:attrName>ppt_y</p:attrName>
                                            </p:attrNameLst>
                                          </p:cBhvr>
                                          <p:tavLst>
                                            <p:tav tm="0">
                                              <p:val>
                                                <p:strVal val="1+#ppt_h/2"/>
                                              </p:val>
                                            </p:tav>
                                            <p:tav tm="100000">
                                              <p:val>
                                                <p:strVal val="#ppt_y"/>
                                              </p:val>
                                            </p:tav>
                                          </p:tavLst>
                                        </p:anim>
                                      </p:childTnLst>
                                    </p:cTn>
                                  </p:par>
                                </p:childTnLst>
                              </p:cTn>
                            </p:par>
                            <p:par>
                              <p:cTn id="28" fill="hold">
                                <p:stCondLst>
                                  <p:cond delay="1600"/>
                                </p:stCondLst>
                                <p:childTnLst>
                                  <p:par>
                                    <p:cTn id="29" presetID="2" presetClass="entr" presetSubtype="8" fill="hold" nodeType="afterEffect">
                                      <p:stCondLst>
                                        <p:cond delay="0"/>
                                      </p:stCondLst>
                                      <p:childTnLst>
                                        <p:set>
                                          <p:cBhvr>
                                            <p:cTn id="30" dur="1" fill="hold">
                                              <p:stCondLst>
                                                <p:cond delay="0"/>
                                              </p:stCondLst>
                                            </p:cTn>
                                            <p:tgtEl>
                                              <p:spTgt spid="23"/>
                                            </p:tgtEl>
                                            <p:attrNameLst>
                                              <p:attrName>style.visibility</p:attrName>
                                            </p:attrNameLst>
                                          </p:cBhvr>
                                          <p:to>
                                            <p:strVal val="visible"/>
                                          </p:to>
                                        </p:set>
                                        <p:anim calcmode="lin" valueType="num">
                                          <p:cBhvr additive="base">
                                            <p:cTn id="31" dur="500" fill="hold"/>
                                            <p:tgtEl>
                                              <p:spTgt spid="23"/>
                                            </p:tgtEl>
                                            <p:attrNameLst>
                                              <p:attrName>ppt_x</p:attrName>
                                            </p:attrNameLst>
                                          </p:cBhvr>
                                          <p:tavLst>
                                            <p:tav tm="0">
                                              <p:val>
                                                <p:strVal val="0-#ppt_w/2"/>
                                              </p:val>
                                            </p:tav>
                                            <p:tav tm="100000">
                                              <p:val>
                                                <p:strVal val="#ppt_x"/>
                                              </p:val>
                                            </p:tav>
                                          </p:tavLst>
                                        </p:anim>
                                        <p:anim calcmode="lin" valueType="num">
                                          <p:cBhvr additive="base">
                                            <p:cTn id="32" dur="500" fill="hold"/>
                                            <p:tgtEl>
                                              <p:spTgt spid="23"/>
                                            </p:tgtEl>
                                            <p:attrNameLst>
                                              <p:attrName>ppt_y</p:attrName>
                                            </p:attrNameLst>
                                          </p:cBhvr>
                                          <p:tavLst>
                                            <p:tav tm="0">
                                              <p:val>
                                                <p:strVal val="#ppt_y"/>
                                              </p:val>
                                            </p:tav>
                                            <p:tav tm="100000">
                                              <p:val>
                                                <p:strVal val="#ppt_y"/>
                                              </p:val>
                                            </p:tav>
                                          </p:tavLst>
                                        </p:anim>
                                      </p:childTnLst>
                                    </p:cTn>
                                  </p:par>
                                  <p:par>
                                    <p:cTn id="33" presetID="2" presetClass="entr" presetSubtype="8" fill="hold" nodeType="with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500" fill="hold"/>
                                            <p:tgtEl>
                                              <p:spTgt spid="13"/>
                                            </p:tgtEl>
                                            <p:attrNameLst>
                                              <p:attrName>ppt_x</p:attrName>
                                            </p:attrNameLst>
                                          </p:cBhvr>
                                          <p:tavLst>
                                            <p:tav tm="0">
                                              <p:val>
                                                <p:strVal val="0-#ppt_w/2"/>
                                              </p:val>
                                            </p:tav>
                                            <p:tav tm="100000">
                                              <p:val>
                                                <p:strVal val="#ppt_x"/>
                                              </p:val>
                                            </p:tav>
                                          </p:tavLst>
                                        </p:anim>
                                        <p:anim calcmode="lin" valueType="num">
                                          <p:cBhvr additive="base">
                                            <p:cTn id="36" dur="500" fill="hold"/>
                                            <p:tgtEl>
                                              <p:spTgt spid="13"/>
                                            </p:tgtEl>
                                            <p:attrNameLst>
                                              <p:attrName>ppt_y</p:attrName>
                                            </p:attrNameLst>
                                          </p:cBhvr>
                                          <p:tavLst>
                                            <p:tav tm="0">
                                              <p:val>
                                                <p:strVal val="#ppt_y"/>
                                              </p:val>
                                            </p:tav>
                                            <p:tav tm="100000">
                                              <p:val>
                                                <p:strVal val="#ppt_y"/>
                                              </p:val>
                                            </p:tav>
                                          </p:tavLst>
                                        </p:anim>
                                      </p:childTnLst>
                                    </p:cTn>
                                  </p:par>
                                </p:childTnLst>
                              </p:cTn>
                            </p:par>
                            <p:par>
                              <p:cTn id="37" fill="hold">
                                <p:stCondLst>
                                  <p:cond delay="2100"/>
                                </p:stCondLst>
                                <p:childTnLst>
                                  <p:par>
                                    <p:cTn id="38" presetID="64" presetClass="path" presetSubtype="0" accel="50000" decel="50000" fill="hold" nodeType="afterEffect">
                                      <p:stCondLst>
                                        <p:cond delay="0"/>
                                      </p:stCondLst>
                                      <p:childTnLst>
                                        <p:animMotion origin="layout" path="M -4.72222E-6 -1.11111E-6 L -4.72222E-6 -0.60154 " pathEditMode="relative" rAng="0" ptsTypes="AA">
                                          <p:cBhvr>
                                            <p:cTn id="39" dur="15000" fill="hold"/>
                                            <p:tgtEl>
                                              <p:spTgt spid="13"/>
                                            </p:tgtEl>
                                            <p:attrNameLst>
                                              <p:attrName>ppt_x</p:attrName>
                                              <p:attrName>ppt_y</p:attrName>
                                            </p:attrNameLst>
                                          </p:cBhvr>
                                          <p:rCtr x="0" y="-30093"/>
                                        </p:animMotion>
                                      </p:childTnLst>
                                    </p:cTn>
                                  </p:par>
                                  <p:par>
                                    <p:cTn id="40" presetID="22" presetClass="entr" presetSubtype="4" fill="hold" nodeType="with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wipe(down)">
                                          <p:cBhvr>
                                            <p:cTn id="42" dur="15000"/>
                                            <p:tgtEl>
                                              <p:spTgt spid="27"/>
                                            </p:tgtEl>
                                          </p:cBhvr>
                                        </p:animEffect>
                                      </p:childTnLst>
                                    </p:cTn>
                                  </p:par>
                                </p:childTnLst>
                              </p:cTn>
                            </p:par>
                            <p:par>
                              <p:cTn id="43" fill="hold">
                                <p:stCondLst>
                                  <p:cond delay="17100"/>
                                </p:stCondLst>
                                <p:childTnLst>
                                  <p:par>
                                    <p:cTn id="44" presetID="26" presetClass="emph" presetSubtype="0" repeatCount="5000" fill="hold" nodeType="afterEffect">
                                      <p:stCondLst>
                                        <p:cond delay="0"/>
                                      </p:stCondLst>
                                      <p:childTnLst>
                                        <p:animEffect transition="out" filter="fade">
                                          <p:cBhvr>
                                            <p:cTn id="45" dur="500" tmFilter="0, 0; .2, .5; .8, .5; 1, 0"/>
                                            <p:tgtEl>
                                              <p:spTgt spid="13"/>
                                            </p:tgtEl>
                                          </p:cBhvr>
                                        </p:animEffect>
                                        <p:animScale>
                                          <p:cBhvr>
                                            <p:cTn id="46" dur="250" autoRev="1" fill="hold"/>
                                            <p:tgtEl>
                                              <p:spTgt spid="13"/>
                                            </p:tgtEl>
                                          </p:cBhvr>
                                          <p:by x="105000" y="105000"/>
                                        </p:animScale>
                                      </p:childTnLst>
                                      <p:subTnLst>
                                        <p:audio>
                                          <p:cMediaNode vol="80000">
                                            <p:cTn display="0" masterRel="sameClick">
                                              <p:stCondLst>
                                                <p:cond evt="begin" delay="0">
                                                  <p:tn val="44"/>
                                                </p:cond>
                                              </p:stCondLst>
                                              <p:endCondLst>
                                                <p:cond evt="onStopAudio" delay="0">
                                                  <p:tgtEl>
                                                    <p:sldTgt/>
                                                  </p:tgtEl>
                                                </p:cond>
                                              </p:endCondLst>
                                            </p:cTn>
                                            <p:tgtEl>
                                              <p:sndTgt r:embed="rId14" name="AmHetGio.wav"/>
                                            </p:tgtEl>
                                          </p:cMediaNode>
                                        </p:audio>
                                      </p:subTnLst>
                                    </p:cTn>
                                  </p:par>
                                  <p:par>
                                    <p:cTn id="47" presetID="6" presetClass="emph" presetSubtype="0" fill="hold" nodeType="withEffect">
                                      <p:stCondLst>
                                        <p:cond delay="0"/>
                                      </p:stCondLst>
                                      <p:childTnLst>
                                        <p:animScale>
                                          <p:cBhvr>
                                            <p:cTn id="48" dur="10000" fill="hold"/>
                                            <p:tgtEl>
                                              <p:spTgt spid="16"/>
                                            </p:tgtEl>
                                          </p:cBhvr>
                                          <p:by x="150000" y="150000"/>
                                        </p:animScale>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grpId="0" nodeType="clickEffect">
                                      <p:stCondLst>
                                        <p:cond delay="0"/>
                                      </p:stCondLst>
                                      <p:childTnLst>
                                        <p:set>
                                          <p:cBhvr>
                                            <p:cTn id="52" dur="1" fill="hold">
                                              <p:stCondLst>
                                                <p:cond delay="0"/>
                                              </p:stCondLst>
                                            </p:cTn>
                                            <p:tgtEl>
                                              <p:spTgt spid="9"/>
                                            </p:tgtEl>
                                            <p:attrNameLst>
                                              <p:attrName>style.visibility</p:attrName>
                                            </p:attrNameLst>
                                          </p:cBhvr>
                                          <p:to>
                                            <p:strVal val="visible"/>
                                          </p:to>
                                        </p:set>
                                        <p:animEffect transition="in" filter="fade">
                                          <p:cBhvr>
                                            <p:cTn id="53" dur="1000"/>
                                            <p:tgtEl>
                                              <p:spTgt spid="9"/>
                                            </p:tgtEl>
                                          </p:cBhvr>
                                        </p:animEffect>
                                        <p:anim calcmode="lin" valueType="num">
                                          <p:cBhvr>
                                            <p:cTn id="54" dur="1000" fill="hold"/>
                                            <p:tgtEl>
                                              <p:spTgt spid="9"/>
                                            </p:tgtEl>
                                            <p:attrNameLst>
                                              <p:attrName>ppt_x</p:attrName>
                                            </p:attrNameLst>
                                          </p:cBhvr>
                                          <p:tavLst>
                                            <p:tav tm="0">
                                              <p:val>
                                                <p:strVal val="#ppt_x"/>
                                              </p:val>
                                            </p:tav>
                                            <p:tav tm="100000">
                                              <p:val>
                                                <p:strVal val="#ppt_x"/>
                                              </p:val>
                                            </p:tav>
                                          </p:tavLst>
                                        </p:anim>
                                        <p:anim calcmode="lin" valueType="num">
                                          <p:cBhvr>
                                            <p:cTn id="55" dur="1000" fill="hold"/>
                                            <p:tgtEl>
                                              <p:spTgt spid="9"/>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10"/>
                                            </p:tgtEl>
                                            <p:attrNameLst>
                                              <p:attrName>style.visibility</p:attrName>
                                            </p:attrNameLst>
                                          </p:cBhvr>
                                          <p:to>
                                            <p:strVal val="visible"/>
                                          </p:to>
                                        </p:set>
                                        <p:animEffect transition="in" filter="fade">
                                          <p:cBhvr>
                                            <p:cTn id="58" dur="1000"/>
                                            <p:tgtEl>
                                              <p:spTgt spid="10"/>
                                            </p:tgtEl>
                                          </p:cBhvr>
                                        </p:animEffect>
                                        <p:anim calcmode="lin" valueType="num">
                                          <p:cBhvr>
                                            <p:cTn id="59" dur="1000" fill="hold"/>
                                            <p:tgtEl>
                                              <p:spTgt spid="10"/>
                                            </p:tgtEl>
                                            <p:attrNameLst>
                                              <p:attrName>ppt_x</p:attrName>
                                            </p:attrNameLst>
                                          </p:cBhvr>
                                          <p:tavLst>
                                            <p:tav tm="0">
                                              <p:val>
                                                <p:strVal val="#ppt_x"/>
                                              </p:val>
                                            </p:tav>
                                            <p:tav tm="100000">
                                              <p:val>
                                                <p:strVal val="#ppt_x"/>
                                              </p:val>
                                            </p:tav>
                                          </p:tavLst>
                                        </p:anim>
                                        <p:anim calcmode="lin" valueType="num">
                                          <p:cBhvr>
                                            <p:cTn id="60" dur="1000" fill="hold"/>
                                            <p:tgtEl>
                                              <p:spTgt spid="10"/>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p:stCondLst>
                                        <p:cond delay="0"/>
                                      </p:stCondLst>
                                      <p:childTnLst>
                                        <p:set>
                                          <p:cBhvr>
                                            <p:cTn id="62" dur="1" fill="hold">
                                              <p:stCondLst>
                                                <p:cond delay="0"/>
                                              </p:stCondLst>
                                            </p:cTn>
                                            <p:tgtEl>
                                              <p:spTgt spid="21"/>
                                            </p:tgtEl>
                                            <p:attrNameLst>
                                              <p:attrName>style.visibility</p:attrName>
                                            </p:attrNameLst>
                                          </p:cBhvr>
                                          <p:to>
                                            <p:strVal val="visible"/>
                                          </p:to>
                                        </p:set>
                                        <p:animEffect transition="in" filter="fade">
                                          <p:cBhvr>
                                            <p:cTn id="63" dur="1000"/>
                                            <p:tgtEl>
                                              <p:spTgt spid="21"/>
                                            </p:tgtEl>
                                          </p:cBhvr>
                                        </p:animEffect>
                                        <p:anim calcmode="lin" valueType="num">
                                          <p:cBhvr>
                                            <p:cTn id="64" dur="1000" fill="hold"/>
                                            <p:tgtEl>
                                              <p:spTgt spid="21"/>
                                            </p:tgtEl>
                                            <p:attrNameLst>
                                              <p:attrName>ppt_x</p:attrName>
                                            </p:attrNameLst>
                                          </p:cBhvr>
                                          <p:tavLst>
                                            <p:tav tm="0">
                                              <p:val>
                                                <p:strVal val="#ppt_x"/>
                                              </p:val>
                                            </p:tav>
                                            <p:tav tm="100000">
                                              <p:val>
                                                <p:strVal val="#ppt_x"/>
                                              </p:val>
                                            </p:tav>
                                          </p:tavLst>
                                        </p:anim>
                                        <p:anim calcmode="lin" valueType="num">
                                          <p:cBhvr>
                                            <p:cTn id="65" dur="1000" fill="hold"/>
                                            <p:tgtEl>
                                              <p:spTgt spid="21"/>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0"/>
                                      </p:stCondLst>
                                      <p:childTnLst>
                                        <p:set>
                                          <p:cBhvr>
                                            <p:cTn id="67" dur="1" fill="hold">
                                              <p:stCondLst>
                                                <p:cond delay="0"/>
                                              </p:stCondLst>
                                            </p:cTn>
                                            <p:tgtEl>
                                              <p:spTgt spid="22"/>
                                            </p:tgtEl>
                                            <p:attrNameLst>
                                              <p:attrName>style.visibility</p:attrName>
                                            </p:attrNameLst>
                                          </p:cBhvr>
                                          <p:to>
                                            <p:strVal val="visible"/>
                                          </p:to>
                                        </p:set>
                                        <p:animEffect transition="in" filter="fade">
                                          <p:cBhvr>
                                            <p:cTn id="68" dur="1000"/>
                                            <p:tgtEl>
                                              <p:spTgt spid="22"/>
                                            </p:tgtEl>
                                          </p:cBhvr>
                                        </p:animEffect>
                                        <p:anim calcmode="lin" valueType="num">
                                          <p:cBhvr>
                                            <p:cTn id="69" dur="1000" fill="hold"/>
                                            <p:tgtEl>
                                              <p:spTgt spid="22"/>
                                            </p:tgtEl>
                                            <p:attrNameLst>
                                              <p:attrName>ppt_x</p:attrName>
                                            </p:attrNameLst>
                                          </p:cBhvr>
                                          <p:tavLst>
                                            <p:tav tm="0">
                                              <p:val>
                                                <p:strVal val="#ppt_x"/>
                                              </p:val>
                                            </p:tav>
                                            <p:tav tm="100000">
                                              <p:val>
                                                <p:strVal val="#ppt_x"/>
                                              </p:val>
                                            </p:tav>
                                          </p:tavLst>
                                        </p:anim>
                                        <p:anim calcmode="lin" valueType="num">
                                          <p:cBhvr>
                                            <p:cTn id="70" dur="1000" fill="hold"/>
                                            <p:tgtEl>
                                              <p:spTgt spid="22"/>
                                            </p:tgtEl>
                                            <p:attrNameLst>
                                              <p:attrName>ppt_y</p:attrName>
                                            </p:attrNameLst>
                                          </p:cBhvr>
                                          <p:tavLst>
                                            <p:tav tm="0">
                                              <p:val>
                                                <p:strVal val="#ppt_y+.1"/>
                                              </p:val>
                                            </p:tav>
                                            <p:tav tm="100000">
                                              <p:val>
                                                <p:strVal val="#ppt_y"/>
                                              </p:val>
                                            </p:tav>
                                          </p:tavLst>
                                        </p:anim>
                                      </p:childTnLst>
                                    </p:cTn>
                                  </p:par>
                                  <p:par>
                                    <p:cTn id="71" presetID="16" presetClass="entr" presetSubtype="21" fill="hold" nodeType="withEffect">
                                      <p:stCondLst>
                                        <p:cond delay="0"/>
                                      </p:stCondLst>
                                      <p:childTnLst>
                                        <p:set>
                                          <p:cBhvr>
                                            <p:cTn id="72" dur="1" fill="hold">
                                              <p:stCondLst>
                                                <p:cond delay="0"/>
                                              </p:stCondLst>
                                            </p:cTn>
                                            <p:tgtEl>
                                              <p:spTgt spid="3"/>
                                            </p:tgtEl>
                                            <p:attrNameLst>
                                              <p:attrName>style.visibility</p:attrName>
                                            </p:attrNameLst>
                                          </p:cBhvr>
                                          <p:to>
                                            <p:strVal val="visible"/>
                                          </p:to>
                                        </p:set>
                                        <p:animEffect transition="in" filter="barn(inVertical)">
                                          <p:cBhvr>
                                            <p:cTn id="73" dur="500"/>
                                            <p:tgtEl>
                                              <p:spTgt spid="3"/>
                                            </p:tgtEl>
                                          </p:cBhvr>
                                        </p:animEffect>
                                      </p:childTnLst>
                                    </p:cTn>
                                  </p:par>
                                  <p:par>
                                    <p:cTn id="74" presetID="16" presetClass="entr" presetSubtype="21" fill="hold" nodeType="withEffect">
                                      <p:stCondLst>
                                        <p:cond delay="0"/>
                                      </p:stCondLst>
                                      <p:childTnLst>
                                        <p:set>
                                          <p:cBhvr>
                                            <p:cTn id="75" dur="1" fill="hold">
                                              <p:stCondLst>
                                                <p:cond delay="0"/>
                                              </p:stCondLst>
                                            </p:cTn>
                                            <p:tgtEl>
                                              <p:spTgt spid="5"/>
                                            </p:tgtEl>
                                            <p:attrNameLst>
                                              <p:attrName>style.visibility</p:attrName>
                                            </p:attrNameLst>
                                          </p:cBhvr>
                                          <p:to>
                                            <p:strVal val="visible"/>
                                          </p:to>
                                        </p:set>
                                        <p:animEffect transition="in" filter="barn(inVertical)">
                                          <p:cBhvr>
                                            <p:cTn id="76" dur="500"/>
                                            <p:tgtEl>
                                              <p:spTgt spid="5"/>
                                            </p:tgtEl>
                                          </p:cBhvr>
                                        </p:animEffect>
                                      </p:childTnLst>
                                    </p:cTn>
                                  </p:par>
                                  <p:par>
                                    <p:cTn id="77" presetID="16" presetClass="entr" presetSubtype="21" fill="hold" nodeType="withEffect">
                                      <p:stCondLst>
                                        <p:cond delay="0"/>
                                      </p:stCondLst>
                                      <p:childTnLst>
                                        <p:set>
                                          <p:cBhvr>
                                            <p:cTn id="78" dur="1" fill="hold">
                                              <p:stCondLst>
                                                <p:cond delay="0"/>
                                              </p:stCondLst>
                                            </p:cTn>
                                            <p:tgtEl>
                                              <p:spTgt spid="7"/>
                                            </p:tgtEl>
                                            <p:attrNameLst>
                                              <p:attrName>style.visibility</p:attrName>
                                            </p:attrNameLst>
                                          </p:cBhvr>
                                          <p:to>
                                            <p:strVal val="visible"/>
                                          </p:to>
                                        </p:set>
                                        <p:animEffect transition="in" filter="barn(inVertical)">
                                          <p:cBhvr>
                                            <p:cTn id="79" dur="500"/>
                                            <p:tgtEl>
                                              <p:spTgt spid="7"/>
                                            </p:tgtEl>
                                          </p:cBhvr>
                                        </p:animEffect>
                                      </p:childTnLst>
                                    </p:cTn>
                                  </p:par>
                                  <p:par>
                                    <p:cTn id="80" presetID="16" presetClass="entr" presetSubtype="21" fill="hold" nodeType="withEffect">
                                      <p:stCondLst>
                                        <p:cond delay="0"/>
                                      </p:stCondLst>
                                      <p:childTnLst>
                                        <p:set>
                                          <p:cBhvr>
                                            <p:cTn id="81" dur="1" fill="hold">
                                              <p:stCondLst>
                                                <p:cond delay="0"/>
                                              </p:stCondLst>
                                            </p:cTn>
                                            <p:tgtEl>
                                              <p:spTgt spid="8"/>
                                            </p:tgtEl>
                                            <p:attrNameLst>
                                              <p:attrName>style.visibility</p:attrName>
                                            </p:attrNameLst>
                                          </p:cBhvr>
                                          <p:to>
                                            <p:strVal val="visible"/>
                                          </p:to>
                                        </p:set>
                                        <p:animEffect transition="in" filter="barn(inVertical)">
                                          <p:cBhvr>
                                            <p:cTn id="82" dur="500"/>
                                            <p:tgtEl>
                                              <p:spTgt spid="8"/>
                                            </p:tgtEl>
                                          </p:cBhvr>
                                        </p:animEffect>
                                      </p:childTnLst>
                                    </p:cTn>
                                  </p:par>
                                  <p:par>
                                    <p:cTn id="83" presetID="16" presetClass="entr" presetSubtype="21" fill="hold" grpId="0" nodeType="withEffect">
                                      <p:stCondLst>
                                        <p:cond delay="0"/>
                                      </p:stCondLst>
                                      <p:childTnLst>
                                        <p:set>
                                          <p:cBhvr>
                                            <p:cTn id="84" dur="1" fill="hold">
                                              <p:stCondLst>
                                                <p:cond delay="0"/>
                                              </p:stCondLst>
                                            </p:cTn>
                                            <p:tgtEl>
                                              <p:spTgt spid="25"/>
                                            </p:tgtEl>
                                            <p:attrNameLst>
                                              <p:attrName>style.visibility</p:attrName>
                                            </p:attrNameLst>
                                          </p:cBhvr>
                                          <p:to>
                                            <p:strVal val="visible"/>
                                          </p:to>
                                        </p:set>
                                        <p:animEffect transition="in" filter="barn(inVertical)">
                                          <p:cBhvr>
                                            <p:cTn id="85" dur="500"/>
                                            <p:tgtEl>
                                              <p:spTgt spid="25"/>
                                            </p:tgtEl>
                                          </p:cBhvr>
                                        </p:animEffect>
                                      </p:childTnLst>
                                    </p:cTn>
                                  </p:par>
                                  <p:par>
                                    <p:cTn id="86" presetID="16" presetClass="entr" presetSubtype="21" fill="hold" grpId="0" nodeType="withEffect">
                                      <p:stCondLst>
                                        <p:cond delay="0"/>
                                      </p:stCondLst>
                                      <p:childTnLst>
                                        <p:set>
                                          <p:cBhvr>
                                            <p:cTn id="87" dur="1" fill="hold">
                                              <p:stCondLst>
                                                <p:cond delay="0"/>
                                              </p:stCondLst>
                                            </p:cTn>
                                            <p:tgtEl>
                                              <p:spTgt spid="26"/>
                                            </p:tgtEl>
                                            <p:attrNameLst>
                                              <p:attrName>style.visibility</p:attrName>
                                            </p:attrNameLst>
                                          </p:cBhvr>
                                          <p:to>
                                            <p:strVal val="visible"/>
                                          </p:to>
                                        </p:set>
                                        <p:animEffect transition="in" filter="barn(inVertical)">
                                          <p:cBhvr>
                                            <p:cTn id="88" dur="500"/>
                                            <p:tgtEl>
                                              <p:spTgt spid="26"/>
                                            </p:tgtEl>
                                          </p:cBhvr>
                                        </p:animEffect>
                                      </p:childTnLst>
                                    </p:cTn>
                                  </p:par>
                                  <p:par>
                                    <p:cTn id="89" presetID="16" presetClass="entr" presetSubtype="21" fill="hold" grpId="0" nodeType="withEffect">
                                      <p:stCondLst>
                                        <p:cond delay="0"/>
                                      </p:stCondLst>
                                      <p:childTnLst>
                                        <p:set>
                                          <p:cBhvr>
                                            <p:cTn id="90" dur="1" fill="hold">
                                              <p:stCondLst>
                                                <p:cond delay="0"/>
                                              </p:stCondLst>
                                            </p:cTn>
                                            <p:tgtEl>
                                              <p:spTgt spid="30"/>
                                            </p:tgtEl>
                                            <p:attrNameLst>
                                              <p:attrName>style.visibility</p:attrName>
                                            </p:attrNameLst>
                                          </p:cBhvr>
                                          <p:to>
                                            <p:strVal val="visible"/>
                                          </p:to>
                                        </p:set>
                                        <p:animEffect transition="in" filter="barn(inVertical)">
                                          <p:cBhvr>
                                            <p:cTn id="91" dur="500"/>
                                            <p:tgtEl>
                                              <p:spTgt spid="30"/>
                                            </p:tgtEl>
                                          </p:cBhvr>
                                        </p:animEffect>
                                      </p:childTnLst>
                                    </p:cTn>
                                  </p:par>
                                  <p:par>
                                    <p:cTn id="92" presetID="16" presetClass="entr" presetSubtype="21" fill="hold" grpId="0" nodeType="withEffect">
                                      <p:stCondLst>
                                        <p:cond delay="0"/>
                                      </p:stCondLst>
                                      <p:childTnLst>
                                        <p:set>
                                          <p:cBhvr>
                                            <p:cTn id="93" dur="1" fill="hold">
                                              <p:stCondLst>
                                                <p:cond delay="0"/>
                                              </p:stCondLst>
                                            </p:cTn>
                                            <p:tgtEl>
                                              <p:spTgt spid="31"/>
                                            </p:tgtEl>
                                            <p:attrNameLst>
                                              <p:attrName>style.visibility</p:attrName>
                                            </p:attrNameLst>
                                          </p:cBhvr>
                                          <p:to>
                                            <p:strVal val="visible"/>
                                          </p:to>
                                        </p:set>
                                        <p:animEffect transition="in" filter="barn(inVertical)">
                                          <p:cBhvr>
                                            <p:cTn id="94"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5" restart="whenNotActive" fill="hold" evtFilter="cancelBubble" nodeType="interactiveSeq">
                    <p:stCondLst>
                      <p:cond evt="onClick" delay="0">
                        <p:tgtEl>
                          <p:spTgt spid="12"/>
                        </p:tgtEl>
                      </p:cond>
                    </p:stCondLst>
                    <p:endSync evt="end" delay="0">
                      <p:rtn val="all"/>
                    </p:endSync>
                    <p:childTnLst>
                      <p:par>
                        <p:cTn id="96" fill="hold">
                          <p:stCondLst>
                            <p:cond delay="0"/>
                          </p:stCondLst>
                          <p:childTnLst>
                            <p:par>
                              <p:cTn id="97" fill="hold">
                                <p:stCondLst>
                                  <p:cond delay="0"/>
                                </p:stCondLst>
                                <p:childTnLst>
                                  <p:par>
                                    <p:cTn id="98" presetID="1" presetClass="emph" presetSubtype="2" fill="hold" nodeType="clickEffect">
                                      <p:stCondLst>
                                        <p:cond delay="0"/>
                                      </p:stCondLst>
                                      <p:childTnLst>
                                        <p:animClr clrSpc="rgb" dir="cw">
                                          <p:cBhvr>
                                            <p:cTn id="99" dur="500" fill="hold"/>
                                            <p:tgtEl>
                                              <p:spTgt spid="12"/>
                                            </p:tgtEl>
                                            <p:attrNameLst>
                                              <p:attrName>fillcolor</p:attrName>
                                            </p:attrNameLst>
                                          </p:cBhvr>
                                          <p:to>
                                            <a:srgbClr val="FCECD0"/>
                                          </p:to>
                                        </p:animClr>
                                        <p:set>
                                          <p:cBhvr>
                                            <p:cTn id="100" dur="500" fill="hold"/>
                                            <p:tgtEl>
                                              <p:spTgt spid="12"/>
                                            </p:tgtEl>
                                            <p:attrNameLst>
                                              <p:attrName>fill.type</p:attrName>
                                            </p:attrNameLst>
                                          </p:cBhvr>
                                          <p:to>
                                            <p:strVal val="solid"/>
                                          </p:to>
                                        </p:set>
                                        <p:set>
                                          <p:cBhvr>
                                            <p:cTn id="101" dur="500" fill="hold"/>
                                            <p:tgtEl>
                                              <p:spTgt spid="12"/>
                                            </p:tgtEl>
                                            <p:attrNameLst>
                                              <p:attrName>fill.on</p:attrName>
                                            </p:attrNameLst>
                                          </p:cBhvr>
                                          <p:to>
                                            <p:strVal val="true"/>
                                          </p:to>
                                        </p:set>
                                      </p:childTnLst>
                                    </p:cTn>
                                  </p:par>
                                  <p:par>
                                    <p:cTn id="102" presetID="23" presetClass="entr" presetSubtype="32" fill="hold" nodeType="withEffect">
                                      <p:stCondLst>
                                        <p:cond delay="1500"/>
                                      </p:stCondLst>
                                      <p:childTnLst>
                                        <p:set>
                                          <p:cBhvr>
                                            <p:cTn id="103" dur="1" fill="hold">
                                              <p:stCondLst>
                                                <p:cond delay="0"/>
                                              </p:stCondLst>
                                            </p:cTn>
                                            <p:tgtEl>
                                              <p:spTgt spid="14"/>
                                            </p:tgtEl>
                                            <p:attrNameLst>
                                              <p:attrName>style.visibility</p:attrName>
                                            </p:attrNameLst>
                                          </p:cBhvr>
                                          <p:to>
                                            <p:strVal val="visible"/>
                                          </p:to>
                                        </p:set>
                                        <p:anim calcmode="lin" valueType="num">
                                          <p:cBhvr>
                                            <p:cTn id="104" dur="250" fill="hold"/>
                                            <p:tgtEl>
                                              <p:spTgt spid="14"/>
                                            </p:tgtEl>
                                            <p:attrNameLst>
                                              <p:attrName>ppt_w</p:attrName>
                                            </p:attrNameLst>
                                          </p:cBhvr>
                                          <p:tavLst>
                                            <p:tav tm="0">
                                              <p:val>
                                                <p:strVal val="4*#ppt_w"/>
                                              </p:val>
                                            </p:tav>
                                            <p:tav tm="100000">
                                              <p:val>
                                                <p:strVal val="#ppt_w"/>
                                              </p:val>
                                            </p:tav>
                                          </p:tavLst>
                                        </p:anim>
                                        <p:anim calcmode="lin" valueType="num">
                                          <p:cBhvr>
                                            <p:cTn id="105" dur="250" fill="hold"/>
                                            <p:tgtEl>
                                              <p:spTgt spid="14"/>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102"/>
                                                </p:cond>
                                              </p:stCondLst>
                                              <p:endCondLst>
                                                <p:cond evt="onStopAudio" delay="0">
                                                  <p:tgtEl>
                                                    <p:sldTgt/>
                                                  </p:tgtEl>
                                                </p:cond>
                                              </p:endCondLst>
                                            </p:cTn>
                                            <p:tgtEl>
                                              <p:sndTgt r:embed="rId15" name="Wrong Buzzer.wav"/>
                                            </p:tgtEl>
                                          </p:cMediaNode>
                                        </p:audio>
                                      </p:subTnLst>
                                    </p:cTn>
                                  </p:par>
                                  <p:par>
                                    <p:cTn id="106" presetID="1" presetClass="emph" presetSubtype="2" fill="hold" nodeType="withEffect">
                                      <p:stCondLst>
                                        <p:cond delay="1500"/>
                                      </p:stCondLst>
                                      <p:childTnLst>
                                        <p:animClr clrSpc="rgb" dir="cw">
                                          <p:cBhvr>
                                            <p:cTn id="107" dur="250" fill="hold"/>
                                            <p:tgtEl>
                                              <p:spTgt spid="12"/>
                                            </p:tgtEl>
                                            <p:attrNameLst>
                                              <p:attrName>fillcolor</p:attrName>
                                            </p:attrNameLst>
                                          </p:cBhvr>
                                          <p:to>
                                            <a:srgbClr val="ED5565"/>
                                          </p:to>
                                        </p:animClr>
                                        <p:set>
                                          <p:cBhvr>
                                            <p:cTn id="108" dur="250" fill="hold"/>
                                            <p:tgtEl>
                                              <p:spTgt spid="12"/>
                                            </p:tgtEl>
                                            <p:attrNameLst>
                                              <p:attrName>fill.type</p:attrName>
                                            </p:attrNameLst>
                                          </p:cBhvr>
                                          <p:to>
                                            <p:strVal val="solid"/>
                                          </p:to>
                                        </p:set>
                                        <p:set>
                                          <p:cBhvr>
                                            <p:cTn id="109" dur="250" fill="hold"/>
                                            <p:tgtEl>
                                              <p:spTgt spid="12"/>
                                            </p:tgtEl>
                                            <p:attrNameLst>
                                              <p:attrName>fill.on</p:attrName>
                                            </p:attrNameLst>
                                          </p:cBhvr>
                                          <p:to>
                                            <p:strVal val="true"/>
                                          </p:to>
                                        </p:set>
                                      </p:childTnLst>
                                    </p:cTn>
                                  </p:par>
                                </p:childTnLst>
                              </p:cTn>
                            </p:par>
                          </p:childTnLst>
                        </p:cTn>
                      </p:par>
                    </p:childTnLst>
                  </p:cTn>
                  <p:nextCondLst>
                    <p:cond evt="onClick" delay="0">
                      <p:tgtEl>
                        <p:spTgt spid="12"/>
                      </p:tgtEl>
                    </p:cond>
                  </p:nextCondLst>
                </p:seq>
                <p:seq concurrent="1" nextAc="seek">
                  <p:cTn id="110" restart="whenNotActive" fill="hold" evtFilter="cancelBubble" nodeType="interactiveSeq">
                    <p:stCondLst>
                      <p:cond evt="onClick" delay="0">
                        <p:tgtEl>
                          <p:spTgt spid="17"/>
                        </p:tgtEl>
                      </p:cond>
                    </p:stCondLst>
                    <p:endSync evt="end" delay="0">
                      <p:rtn val="all"/>
                    </p:endSync>
                    <p:childTnLst>
                      <p:par>
                        <p:cTn id="111" fill="hold">
                          <p:stCondLst>
                            <p:cond delay="0"/>
                          </p:stCondLst>
                          <p:childTnLst>
                            <p:par>
                              <p:cTn id="112" fill="hold">
                                <p:stCondLst>
                                  <p:cond delay="0"/>
                                </p:stCondLst>
                                <p:childTnLst>
                                  <p:par>
                                    <p:cTn id="113" presetID="1" presetClass="emph" presetSubtype="2" fill="hold" nodeType="clickEffect">
                                      <p:stCondLst>
                                        <p:cond delay="0"/>
                                      </p:stCondLst>
                                      <p:childTnLst>
                                        <p:animClr clrSpc="rgb" dir="cw">
                                          <p:cBhvr>
                                            <p:cTn id="114" dur="500" fill="hold"/>
                                            <p:tgtEl>
                                              <p:spTgt spid="17"/>
                                            </p:tgtEl>
                                            <p:attrNameLst>
                                              <p:attrName>fillcolor</p:attrName>
                                            </p:attrNameLst>
                                          </p:cBhvr>
                                          <p:to>
                                            <a:srgbClr val="FCECD0"/>
                                          </p:to>
                                        </p:animClr>
                                        <p:set>
                                          <p:cBhvr>
                                            <p:cTn id="115" dur="500" fill="hold"/>
                                            <p:tgtEl>
                                              <p:spTgt spid="17"/>
                                            </p:tgtEl>
                                            <p:attrNameLst>
                                              <p:attrName>fill.type</p:attrName>
                                            </p:attrNameLst>
                                          </p:cBhvr>
                                          <p:to>
                                            <p:strVal val="solid"/>
                                          </p:to>
                                        </p:set>
                                        <p:set>
                                          <p:cBhvr>
                                            <p:cTn id="116" dur="500" fill="hold"/>
                                            <p:tgtEl>
                                              <p:spTgt spid="17"/>
                                            </p:tgtEl>
                                            <p:attrNameLst>
                                              <p:attrName>fill.on</p:attrName>
                                            </p:attrNameLst>
                                          </p:cBhvr>
                                          <p:to>
                                            <p:strVal val="true"/>
                                          </p:to>
                                        </p:set>
                                      </p:childTnLst>
                                    </p:cTn>
                                  </p:par>
                                  <p:par>
                                    <p:cTn id="117" presetID="1" presetClass="emph" presetSubtype="2" fill="hold" nodeType="withEffect">
                                      <p:stCondLst>
                                        <p:cond delay="1500"/>
                                      </p:stCondLst>
                                      <p:childTnLst>
                                        <p:animClr clrSpc="rgb" dir="cw">
                                          <p:cBhvr>
                                            <p:cTn id="118" dur="250" fill="hold"/>
                                            <p:tgtEl>
                                              <p:spTgt spid="17"/>
                                            </p:tgtEl>
                                            <p:attrNameLst>
                                              <p:attrName>fillcolor</p:attrName>
                                            </p:attrNameLst>
                                          </p:cBhvr>
                                          <p:to>
                                            <a:srgbClr val="A0D468"/>
                                          </p:to>
                                        </p:animClr>
                                        <p:set>
                                          <p:cBhvr>
                                            <p:cTn id="119" dur="250" fill="hold"/>
                                            <p:tgtEl>
                                              <p:spTgt spid="17"/>
                                            </p:tgtEl>
                                            <p:attrNameLst>
                                              <p:attrName>fill.type</p:attrName>
                                            </p:attrNameLst>
                                          </p:cBhvr>
                                          <p:to>
                                            <p:strVal val="solid"/>
                                          </p:to>
                                        </p:set>
                                        <p:set>
                                          <p:cBhvr>
                                            <p:cTn id="120" dur="250" fill="hold"/>
                                            <p:tgtEl>
                                              <p:spTgt spid="17"/>
                                            </p:tgtEl>
                                            <p:attrNameLst>
                                              <p:attrName>fill.on</p:attrName>
                                            </p:attrNameLst>
                                          </p:cBhvr>
                                          <p:to>
                                            <p:strVal val="true"/>
                                          </p:to>
                                        </p:set>
                                      </p:childTnLst>
                                    </p:cTn>
                                  </p:par>
                                  <p:par>
                                    <p:cTn id="121" presetID="23" presetClass="entr" presetSubtype="32" fill="hold" nodeType="withEffect">
                                      <p:stCondLst>
                                        <p:cond delay="1500"/>
                                      </p:stCondLst>
                                      <p:childTnLst>
                                        <p:set>
                                          <p:cBhvr>
                                            <p:cTn id="122" dur="1" fill="hold">
                                              <p:stCondLst>
                                                <p:cond delay="0"/>
                                              </p:stCondLst>
                                            </p:cTn>
                                            <p:tgtEl>
                                              <p:spTgt spid="28"/>
                                            </p:tgtEl>
                                            <p:attrNameLst>
                                              <p:attrName>style.visibility</p:attrName>
                                            </p:attrNameLst>
                                          </p:cBhvr>
                                          <p:to>
                                            <p:strVal val="visible"/>
                                          </p:to>
                                        </p:set>
                                        <p:anim calcmode="lin" valueType="num">
                                          <p:cBhvr>
                                            <p:cTn id="123" dur="250" fill="hold"/>
                                            <p:tgtEl>
                                              <p:spTgt spid="28"/>
                                            </p:tgtEl>
                                            <p:attrNameLst>
                                              <p:attrName>ppt_w</p:attrName>
                                            </p:attrNameLst>
                                          </p:cBhvr>
                                          <p:tavLst>
                                            <p:tav tm="0">
                                              <p:val>
                                                <p:strVal val="4*#ppt_w"/>
                                              </p:val>
                                            </p:tav>
                                            <p:tav tm="100000">
                                              <p:val>
                                                <p:strVal val="#ppt_w"/>
                                              </p:val>
                                            </p:tav>
                                          </p:tavLst>
                                        </p:anim>
                                        <p:anim calcmode="lin" valueType="num">
                                          <p:cBhvr>
                                            <p:cTn id="124" dur="250" fill="hold"/>
                                            <p:tgtEl>
                                              <p:spTgt spid="28"/>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121"/>
                                                </p:cond>
                                              </p:stCondLst>
                                              <p:endCondLst>
                                                <p:cond evt="onStopAudio" delay="0">
                                                  <p:tgtEl>
                                                    <p:sldTgt/>
                                                  </p:tgtEl>
                                                </p:cond>
                                              </p:endCondLst>
                                            </p:cTn>
                                            <p:tgtEl>
                                              <p:sndTgt r:embed="rId16" name="Check mark.wav"/>
                                            </p:tgtEl>
                                          </p:cMediaNode>
                                        </p:audio>
                                      </p:subTnLst>
                                    </p:cTn>
                                  </p:par>
                                </p:childTnLst>
                              </p:cTn>
                            </p:par>
                          </p:childTnLst>
                        </p:cTn>
                      </p:par>
                    </p:childTnLst>
                  </p:cTn>
                  <p:nextCondLst>
                    <p:cond evt="onClick" delay="0">
                      <p:tgtEl>
                        <p:spTgt spid="17"/>
                      </p:tgtEl>
                    </p:cond>
                  </p:nextCondLst>
                </p:seq>
                <p:seq concurrent="1" nextAc="seek">
                  <p:cTn id="125" restart="whenNotActive" fill="hold" evtFilter="cancelBubble" nodeType="interactiveSeq">
                    <p:stCondLst>
                      <p:cond evt="onClick" delay="0">
                        <p:tgtEl>
                          <p:spTgt spid="18"/>
                        </p:tgtEl>
                      </p:cond>
                    </p:stCondLst>
                    <p:endSync evt="end" delay="0">
                      <p:rtn val="all"/>
                    </p:endSync>
                    <p:childTnLst>
                      <p:par>
                        <p:cTn id="126" fill="hold">
                          <p:stCondLst>
                            <p:cond delay="0"/>
                          </p:stCondLst>
                          <p:childTnLst>
                            <p:par>
                              <p:cTn id="127" fill="hold">
                                <p:stCondLst>
                                  <p:cond delay="0"/>
                                </p:stCondLst>
                                <p:childTnLst>
                                  <p:par>
                                    <p:cTn id="128" presetID="1" presetClass="emph" presetSubtype="2" fill="hold" nodeType="clickEffect">
                                      <p:stCondLst>
                                        <p:cond delay="0"/>
                                      </p:stCondLst>
                                      <p:childTnLst>
                                        <p:animClr clrSpc="rgb" dir="cw">
                                          <p:cBhvr>
                                            <p:cTn id="129" dur="500" fill="hold"/>
                                            <p:tgtEl>
                                              <p:spTgt spid="18"/>
                                            </p:tgtEl>
                                            <p:attrNameLst>
                                              <p:attrName>fillcolor</p:attrName>
                                            </p:attrNameLst>
                                          </p:cBhvr>
                                          <p:to>
                                            <a:srgbClr val="FCECD0"/>
                                          </p:to>
                                        </p:animClr>
                                        <p:set>
                                          <p:cBhvr>
                                            <p:cTn id="130" dur="500" fill="hold"/>
                                            <p:tgtEl>
                                              <p:spTgt spid="18"/>
                                            </p:tgtEl>
                                            <p:attrNameLst>
                                              <p:attrName>fill.type</p:attrName>
                                            </p:attrNameLst>
                                          </p:cBhvr>
                                          <p:to>
                                            <p:strVal val="solid"/>
                                          </p:to>
                                        </p:set>
                                        <p:set>
                                          <p:cBhvr>
                                            <p:cTn id="131" dur="500" fill="hold"/>
                                            <p:tgtEl>
                                              <p:spTgt spid="18"/>
                                            </p:tgtEl>
                                            <p:attrNameLst>
                                              <p:attrName>fill.on</p:attrName>
                                            </p:attrNameLst>
                                          </p:cBhvr>
                                          <p:to>
                                            <p:strVal val="true"/>
                                          </p:to>
                                        </p:set>
                                      </p:childTnLst>
                                    </p:cTn>
                                  </p:par>
                                  <p:par>
                                    <p:cTn id="132" presetID="1" presetClass="emph" presetSubtype="2" fill="hold" nodeType="withEffect">
                                      <p:stCondLst>
                                        <p:cond delay="1500"/>
                                      </p:stCondLst>
                                      <p:childTnLst>
                                        <p:animClr clrSpc="rgb" dir="cw">
                                          <p:cBhvr>
                                            <p:cTn id="133" dur="250" fill="hold"/>
                                            <p:tgtEl>
                                              <p:spTgt spid="18"/>
                                            </p:tgtEl>
                                            <p:attrNameLst>
                                              <p:attrName>fillcolor</p:attrName>
                                            </p:attrNameLst>
                                          </p:cBhvr>
                                          <p:to>
                                            <a:srgbClr val="ED5565"/>
                                          </p:to>
                                        </p:animClr>
                                        <p:set>
                                          <p:cBhvr>
                                            <p:cTn id="134" dur="250" fill="hold"/>
                                            <p:tgtEl>
                                              <p:spTgt spid="18"/>
                                            </p:tgtEl>
                                            <p:attrNameLst>
                                              <p:attrName>fill.type</p:attrName>
                                            </p:attrNameLst>
                                          </p:cBhvr>
                                          <p:to>
                                            <p:strVal val="solid"/>
                                          </p:to>
                                        </p:set>
                                        <p:set>
                                          <p:cBhvr>
                                            <p:cTn id="135" dur="250" fill="hold"/>
                                            <p:tgtEl>
                                              <p:spTgt spid="18"/>
                                            </p:tgtEl>
                                            <p:attrNameLst>
                                              <p:attrName>fill.on</p:attrName>
                                            </p:attrNameLst>
                                          </p:cBhvr>
                                          <p:to>
                                            <p:strVal val="true"/>
                                          </p:to>
                                        </p:set>
                                      </p:childTnLst>
                                    </p:cTn>
                                  </p:par>
                                  <p:par>
                                    <p:cTn id="136" presetID="23" presetClass="entr" presetSubtype="32" fill="hold" nodeType="withEffect">
                                      <p:stCondLst>
                                        <p:cond delay="1500"/>
                                      </p:stCondLst>
                                      <p:childTnLst>
                                        <p:set>
                                          <p:cBhvr>
                                            <p:cTn id="137" dur="1" fill="hold">
                                              <p:stCondLst>
                                                <p:cond delay="0"/>
                                              </p:stCondLst>
                                            </p:cTn>
                                            <p:tgtEl>
                                              <p:spTgt spid="29"/>
                                            </p:tgtEl>
                                            <p:attrNameLst>
                                              <p:attrName>style.visibility</p:attrName>
                                            </p:attrNameLst>
                                          </p:cBhvr>
                                          <p:to>
                                            <p:strVal val="visible"/>
                                          </p:to>
                                        </p:set>
                                        <p:anim calcmode="lin" valueType="num">
                                          <p:cBhvr>
                                            <p:cTn id="138" dur="250" fill="hold"/>
                                            <p:tgtEl>
                                              <p:spTgt spid="29"/>
                                            </p:tgtEl>
                                            <p:attrNameLst>
                                              <p:attrName>ppt_w</p:attrName>
                                            </p:attrNameLst>
                                          </p:cBhvr>
                                          <p:tavLst>
                                            <p:tav tm="0">
                                              <p:val>
                                                <p:strVal val="4*#ppt_w"/>
                                              </p:val>
                                            </p:tav>
                                            <p:tav tm="100000">
                                              <p:val>
                                                <p:strVal val="#ppt_w"/>
                                              </p:val>
                                            </p:tav>
                                          </p:tavLst>
                                        </p:anim>
                                        <p:anim calcmode="lin" valueType="num">
                                          <p:cBhvr>
                                            <p:cTn id="139" dur="250" fill="hold"/>
                                            <p:tgtEl>
                                              <p:spTgt spid="29"/>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136"/>
                                                </p:cond>
                                              </p:stCondLst>
                                              <p:endCondLst>
                                                <p:cond evt="onStopAudio" delay="0">
                                                  <p:tgtEl>
                                                    <p:sldTgt/>
                                                  </p:tgtEl>
                                                </p:cond>
                                              </p:endCondLst>
                                            </p:cTn>
                                            <p:tgtEl>
                                              <p:sndTgt r:embed="rId15" name="Wrong Buzzer.wav"/>
                                            </p:tgtEl>
                                          </p:cMediaNode>
                                        </p:audio>
                                      </p:subTnLst>
                                    </p:cTn>
                                  </p:par>
                                </p:childTnLst>
                              </p:cTn>
                            </p:par>
                          </p:childTnLst>
                        </p:cTn>
                      </p:par>
                    </p:childTnLst>
                  </p:cTn>
                  <p:nextCondLst>
                    <p:cond evt="onClick" delay="0">
                      <p:tgtEl>
                        <p:spTgt spid="18"/>
                      </p:tgtEl>
                    </p:cond>
                  </p:nextCondLst>
                </p:seq>
                <p:seq concurrent="1" nextAc="seek">
                  <p:cTn id="140" restart="whenNotActive" fill="hold" evtFilter="cancelBubble" nodeType="interactiveSeq">
                    <p:stCondLst>
                      <p:cond evt="onClick" delay="0">
                        <p:tgtEl>
                          <p:spTgt spid="19"/>
                        </p:tgtEl>
                      </p:cond>
                    </p:stCondLst>
                    <p:endSync evt="end" delay="0">
                      <p:rtn val="all"/>
                    </p:endSync>
                    <p:childTnLst>
                      <p:par>
                        <p:cTn id="141" fill="hold">
                          <p:stCondLst>
                            <p:cond delay="0"/>
                          </p:stCondLst>
                          <p:childTnLst>
                            <p:par>
                              <p:cTn id="142" fill="hold">
                                <p:stCondLst>
                                  <p:cond delay="0"/>
                                </p:stCondLst>
                                <p:childTnLst>
                                  <p:par>
                                    <p:cTn id="143" presetID="1" presetClass="emph" presetSubtype="2" fill="hold" nodeType="clickEffect">
                                      <p:stCondLst>
                                        <p:cond delay="0"/>
                                      </p:stCondLst>
                                      <p:childTnLst>
                                        <p:animClr clrSpc="rgb" dir="cw">
                                          <p:cBhvr>
                                            <p:cTn id="144" dur="500" fill="hold"/>
                                            <p:tgtEl>
                                              <p:spTgt spid="19"/>
                                            </p:tgtEl>
                                            <p:attrNameLst>
                                              <p:attrName>fillcolor</p:attrName>
                                            </p:attrNameLst>
                                          </p:cBhvr>
                                          <p:to>
                                            <a:srgbClr val="FCECD0"/>
                                          </p:to>
                                        </p:animClr>
                                        <p:set>
                                          <p:cBhvr>
                                            <p:cTn id="145" dur="500" fill="hold"/>
                                            <p:tgtEl>
                                              <p:spTgt spid="19"/>
                                            </p:tgtEl>
                                            <p:attrNameLst>
                                              <p:attrName>fill.type</p:attrName>
                                            </p:attrNameLst>
                                          </p:cBhvr>
                                          <p:to>
                                            <p:strVal val="solid"/>
                                          </p:to>
                                        </p:set>
                                        <p:set>
                                          <p:cBhvr>
                                            <p:cTn id="146" dur="500" fill="hold"/>
                                            <p:tgtEl>
                                              <p:spTgt spid="19"/>
                                            </p:tgtEl>
                                            <p:attrNameLst>
                                              <p:attrName>fill.on</p:attrName>
                                            </p:attrNameLst>
                                          </p:cBhvr>
                                          <p:to>
                                            <p:strVal val="true"/>
                                          </p:to>
                                        </p:set>
                                      </p:childTnLst>
                                    </p:cTn>
                                  </p:par>
                                  <p:par>
                                    <p:cTn id="147" presetID="1" presetClass="emph" presetSubtype="2" fill="hold" nodeType="withEffect">
                                      <p:stCondLst>
                                        <p:cond delay="1500"/>
                                      </p:stCondLst>
                                      <p:childTnLst>
                                        <p:animClr clrSpc="rgb" dir="cw">
                                          <p:cBhvr>
                                            <p:cTn id="148" dur="250" fill="hold"/>
                                            <p:tgtEl>
                                              <p:spTgt spid="19"/>
                                            </p:tgtEl>
                                            <p:attrNameLst>
                                              <p:attrName>fillcolor</p:attrName>
                                            </p:attrNameLst>
                                          </p:cBhvr>
                                          <p:to>
                                            <a:srgbClr val="ED5565"/>
                                          </p:to>
                                        </p:animClr>
                                        <p:set>
                                          <p:cBhvr>
                                            <p:cTn id="149" dur="250" fill="hold"/>
                                            <p:tgtEl>
                                              <p:spTgt spid="19"/>
                                            </p:tgtEl>
                                            <p:attrNameLst>
                                              <p:attrName>fill.type</p:attrName>
                                            </p:attrNameLst>
                                          </p:cBhvr>
                                          <p:to>
                                            <p:strVal val="solid"/>
                                          </p:to>
                                        </p:set>
                                        <p:set>
                                          <p:cBhvr>
                                            <p:cTn id="150" dur="250" fill="hold"/>
                                            <p:tgtEl>
                                              <p:spTgt spid="19"/>
                                            </p:tgtEl>
                                            <p:attrNameLst>
                                              <p:attrName>fill.on</p:attrName>
                                            </p:attrNameLst>
                                          </p:cBhvr>
                                          <p:to>
                                            <p:strVal val="true"/>
                                          </p:to>
                                        </p:set>
                                      </p:childTnLst>
                                    </p:cTn>
                                  </p:par>
                                  <p:par>
                                    <p:cTn id="151" presetID="23" presetClass="entr" presetSubtype="32" fill="hold" nodeType="withEffect">
                                      <p:stCondLst>
                                        <p:cond delay="1500"/>
                                      </p:stCondLst>
                                      <p:childTnLst>
                                        <p:set>
                                          <p:cBhvr>
                                            <p:cTn id="152" dur="1" fill="hold">
                                              <p:stCondLst>
                                                <p:cond delay="0"/>
                                              </p:stCondLst>
                                            </p:cTn>
                                            <p:tgtEl>
                                              <p:spTgt spid="20"/>
                                            </p:tgtEl>
                                            <p:attrNameLst>
                                              <p:attrName>style.visibility</p:attrName>
                                            </p:attrNameLst>
                                          </p:cBhvr>
                                          <p:to>
                                            <p:strVal val="visible"/>
                                          </p:to>
                                        </p:set>
                                        <p:anim calcmode="lin" valueType="num">
                                          <p:cBhvr>
                                            <p:cTn id="153" dur="250" fill="hold"/>
                                            <p:tgtEl>
                                              <p:spTgt spid="20"/>
                                            </p:tgtEl>
                                            <p:attrNameLst>
                                              <p:attrName>ppt_w</p:attrName>
                                            </p:attrNameLst>
                                          </p:cBhvr>
                                          <p:tavLst>
                                            <p:tav tm="0">
                                              <p:val>
                                                <p:strVal val="4*#ppt_w"/>
                                              </p:val>
                                            </p:tav>
                                            <p:tav tm="100000">
                                              <p:val>
                                                <p:strVal val="#ppt_w"/>
                                              </p:val>
                                            </p:tav>
                                          </p:tavLst>
                                        </p:anim>
                                        <p:anim calcmode="lin" valueType="num">
                                          <p:cBhvr>
                                            <p:cTn id="154" dur="250" fill="hold"/>
                                            <p:tgtEl>
                                              <p:spTgt spid="20"/>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151"/>
                                                </p:cond>
                                              </p:stCondLst>
                                              <p:endCondLst>
                                                <p:cond evt="onStopAudio" delay="0">
                                                  <p:tgtEl>
                                                    <p:sldTgt/>
                                                  </p:tgtEl>
                                                </p:cond>
                                              </p:endCondLst>
                                            </p:cTn>
                                            <p:tgtEl>
                                              <p:sndTgt r:embed="rId15" name="Wrong Buzzer.wav"/>
                                            </p:tgtEl>
                                          </p:cMediaNode>
                                        </p:audio>
                                      </p:subTnLst>
                                    </p:cTn>
                                  </p:par>
                                </p:childTnLst>
                              </p:cTn>
                            </p:par>
                          </p:childTnLst>
                        </p:cTn>
                      </p:par>
                    </p:childTnLst>
                  </p:cTn>
                  <p:nextCondLst>
                    <p:cond evt="onClick" delay="0">
                      <p:tgtEl>
                        <p:spTgt spid="19"/>
                      </p:tgtEl>
                    </p:cond>
                  </p:nextCondLst>
                </p:seq>
              </p:childTnLst>
            </p:cTn>
          </p:par>
        </p:tnLst>
        <p:bldLst>
          <p:bldP spid="12" grpId="0" animBg="1"/>
          <p:bldP spid="17" grpId="0" animBg="1"/>
          <p:bldP spid="18" grpId="0" animBg="1"/>
          <p:bldP spid="19" grpId="0" animBg="1"/>
          <p:bldP spid="9" grpId="0"/>
          <p:bldP spid="10" grpId="0"/>
          <p:bldP spid="21" grpId="0"/>
          <p:bldP spid="22" grpId="0"/>
          <p:bldP spid="25" grpId="0"/>
          <p:bldP spid="26" grpId="0"/>
          <p:bldP spid="30" grpId="0"/>
          <p:bldP spid="31" grpId="0"/>
        </p:bldLst>
      </p:timing>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04" name="Rectangle 2103">
            <a:extLst>
              <a:ext uri="{FF2B5EF4-FFF2-40B4-BE49-F238E27FC236}">
                <a16:creationId xmlns:a16="http://schemas.microsoft.com/office/drawing/2014/main" id="{1C091803-41C2-48E0-9228-5148460C74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6343" y="448055"/>
            <a:ext cx="9181081" cy="5952745"/>
          </a:xfrm>
          <a:prstGeom prst="rect">
            <a:avLst/>
          </a:prstGeom>
          <a:solidFill>
            <a:schemeClr val="tx1">
              <a:lumMod val="50000"/>
              <a:lumOff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2050" name="Picture 2" descr="Hình ảnh Phóng Viên Phỏng Vấn Phóng Viên Nhân Vật Nhà Báo Vẽ Nhân Vật PNG ,  Phim Hoạt Hình Bằng Tay Gió, Bằng Tay, Quần áo Làm Việc PNG miễn phí">
            <a:extLst>
              <a:ext uri="{FF2B5EF4-FFF2-40B4-BE49-F238E27FC236}">
                <a16:creationId xmlns:a16="http://schemas.microsoft.com/office/drawing/2014/main" id="{9D43834F-71AE-932A-E6F7-F1C94E7876EB}"/>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ackgroundRemoval t="9531" b="90469" l="10000" r="90000">
                        <a14:foregroundMark x1="30312" y1="38125" x2="42031" y2="53281"/>
                        <a14:foregroundMark x1="44531" y1="30000" x2="50625" y2="42500"/>
                        <a14:foregroundMark x1="43906" y1="29844" x2="45469" y2="41094"/>
                        <a14:foregroundMark x1="42031" y1="33438" x2="46250" y2="43125"/>
                        <a14:foregroundMark x1="32813" y1="34375" x2="40313" y2="42656"/>
                        <a14:foregroundMark x1="40313" y1="42656" x2="41406" y2="45156"/>
                        <a14:foregroundMark x1="33125" y1="34531" x2="36875" y2="45313"/>
                        <a14:foregroundMark x1="56094" y1="21094" x2="59844" y2="27500"/>
                        <a14:foregroundMark x1="40000" y1="54688" x2="42813" y2="60000"/>
                        <a14:foregroundMark x1="42188" y1="65156" x2="42188" y2="65156"/>
                        <a14:foregroundMark x1="44844" y1="63281" x2="48125" y2="65781"/>
                        <a14:foregroundMark x1="47656" y1="65156" x2="48750" y2="65781"/>
                        <a14:foregroundMark x1="49063" y1="67969" x2="55625" y2="86563"/>
                        <a14:foregroundMark x1="38594" y1="87656" x2="44375" y2="86563"/>
                        <a14:foregroundMark x1="54688" y1="88750" x2="56250" y2="90469"/>
                        <a14:foregroundMark x1="46563" y1="9531" x2="50000" y2="10469"/>
                      </a14:backgroundRemoval>
                    </a14:imgEffect>
                  </a14:imgLayer>
                </a14:imgProps>
              </a:ext>
              <a:ext uri="{28A0092B-C50C-407E-A947-70E740481C1C}">
                <a14:useLocalDpi xmlns:a14="http://schemas.microsoft.com/office/drawing/2010/main" val="0"/>
              </a:ext>
            </a:extLst>
          </a:blip>
          <a:srcRect l="22698" t="3511" r="32693" b="33915"/>
          <a:stretch/>
        </p:blipFill>
        <p:spPr bwMode="auto">
          <a:xfrm>
            <a:off x="380999" y="2685352"/>
            <a:ext cx="2655277" cy="3724594"/>
          </a:xfrm>
          <a:prstGeom prst="rect">
            <a:avLst/>
          </a:prstGeom>
          <a:noFill/>
          <a:extLst>
            <a:ext uri="{909E8E84-426E-40DD-AFC4-6F175D3DCCD1}">
              <a14:hiddenFill xmlns:a14="http://schemas.microsoft.com/office/drawing/2010/main">
                <a:solidFill>
                  <a:srgbClr val="FFFFFF"/>
                </a:solidFill>
              </a14:hiddenFill>
            </a:ext>
          </a:extLst>
        </p:spPr>
      </p:pic>
      <p:sp>
        <p:nvSpPr>
          <p:cNvPr id="2106" name="Rectangle 2105">
            <a:extLst>
              <a:ext uri="{FF2B5EF4-FFF2-40B4-BE49-F238E27FC236}">
                <a16:creationId xmlns:a16="http://schemas.microsoft.com/office/drawing/2014/main" id="{B775CD93-9DF2-48CB-9F57-1BCA9A46C7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812738" y="448055"/>
            <a:ext cx="1920339" cy="3801257"/>
          </a:xfrm>
          <a:prstGeom prst="rect">
            <a:avLst/>
          </a:prstGeom>
          <a:solidFill>
            <a:srgbClr val="7D4F4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108" name="Rectangle 2107">
            <a:extLst>
              <a:ext uri="{FF2B5EF4-FFF2-40B4-BE49-F238E27FC236}">
                <a16:creationId xmlns:a16="http://schemas.microsoft.com/office/drawing/2014/main" id="{6166C6D1-23AC-49C4-BA07-238E4E9F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812740" y="4419227"/>
            <a:ext cx="1920338" cy="1979852"/>
          </a:xfrm>
          <a:prstGeom prst="rect">
            <a:avLst/>
          </a:prstGeom>
          <a:solidFill>
            <a:schemeClr val="accent5">
              <a:alpha val="9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2" name="Group 1">
            <a:extLst>
              <a:ext uri="{FF2B5EF4-FFF2-40B4-BE49-F238E27FC236}">
                <a16:creationId xmlns:a16="http://schemas.microsoft.com/office/drawing/2014/main" id="{016F3110-BF7A-1290-B384-A3A086B1C701}"/>
              </a:ext>
            </a:extLst>
          </p:cNvPr>
          <p:cNvGrpSpPr/>
          <p:nvPr/>
        </p:nvGrpSpPr>
        <p:grpSpPr>
          <a:xfrm>
            <a:off x="2592272" y="890669"/>
            <a:ext cx="7002665" cy="2602807"/>
            <a:chOff x="2602005" y="1093428"/>
            <a:chExt cx="9023617" cy="2604514"/>
          </a:xfrm>
        </p:grpSpPr>
        <p:pic>
          <p:nvPicPr>
            <p:cNvPr id="3" name="Picture 2">
              <a:extLst>
                <a:ext uri="{FF2B5EF4-FFF2-40B4-BE49-F238E27FC236}">
                  <a16:creationId xmlns:a16="http://schemas.microsoft.com/office/drawing/2014/main" id="{4A42848F-B650-129D-0516-85031C77B07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flipH="1">
              <a:off x="2602005" y="1093428"/>
              <a:ext cx="9023617" cy="2604514"/>
            </a:xfrm>
            <a:prstGeom prst="rect">
              <a:avLst/>
            </a:prstGeom>
          </p:spPr>
        </p:pic>
        <p:sp>
          <p:nvSpPr>
            <p:cNvPr id="4" name="TextBox 3">
              <a:extLst>
                <a:ext uri="{FF2B5EF4-FFF2-40B4-BE49-F238E27FC236}">
                  <a16:creationId xmlns:a16="http://schemas.microsoft.com/office/drawing/2014/main" id="{B2559E89-4442-5A86-E412-883D4A270399}"/>
                </a:ext>
              </a:extLst>
            </p:cNvPr>
            <p:cNvSpPr txBox="1"/>
            <p:nvPr/>
          </p:nvSpPr>
          <p:spPr>
            <a:xfrm>
              <a:off x="3292474" y="1487148"/>
              <a:ext cx="7896829" cy="5235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C0504D">
                    <a:lumMod val="50000"/>
                  </a:srgbClr>
                </a:solidFill>
                <a:effectLst/>
                <a:uLnTx/>
                <a:uFillTx/>
                <a:latin typeface="Nunito Black" panose="00000A00000000000000" pitchFamily="2" charset="0"/>
                <a:ea typeface="+mn-ea"/>
                <a:cs typeface="+mn-cs"/>
              </a:endParaRPr>
            </a:p>
          </p:txBody>
        </p:sp>
      </p:grpSp>
      <p:sp>
        <p:nvSpPr>
          <p:cNvPr id="5" name="文本框 5">
            <a:extLst>
              <a:ext uri="{FF2B5EF4-FFF2-40B4-BE49-F238E27FC236}">
                <a16:creationId xmlns:a16="http://schemas.microsoft.com/office/drawing/2014/main" id="{3CE5F19A-E68B-FCEC-E581-C278FF38A175}"/>
              </a:ext>
            </a:extLst>
          </p:cNvPr>
          <p:cNvSpPr txBox="1"/>
          <p:nvPr/>
        </p:nvSpPr>
        <p:spPr>
          <a:xfrm>
            <a:off x="2812266" y="1254666"/>
            <a:ext cx="7000472" cy="1641347"/>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altLang="zh-CN" sz="3600" b="1" i="0" u="none" strike="noStrike" kern="1200" cap="none" spc="0" normalizeH="0" baseline="0" noProof="0" dirty="0" err="1">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Muốn</a:t>
            </a:r>
            <a:r>
              <a:rPr kumimoji="0" lang="en-US" altLang="zh-CN" sz="3600" b="1"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altLang="zh-CN" sz="3600" b="1" i="0" u="none" strike="noStrike" kern="1200" cap="none" spc="0" normalizeH="0" baseline="0" noProof="0" dirty="0" err="1">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cộng</a:t>
            </a:r>
            <a:r>
              <a:rPr kumimoji="0" lang="en-US" altLang="zh-CN" sz="3600" b="1"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 2 </a:t>
            </a:r>
            <a:r>
              <a:rPr kumimoji="0" lang="en-US" altLang="zh-CN" sz="3600" b="1" i="0" u="none" strike="noStrike" kern="1200" cap="none" spc="0" normalizeH="0" baseline="0" noProof="0" dirty="0" err="1">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số</a:t>
            </a:r>
            <a:r>
              <a:rPr kumimoji="0" lang="en-US" altLang="zh-CN" sz="3600" b="1"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altLang="zh-CN" sz="3600" b="1" i="0" u="none" strike="noStrike" kern="1200" cap="none" spc="0" normalizeH="0" baseline="0" noProof="0" dirty="0" err="1">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thập</a:t>
            </a:r>
            <a:r>
              <a:rPr kumimoji="0" lang="en-US" altLang="zh-CN" sz="3600" b="1"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altLang="zh-CN" sz="3600" b="1" i="0" u="none" strike="noStrike" kern="1200" cap="none" spc="0" normalizeH="0" baseline="0" noProof="0" err="1">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phân</a:t>
            </a:r>
            <a:r>
              <a:rPr kumimoji="0" lang="en-US" altLang="zh-CN" sz="3600" b="1" i="0" u="none" strike="noStrike" kern="1200" cap="none" spc="0" normalizeH="0" baseline="0" noProof="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altLang="zh-CN" sz="3600" b="1" i="0" u="none" strike="noStrike" kern="1200" cap="none" spc="0" normalizeH="0" baseline="0" noProof="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ta </a:t>
            </a:r>
            <a:r>
              <a:rPr kumimoji="0" lang="en-US" altLang="zh-CN" sz="3600" b="1" i="0" u="none" strike="noStrike" kern="1200" cap="none" spc="0" normalizeH="0" baseline="0" noProof="0" dirty="0" err="1">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làm</a:t>
            </a:r>
            <a:r>
              <a:rPr kumimoji="0" lang="en-US" altLang="zh-CN" sz="3600" b="1"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altLang="zh-CN" sz="3600" b="1" i="0" u="none" strike="noStrike" kern="1200" cap="none" spc="0" normalizeH="0" baseline="0" noProof="0" dirty="0" err="1">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như</a:t>
            </a:r>
            <a:r>
              <a:rPr kumimoji="0" lang="en-US" altLang="zh-CN" sz="3600" b="1"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altLang="zh-CN" sz="3600" b="1" i="0" u="none" strike="noStrike" kern="1200" cap="none" spc="0" normalizeH="0" baseline="0" noProof="0" dirty="0" err="1">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thế</a:t>
            </a:r>
            <a:r>
              <a:rPr kumimoji="0" lang="en-US" altLang="zh-CN" sz="3600" b="1"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altLang="zh-CN" sz="3600" b="1" i="0" u="none" strike="noStrike" kern="1200" cap="none" spc="0" normalizeH="0" baseline="0" noProof="0" dirty="0" err="1">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nào</a:t>
            </a:r>
            <a:r>
              <a:rPr kumimoji="0" lang="en-US" altLang="zh-CN" sz="3600" b="1"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zh-CN" altLang="en-US" sz="3600" b="1" i="0" u="none" strike="noStrike" kern="1200" cap="none" spc="0" normalizeH="0" baseline="0" noProof="0" dirty="0">
              <a:ln>
                <a:noFill/>
              </a:ln>
              <a:solidFill>
                <a:srgbClr val="002060"/>
              </a:solidFill>
              <a:effectLst/>
              <a:uLnTx/>
              <a:uFillTx/>
              <a:latin typeface="Tahoma" panose="020B0604030504040204" pitchFamily="34" charset="0"/>
              <a:ea typeface="字魂36号-正文宋楷" panose="02000000000000000000" pitchFamily="2" charset="-122"/>
              <a:cs typeface="Tahoma" panose="020B0604030504040204" pitchFamily="34" charset="0"/>
            </a:endParaRPr>
          </a:p>
        </p:txBody>
      </p:sp>
      <p:grpSp>
        <p:nvGrpSpPr>
          <p:cNvPr id="6" name="Group 5">
            <a:extLst>
              <a:ext uri="{FF2B5EF4-FFF2-40B4-BE49-F238E27FC236}">
                <a16:creationId xmlns:a16="http://schemas.microsoft.com/office/drawing/2014/main" id="{5894406F-7A61-56DE-E122-AEE57D728FE3}"/>
              </a:ext>
            </a:extLst>
          </p:cNvPr>
          <p:cNvGrpSpPr/>
          <p:nvPr/>
        </p:nvGrpSpPr>
        <p:grpSpPr>
          <a:xfrm>
            <a:off x="2385242" y="483424"/>
            <a:ext cx="7679138" cy="5634309"/>
            <a:chOff x="2602005" y="1093428"/>
            <a:chExt cx="9023617" cy="2604514"/>
          </a:xfrm>
        </p:grpSpPr>
        <p:pic>
          <p:nvPicPr>
            <p:cNvPr id="10" name="Picture 2">
              <a:extLst>
                <a:ext uri="{FF2B5EF4-FFF2-40B4-BE49-F238E27FC236}">
                  <a16:creationId xmlns:a16="http://schemas.microsoft.com/office/drawing/2014/main" id="{F779004A-E59F-7DBA-5629-DA5D0BEECC6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flipH="1">
              <a:off x="2602005" y="1093428"/>
              <a:ext cx="9023617" cy="2604514"/>
            </a:xfrm>
            <a:prstGeom prst="rect">
              <a:avLst/>
            </a:prstGeom>
          </p:spPr>
        </p:pic>
        <p:sp>
          <p:nvSpPr>
            <p:cNvPr id="12" name="TextBox 11">
              <a:extLst>
                <a:ext uri="{FF2B5EF4-FFF2-40B4-BE49-F238E27FC236}">
                  <a16:creationId xmlns:a16="http://schemas.microsoft.com/office/drawing/2014/main" id="{45521538-97D4-187B-898F-EA9A7E88BBA2}"/>
                </a:ext>
              </a:extLst>
            </p:cNvPr>
            <p:cNvSpPr txBox="1"/>
            <p:nvPr/>
          </p:nvSpPr>
          <p:spPr>
            <a:xfrm>
              <a:off x="3292474" y="1487148"/>
              <a:ext cx="7896829" cy="5235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C0504D">
                    <a:lumMod val="50000"/>
                  </a:srgbClr>
                </a:solidFill>
                <a:effectLst/>
                <a:uLnTx/>
                <a:uFillTx/>
                <a:latin typeface="Nunito Black" panose="00000A00000000000000" pitchFamily="2" charset="0"/>
                <a:ea typeface="+mn-ea"/>
                <a:cs typeface="+mn-cs"/>
              </a:endParaRPr>
            </a:p>
          </p:txBody>
        </p:sp>
      </p:grpSp>
      <p:sp>
        <p:nvSpPr>
          <p:cNvPr id="13" name="文本框 5">
            <a:extLst>
              <a:ext uri="{FF2B5EF4-FFF2-40B4-BE49-F238E27FC236}">
                <a16:creationId xmlns:a16="http://schemas.microsoft.com/office/drawing/2014/main" id="{91D60F08-B605-D41A-7C61-CABED159B30C}"/>
              </a:ext>
            </a:extLst>
          </p:cNvPr>
          <p:cNvSpPr txBox="1"/>
          <p:nvPr/>
        </p:nvSpPr>
        <p:spPr>
          <a:xfrm>
            <a:off x="3224476" y="1357835"/>
            <a:ext cx="6000670" cy="35394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a:ln>
                  <a:noFill/>
                </a:ln>
                <a:solidFill>
                  <a:srgbClr val="FF0000"/>
                </a:solidFill>
                <a:effectLst/>
                <a:uLnTx/>
                <a:uFillTx/>
                <a:latin typeface="Calibri"/>
                <a:ea typeface="字魂36号-正文宋楷" panose="02000000000000000000" pitchFamily="2" charset="-122"/>
                <a:cs typeface="+mn-cs"/>
              </a:rPr>
              <a:t>Muốn cộng 2 số thập phân ta làm như sau:</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a:ln>
                  <a:noFill/>
                </a:ln>
                <a:solidFill>
                  <a:srgbClr val="C0504D">
                    <a:lumMod val="50000"/>
                  </a:srgbClr>
                </a:solidFill>
                <a:effectLst/>
                <a:uLnTx/>
                <a:uFillTx/>
                <a:latin typeface="Calibri"/>
                <a:ea typeface="字魂36号-正文宋楷" panose="02000000000000000000" pitchFamily="2" charset="-122"/>
                <a:cs typeface="+mn-cs"/>
              </a:rPr>
              <a:t>- Đặt tính sao cho chữ số ở các hàng thẳng cột nhau.</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a:ln>
                  <a:noFill/>
                </a:ln>
                <a:solidFill>
                  <a:srgbClr val="C0504D">
                    <a:lumMod val="50000"/>
                  </a:srgbClr>
                </a:solidFill>
                <a:effectLst/>
                <a:uLnTx/>
                <a:uFillTx/>
                <a:latin typeface="Calibri"/>
                <a:ea typeface="字魂36号-正文宋楷" panose="02000000000000000000" pitchFamily="2" charset="-122"/>
                <a:cs typeface="+mn-cs"/>
              </a:rPr>
              <a:t>- Cộng như cộng các số tự nhiê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a:ln>
                  <a:noFill/>
                </a:ln>
                <a:solidFill>
                  <a:srgbClr val="C0504D">
                    <a:lumMod val="50000"/>
                  </a:srgbClr>
                </a:solidFill>
                <a:effectLst/>
                <a:uLnTx/>
                <a:uFillTx/>
                <a:latin typeface="Calibri"/>
                <a:ea typeface="字魂36号-正文宋楷" panose="02000000000000000000" pitchFamily="2" charset="-122"/>
                <a:cs typeface="+mn-cs"/>
              </a:rPr>
              <a:t>- Viết dấu phẩy thẳng cột với các dấu phẩy của các số hạng.</a:t>
            </a:r>
            <a:endParaRPr kumimoji="0" lang="en-US" altLang="zh-CN" sz="3200" b="1" i="0" u="none" strike="noStrike" kern="1200" cap="none" spc="0" normalizeH="0" baseline="0" noProof="0" dirty="0">
              <a:ln>
                <a:noFill/>
              </a:ln>
              <a:solidFill>
                <a:srgbClr val="C0504D">
                  <a:lumMod val="50000"/>
                </a:srgbClr>
              </a:solidFill>
              <a:effectLst/>
              <a:uLnTx/>
              <a:uFillTx/>
              <a:latin typeface="Calibri"/>
              <a:ea typeface="字魂36号-正文宋楷" panose="02000000000000000000" pitchFamily="2" charset="-122"/>
              <a:cs typeface="+mn-cs"/>
            </a:endParaRPr>
          </a:p>
        </p:txBody>
      </p:sp>
    </p:spTree>
    <p:extLst>
      <p:ext uri="{BB962C8B-B14F-4D97-AF65-F5344CB8AC3E}">
        <p14:creationId xmlns:p14="http://schemas.microsoft.com/office/powerpoint/2010/main" val="146802141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wipe(down)">
                                      <p:cBhvr>
                                        <p:cTn id="12" dur="500"/>
                                        <p:tgtEl>
                                          <p:spTgt spid="13"/>
                                        </p:tgtEl>
                                      </p:cBhvr>
                                    </p:animEffect>
                                  </p:childTnLst>
                                </p:cTn>
                              </p:par>
                              <p:par>
                                <p:cTn id="13" presetID="22" presetClass="entr" presetSubtype="4" fill="hold"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down)">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772D1759-950B-4696-9447-CEA7823C040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Snip Diagonal Corner Rectangle 3">
            <a:extLst>
              <a:ext uri="{FF2B5EF4-FFF2-40B4-BE49-F238E27FC236}">
                <a16:creationId xmlns:a16="http://schemas.microsoft.com/office/drawing/2014/main" id="{0BEB7791-20AB-4543-B399-7279E390E3E2}"/>
              </a:ext>
            </a:extLst>
          </p:cNvPr>
          <p:cNvSpPr/>
          <p:nvPr/>
        </p:nvSpPr>
        <p:spPr>
          <a:xfrm>
            <a:off x="2189103" y="246160"/>
            <a:ext cx="7611656" cy="1407137"/>
          </a:xfrm>
          <a:prstGeom prst="round2DiagRect">
            <a:avLst>
              <a:gd name="adj1" fmla="val 29425"/>
              <a:gd name="adj2" fmla="val 5074"/>
            </a:avLst>
          </a:prstGeom>
          <a:solidFill>
            <a:schemeClr val="bg1"/>
          </a:solidFill>
          <a:ln w="57150">
            <a:solidFill>
              <a:srgbClr val="E65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mn-cs"/>
              </a:rPr>
              <a:t>b, </a:t>
            </a:r>
            <a:r>
              <a:rPr kumimoji="0" lang="en-US" sz="48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800,56 - 384,48</a:t>
            </a:r>
          </a:p>
        </p:txBody>
      </p:sp>
      <p:pic>
        <p:nvPicPr>
          <p:cNvPr id="23" name="Picture 22">
            <a:extLst>
              <a:ext uri="{FF2B5EF4-FFF2-40B4-BE49-F238E27FC236}">
                <a16:creationId xmlns:a16="http://schemas.microsoft.com/office/drawing/2014/main" id="{41C484AF-79E3-41AE-A433-F54C3A7BCA3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87829" y="1415747"/>
            <a:ext cx="647213" cy="4306615"/>
          </a:xfrm>
          <a:prstGeom prst="rect">
            <a:avLst/>
          </a:prstGeom>
        </p:spPr>
      </p:pic>
      <p:pic>
        <p:nvPicPr>
          <p:cNvPr id="27" name="Thoi Gian - 9Slide.vn">
            <a:extLst>
              <a:ext uri="{FF2B5EF4-FFF2-40B4-BE49-F238E27FC236}">
                <a16:creationId xmlns:a16="http://schemas.microsoft.com/office/drawing/2014/main" id="{201F5575-422E-4FC8-BD3B-78F09E84370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73487" y="1415747"/>
            <a:ext cx="647583" cy="4309071"/>
          </a:xfrm>
          <a:prstGeom prst="rect">
            <a:avLst/>
          </a:prstGeom>
        </p:spPr>
      </p:pic>
      <p:pic>
        <p:nvPicPr>
          <p:cNvPr id="13" name="Content Placeholder 12">
            <a:hlinkClick r:id="rId9" action="ppaction://hlinksldjump"/>
            <a:extLst>
              <a:ext uri="{FF2B5EF4-FFF2-40B4-BE49-F238E27FC236}">
                <a16:creationId xmlns:a16="http://schemas.microsoft.com/office/drawing/2014/main" id="{ED80E900-1749-4BC8-9668-6BC593C919E3}"/>
              </a:ext>
            </a:extLst>
          </p:cNvPr>
          <p:cNvPicPr>
            <a:picLocks noGrp="1" noChangeAspect="1"/>
          </p:cNvPicPr>
          <p:nvPr>
            <p:ph idx="4294967295"/>
          </p:nvPr>
        </p:nvPicPr>
        <p:blipFill>
          <a:blip r:embed="rId10">
            <a:extLst>
              <a:ext uri="{28A0092B-C50C-407E-A947-70E740481C1C}">
                <a14:useLocalDpi xmlns:a14="http://schemas.microsoft.com/office/drawing/2010/main" val="0"/>
              </a:ext>
            </a:extLst>
          </a:blip>
          <a:stretch>
            <a:fillRect/>
          </a:stretch>
        </p:blipFill>
        <p:spPr>
          <a:xfrm rot="16200000">
            <a:off x="-174946" y="4994809"/>
            <a:ext cx="1372764" cy="983309"/>
          </a:xfrm>
          <a:prstGeom prst="rect">
            <a:avLst/>
          </a:prstGeom>
        </p:spPr>
      </p:pic>
      <p:sp>
        <p:nvSpPr>
          <p:cNvPr id="12" name="Dap An A - 9Slide.vn">
            <a:extLst>
              <a:ext uri="{FF2B5EF4-FFF2-40B4-BE49-F238E27FC236}">
                <a16:creationId xmlns:a16="http://schemas.microsoft.com/office/drawing/2014/main" id="{6176446E-A115-45F0-AB68-C5D364CE22F9}"/>
              </a:ext>
            </a:extLst>
          </p:cNvPr>
          <p:cNvSpPr/>
          <p:nvPr/>
        </p:nvSpPr>
        <p:spPr>
          <a:xfrm>
            <a:off x="953637" y="2059822"/>
            <a:ext cx="2544605" cy="4552018"/>
          </a:xfrm>
          <a:prstGeom prst="roundRect">
            <a:avLst>
              <a:gd name="adj" fmla="val 43919"/>
            </a:avLst>
          </a:prstGeom>
          <a:solidFill>
            <a:schemeClr val="bg1"/>
          </a:solidFill>
          <a:ln w="38100">
            <a:solidFill>
              <a:srgbClr val="E65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800,56</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384,48</a:t>
            </a:r>
            <a:endParaRPr kumimoji="0" lang="vi-VN" sz="3600" b="1" i="0" u="none" strike="noStrike" kern="1200" cap="none" spc="0" normalizeH="0" baseline="0" noProof="0" dirty="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14" name="Picture 13">
            <a:extLst>
              <a:ext uri="{FF2B5EF4-FFF2-40B4-BE49-F238E27FC236}">
                <a16:creationId xmlns:a16="http://schemas.microsoft.com/office/drawing/2014/main" id="{CB4B253C-DB4D-4558-BB38-4785FFA12FB0}"/>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2517174" y="1916813"/>
            <a:ext cx="1199765" cy="1168851"/>
          </a:xfrm>
          <a:prstGeom prst="rect">
            <a:avLst/>
          </a:prstGeom>
        </p:spPr>
      </p:pic>
      <p:sp>
        <p:nvSpPr>
          <p:cNvPr id="17" name="Dap An B - 9Slide.vn">
            <a:extLst>
              <a:ext uri="{FF2B5EF4-FFF2-40B4-BE49-F238E27FC236}">
                <a16:creationId xmlns:a16="http://schemas.microsoft.com/office/drawing/2014/main" id="{4EE3E23B-2B49-4C98-890B-AE91113638C6}"/>
              </a:ext>
            </a:extLst>
          </p:cNvPr>
          <p:cNvSpPr/>
          <p:nvPr/>
        </p:nvSpPr>
        <p:spPr>
          <a:xfrm>
            <a:off x="9182724" y="2052549"/>
            <a:ext cx="2514986" cy="4496095"/>
          </a:xfrm>
          <a:prstGeom prst="roundRect">
            <a:avLst>
              <a:gd name="adj" fmla="val 43919"/>
            </a:avLst>
          </a:prstGeom>
          <a:solidFill>
            <a:schemeClr val="bg1"/>
          </a:solidFill>
          <a:ln w="38100">
            <a:solidFill>
              <a:srgbClr val="E65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32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800,56</a:t>
            </a:r>
          </a:p>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384,48</a:t>
            </a:r>
            <a:endParaRPr kumimoji="0" lang="vi-VN" sz="3600" b="1" i="0" u="none" strike="noStrike" kern="1200" cap="none" spc="0" normalizeH="0" baseline="0" noProof="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vi-VN" sz="3200" b="1" i="0" u="none" strike="noStrike" kern="1200" cap="none" spc="0" normalizeH="0" baseline="0" noProof="0" dirty="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 name="Dap An C - 9Slide.vn">
            <a:extLst>
              <a:ext uri="{FF2B5EF4-FFF2-40B4-BE49-F238E27FC236}">
                <a16:creationId xmlns:a16="http://schemas.microsoft.com/office/drawing/2014/main" id="{9F682473-4D95-4501-9320-21A6D26E96CC}"/>
              </a:ext>
            </a:extLst>
          </p:cNvPr>
          <p:cNvSpPr/>
          <p:nvPr/>
        </p:nvSpPr>
        <p:spPr>
          <a:xfrm>
            <a:off x="3605049" y="2059822"/>
            <a:ext cx="2676717" cy="4496095"/>
          </a:xfrm>
          <a:prstGeom prst="roundRect">
            <a:avLst>
              <a:gd name="adj" fmla="val 43919"/>
            </a:avLst>
          </a:prstGeom>
          <a:solidFill>
            <a:schemeClr val="bg1"/>
          </a:solidFill>
          <a:ln w="38100">
            <a:solidFill>
              <a:srgbClr val="E65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200" marR="0" lvl="1" indent="-257175" algn="ctr" defTabSz="4572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 800,56</a:t>
            </a:r>
          </a:p>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384,48</a:t>
            </a:r>
            <a:endParaRPr kumimoji="0" lang="vi-VN" sz="3600" b="1" i="0" u="none" strike="noStrike" kern="1200" cap="none" spc="0" normalizeH="0" baseline="0" noProof="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endParaRPr>
          </a:p>
          <a:p>
            <a:pPr marL="457200" marR="0" lvl="1" indent="-257175" algn="ctr" defTabSz="457200" rtl="0" eaLnBrk="1" fontAlgn="auto" latinLnBrk="0" hangingPunct="1">
              <a:lnSpc>
                <a:spcPct val="100000"/>
              </a:lnSpc>
              <a:spcBef>
                <a:spcPts val="0"/>
              </a:spcBef>
              <a:spcAft>
                <a:spcPts val="0"/>
              </a:spcAft>
              <a:buClrTx/>
              <a:buSzTx/>
              <a:buFontTx/>
              <a:buNone/>
              <a:tabLst/>
              <a:defRPr/>
            </a:pPr>
            <a:endParaRPr kumimoji="0" lang="vi-VN" sz="3600" b="1" i="0" u="none" strike="noStrike" kern="1200" cap="none" spc="0" normalizeH="0" baseline="0" noProof="0" dirty="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28" name="Picture 27">
            <a:extLst>
              <a:ext uri="{FF2B5EF4-FFF2-40B4-BE49-F238E27FC236}">
                <a16:creationId xmlns:a16="http://schemas.microsoft.com/office/drawing/2014/main" id="{34F30A8C-DA76-44F8-BC6D-CF1DB15124CC}"/>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10621726" y="1590101"/>
            <a:ext cx="1401950" cy="1256577"/>
          </a:xfrm>
          <a:prstGeom prst="rect">
            <a:avLst/>
          </a:prstGeom>
        </p:spPr>
      </p:pic>
      <p:pic>
        <p:nvPicPr>
          <p:cNvPr id="29" name="Picture 28">
            <a:extLst>
              <a:ext uri="{FF2B5EF4-FFF2-40B4-BE49-F238E27FC236}">
                <a16:creationId xmlns:a16="http://schemas.microsoft.com/office/drawing/2014/main" id="{60AE0D7F-A524-4513-AB5F-8A0A788B51E6}"/>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5205463" y="1866848"/>
            <a:ext cx="1302341" cy="1268783"/>
          </a:xfrm>
          <a:prstGeom prst="rect">
            <a:avLst/>
          </a:prstGeom>
        </p:spPr>
      </p:pic>
      <p:pic>
        <p:nvPicPr>
          <p:cNvPr id="15" name="Content Placeholder 121">
            <a:extLst>
              <a:ext uri="{FF2B5EF4-FFF2-40B4-BE49-F238E27FC236}">
                <a16:creationId xmlns:a16="http://schemas.microsoft.com/office/drawing/2014/main" id="{708732F1-9D41-4539-8E15-67376D65174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9540099">
            <a:off x="11465054" y="-4611994"/>
            <a:ext cx="7310041" cy="5236265"/>
          </a:xfrm>
          <a:prstGeom prst="rect">
            <a:avLst/>
          </a:prstGeom>
        </p:spPr>
      </p:pic>
      <p:sp>
        <p:nvSpPr>
          <p:cNvPr id="19" name="Dap An C - 9Slide.vn">
            <a:extLst>
              <a:ext uri="{FF2B5EF4-FFF2-40B4-BE49-F238E27FC236}">
                <a16:creationId xmlns:a16="http://schemas.microsoft.com/office/drawing/2014/main" id="{9F682473-4D95-4501-9320-21A6D26E96CC}"/>
              </a:ext>
            </a:extLst>
          </p:cNvPr>
          <p:cNvSpPr/>
          <p:nvPr/>
        </p:nvSpPr>
        <p:spPr>
          <a:xfrm>
            <a:off x="6416781" y="2023927"/>
            <a:ext cx="2607973" cy="4496095"/>
          </a:xfrm>
          <a:prstGeom prst="roundRect">
            <a:avLst>
              <a:gd name="adj" fmla="val 43919"/>
            </a:avLst>
          </a:prstGeom>
          <a:solidFill>
            <a:schemeClr val="bg1"/>
          </a:solidFill>
          <a:ln w="38100">
            <a:solidFill>
              <a:srgbClr val="E65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800,56</a:t>
            </a:r>
          </a:p>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384,48</a:t>
            </a:r>
            <a:endParaRPr kumimoji="0" lang="vi-VN" sz="3600" b="1" i="0" u="none" strike="noStrike" kern="1200" cap="none" spc="0" normalizeH="0" baseline="0" noProof="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vi-VN" sz="3200" b="1" i="0" u="none" strike="noStrike" kern="1200" cap="none" spc="0" normalizeH="0" baseline="0" noProof="0" dirty="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20" name="Picture 19">
            <a:extLst>
              <a:ext uri="{FF2B5EF4-FFF2-40B4-BE49-F238E27FC236}">
                <a16:creationId xmlns:a16="http://schemas.microsoft.com/office/drawing/2014/main" id="{60AE0D7F-A524-4513-AB5F-8A0A788B51E6}"/>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7967298" y="1783071"/>
            <a:ext cx="1271500" cy="1238737"/>
          </a:xfrm>
          <a:prstGeom prst="rect">
            <a:avLst/>
          </a:prstGeom>
        </p:spPr>
      </p:pic>
      <p:cxnSp>
        <p:nvCxnSpPr>
          <p:cNvPr id="3" name="Straight Connector 2">
            <a:extLst>
              <a:ext uri="{FF2B5EF4-FFF2-40B4-BE49-F238E27FC236}">
                <a16:creationId xmlns:a16="http://schemas.microsoft.com/office/drawing/2014/main" id="{7FAC93FC-14A4-0B05-7882-613299103765}"/>
              </a:ext>
            </a:extLst>
          </p:cNvPr>
          <p:cNvCxnSpPr>
            <a:cxnSpLocks/>
          </p:cNvCxnSpPr>
          <p:nvPr/>
        </p:nvCxnSpPr>
        <p:spPr>
          <a:xfrm>
            <a:off x="1098143" y="4303142"/>
            <a:ext cx="2181919"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F153B37-6C8C-A04B-12A7-8DE2756F74CA}"/>
              </a:ext>
            </a:extLst>
          </p:cNvPr>
          <p:cNvCxnSpPr>
            <a:cxnSpLocks/>
          </p:cNvCxnSpPr>
          <p:nvPr/>
        </p:nvCxnSpPr>
        <p:spPr>
          <a:xfrm>
            <a:off x="3852447" y="4303142"/>
            <a:ext cx="2181919"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26CA6CA-D9E0-628C-3BF6-68B04F11842D}"/>
              </a:ext>
            </a:extLst>
          </p:cNvPr>
          <p:cNvCxnSpPr>
            <a:cxnSpLocks/>
          </p:cNvCxnSpPr>
          <p:nvPr/>
        </p:nvCxnSpPr>
        <p:spPr>
          <a:xfrm>
            <a:off x="9349257" y="4220765"/>
            <a:ext cx="2181919"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ED503A6-CCA0-3174-AEB2-598BE6F42767}"/>
              </a:ext>
            </a:extLst>
          </p:cNvPr>
          <p:cNvCxnSpPr>
            <a:cxnSpLocks/>
          </p:cNvCxnSpPr>
          <p:nvPr/>
        </p:nvCxnSpPr>
        <p:spPr>
          <a:xfrm>
            <a:off x="6755542" y="4220105"/>
            <a:ext cx="2181919"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591D7-A3BE-0AF2-AE95-10D2A2C56BC3}"/>
              </a:ext>
            </a:extLst>
          </p:cNvPr>
          <p:cNvSpPr txBox="1"/>
          <p:nvPr/>
        </p:nvSpPr>
        <p:spPr>
          <a:xfrm>
            <a:off x="1206347" y="4335831"/>
            <a:ext cx="218465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rPr>
              <a:t>584,14</a:t>
            </a:r>
          </a:p>
        </p:txBody>
      </p:sp>
      <p:sp>
        <p:nvSpPr>
          <p:cNvPr id="10" name="TextBox 9">
            <a:extLst>
              <a:ext uri="{FF2B5EF4-FFF2-40B4-BE49-F238E27FC236}">
                <a16:creationId xmlns:a16="http://schemas.microsoft.com/office/drawing/2014/main" id="{FBFDAEFF-67DE-1860-7FA1-6F6839BD3D56}"/>
              </a:ext>
            </a:extLst>
          </p:cNvPr>
          <p:cNvSpPr txBox="1"/>
          <p:nvPr/>
        </p:nvSpPr>
        <p:spPr>
          <a:xfrm>
            <a:off x="3911218" y="4307869"/>
            <a:ext cx="229151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rPr>
              <a:t>1185,04</a:t>
            </a:r>
          </a:p>
        </p:txBody>
      </p:sp>
      <p:sp>
        <p:nvSpPr>
          <p:cNvPr id="21" name="TextBox 20">
            <a:extLst>
              <a:ext uri="{FF2B5EF4-FFF2-40B4-BE49-F238E27FC236}">
                <a16:creationId xmlns:a16="http://schemas.microsoft.com/office/drawing/2014/main" id="{E319518A-31E4-4077-B318-51C21856684D}"/>
              </a:ext>
            </a:extLst>
          </p:cNvPr>
          <p:cNvSpPr txBox="1"/>
          <p:nvPr/>
        </p:nvSpPr>
        <p:spPr>
          <a:xfrm>
            <a:off x="9559437" y="4252896"/>
            <a:ext cx="22279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416,08</a:t>
            </a:r>
            <a:endParaRPr kumimoji="0" lang="en-US" sz="3600" b="1" i="0" u="none" strike="noStrike" kern="1200" cap="none" spc="0" normalizeH="0" baseline="0" noProof="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 name="TextBox 21">
            <a:extLst>
              <a:ext uri="{FF2B5EF4-FFF2-40B4-BE49-F238E27FC236}">
                <a16:creationId xmlns:a16="http://schemas.microsoft.com/office/drawing/2014/main" id="{2E5D1B06-E0AA-BA07-4108-B61B00D92BFD}"/>
              </a:ext>
            </a:extLst>
          </p:cNvPr>
          <p:cNvSpPr txBox="1"/>
          <p:nvPr/>
        </p:nvSpPr>
        <p:spPr>
          <a:xfrm>
            <a:off x="7008951" y="4252896"/>
            <a:ext cx="22279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41608</a:t>
            </a:r>
            <a:endParaRPr kumimoji="0" lang="en-US" sz="3600" b="1" i="0" u="none" strike="noStrike" kern="1200" cap="none" spc="0" normalizeH="0" baseline="0" noProof="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26" name="Group 25">
            <a:extLst>
              <a:ext uri="{FF2B5EF4-FFF2-40B4-BE49-F238E27FC236}">
                <a16:creationId xmlns:a16="http://schemas.microsoft.com/office/drawing/2014/main" id="{C4C33833-031C-27D0-5026-72067806C80C}"/>
              </a:ext>
            </a:extLst>
          </p:cNvPr>
          <p:cNvGrpSpPr/>
          <p:nvPr/>
        </p:nvGrpSpPr>
        <p:grpSpPr>
          <a:xfrm>
            <a:off x="-42500" y="71655"/>
            <a:ext cx="1407136" cy="1407136"/>
            <a:chOff x="-42500" y="71655"/>
            <a:chExt cx="1407136" cy="1407136"/>
          </a:xfrm>
        </p:grpSpPr>
        <p:pic>
          <p:nvPicPr>
            <p:cNvPr id="11" name="Picture 10">
              <a:extLst>
                <a:ext uri="{FF2B5EF4-FFF2-40B4-BE49-F238E27FC236}">
                  <a16:creationId xmlns:a16="http://schemas.microsoft.com/office/drawing/2014/main" id="{A30936A0-B094-4C58-AB3F-1DA17E023A7B}"/>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42500" y="71655"/>
              <a:ext cx="1407136" cy="1407136"/>
            </a:xfrm>
            <a:prstGeom prst="rect">
              <a:avLst/>
            </a:prstGeom>
          </p:spPr>
        </p:pic>
        <p:sp>
          <p:nvSpPr>
            <p:cNvPr id="25" name="TextBox 24">
              <a:extLst>
                <a:ext uri="{FF2B5EF4-FFF2-40B4-BE49-F238E27FC236}">
                  <a16:creationId xmlns:a16="http://schemas.microsoft.com/office/drawing/2014/main" id="{5622D553-35EA-A50F-FA16-98E899209297}"/>
                </a:ext>
              </a:extLst>
            </p:cNvPr>
            <p:cNvSpPr txBox="1"/>
            <p:nvPr/>
          </p:nvSpPr>
          <p:spPr>
            <a:xfrm>
              <a:off x="337461" y="230063"/>
              <a:ext cx="599517" cy="1081980"/>
            </a:xfrm>
            <a:prstGeom prst="ellipse">
              <a:avLst/>
            </a:prstGeom>
            <a:solidFill>
              <a:srgbClr val="FEF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E7597C">
                      <a:lumMod val="50000"/>
                    </a:srgbClr>
                  </a:solidFill>
                  <a:effectLst/>
                  <a:uLnTx/>
                  <a:uFillTx/>
                  <a:latin typeface="Tahoma" panose="020B0604030504040204" pitchFamily="34" charset="0"/>
                  <a:ea typeface="Tahoma" panose="020B0604030504040204" pitchFamily="34" charset="0"/>
                  <a:cs typeface="Tahoma" panose="020B0604030504040204" pitchFamily="34" charset="0"/>
                </a:rPr>
                <a:t>2</a:t>
              </a:r>
            </a:p>
          </p:txBody>
        </p:sp>
      </p:grpSp>
      <p:sp>
        <p:nvSpPr>
          <p:cNvPr id="2" name="TextBox 1">
            <a:extLst>
              <a:ext uri="{FF2B5EF4-FFF2-40B4-BE49-F238E27FC236}">
                <a16:creationId xmlns:a16="http://schemas.microsoft.com/office/drawing/2014/main" id="{8F4E462C-8190-B781-0139-7CB0B24E22B2}"/>
              </a:ext>
            </a:extLst>
          </p:cNvPr>
          <p:cNvSpPr txBox="1"/>
          <p:nvPr/>
        </p:nvSpPr>
        <p:spPr>
          <a:xfrm>
            <a:off x="916201" y="3151029"/>
            <a:ext cx="448435" cy="707886"/>
          </a:xfrm>
          <a:prstGeom prst="rect">
            <a:avLst/>
          </a:prstGeom>
          <a:noFill/>
        </p:spPr>
        <p:txBody>
          <a:bodyPr wrap="square">
            <a:spAutoFit/>
          </a:bodyPr>
          <a:lstStyle/>
          <a:p>
            <a:r>
              <a:rPr lang="en-US" sz="4000" b="1">
                <a:solidFill>
                  <a:srgbClr val="FF0000"/>
                </a:solidFill>
                <a:latin typeface="Verdana" panose="020B0604030504040204" pitchFamily="34" charset="0"/>
                <a:ea typeface="Verdana" panose="020B0604030504040204" pitchFamily="34" charset="0"/>
              </a:rPr>
              <a:t>-</a:t>
            </a:r>
            <a:endParaRPr lang="en-US" sz="4000"/>
          </a:p>
        </p:txBody>
      </p:sp>
      <p:sp>
        <p:nvSpPr>
          <p:cNvPr id="4" name="TextBox 3">
            <a:extLst>
              <a:ext uri="{FF2B5EF4-FFF2-40B4-BE49-F238E27FC236}">
                <a16:creationId xmlns:a16="http://schemas.microsoft.com/office/drawing/2014/main" id="{A3D05BA4-1EA3-E1E9-7344-1F8AEE7B66BA}"/>
              </a:ext>
            </a:extLst>
          </p:cNvPr>
          <p:cNvSpPr txBox="1"/>
          <p:nvPr/>
        </p:nvSpPr>
        <p:spPr>
          <a:xfrm>
            <a:off x="3816189" y="3167501"/>
            <a:ext cx="448435" cy="707886"/>
          </a:xfrm>
          <a:prstGeom prst="rect">
            <a:avLst/>
          </a:prstGeom>
          <a:noFill/>
        </p:spPr>
        <p:txBody>
          <a:bodyPr wrap="square">
            <a:spAutoFit/>
          </a:bodyPr>
          <a:lstStyle/>
          <a:p>
            <a:r>
              <a:rPr lang="en-US" sz="4000" b="1">
                <a:solidFill>
                  <a:srgbClr val="FF0000"/>
                </a:solidFill>
                <a:latin typeface="Verdana" panose="020B0604030504040204" pitchFamily="34" charset="0"/>
                <a:ea typeface="Verdana" panose="020B0604030504040204" pitchFamily="34" charset="0"/>
              </a:rPr>
              <a:t>-</a:t>
            </a:r>
            <a:endParaRPr lang="en-US" sz="4000"/>
          </a:p>
        </p:txBody>
      </p:sp>
      <p:sp>
        <p:nvSpPr>
          <p:cNvPr id="24" name="TextBox 23">
            <a:extLst>
              <a:ext uri="{FF2B5EF4-FFF2-40B4-BE49-F238E27FC236}">
                <a16:creationId xmlns:a16="http://schemas.microsoft.com/office/drawing/2014/main" id="{D063DEB9-B8C4-A0B2-85D2-739DBF7CE412}"/>
              </a:ext>
            </a:extLst>
          </p:cNvPr>
          <p:cNvSpPr txBox="1"/>
          <p:nvPr/>
        </p:nvSpPr>
        <p:spPr>
          <a:xfrm>
            <a:off x="6560516" y="3141589"/>
            <a:ext cx="448435" cy="707886"/>
          </a:xfrm>
          <a:prstGeom prst="rect">
            <a:avLst/>
          </a:prstGeom>
          <a:noFill/>
        </p:spPr>
        <p:txBody>
          <a:bodyPr wrap="square">
            <a:spAutoFit/>
          </a:bodyPr>
          <a:lstStyle/>
          <a:p>
            <a:r>
              <a:rPr lang="en-US" sz="4000" b="1">
                <a:solidFill>
                  <a:srgbClr val="FF0000"/>
                </a:solidFill>
                <a:latin typeface="Verdana" panose="020B0604030504040204" pitchFamily="34" charset="0"/>
                <a:ea typeface="Verdana" panose="020B0604030504040204" pitchFamily="34" charset="0"/>
              </a:rPr>
              <a:t>-</a:t>
            </a:r>
            <a:endParaRPr lang="en-US" sz="4000"/>
          </a:p>
        </p:txBody>
      </p:sp>
      <p:sp>
        <p:nvSpPr>
          <p:cNvPr id="30" name="TextBox 29">
            <a:extLst>
              <a:ext uri="{FF2B5EF4-FFF2-40B4-BE49-F238E27FC236}">
                <a16:creationId xmlns:a16="http://schemas.microsoft.com/office/drawing/2014/main" id="{5C9790DE-FB9D-1DA8-2E80-415F7949A167}"/>
              </a:ext>
            </a:extLst>
          </p:cNvPr>
          <p:cNvSpPr txBox="1"/>
          <p:nvPr/>
        </p:nvSpPr>
        <p:spPr>
          <a:xfrm>
            <a:off x="9236883" y="3113627"/>
            <a:ext cx="448435" cy="707886"/>
          </a:xfrm>
          <a:prstGeom prst="rect">
            <a:avLst/>
          </a:prstGeom>
          <a:noFill/>
        </p:spPr>
        <p:txBody>
          <a:bodyPr wrap="square">
            <a:spAutoFit/>
          </a:bodyPr>
          <a:lstStyle/>
          <a:p>
            <a:r>
              <a:rPr lang="en-US" sz="4000" b="1">
                <a:solidFill>
                  <a:srgbClr val="FF0000"/>
                </a:solidFill>
                <a:latin typeface="Verdana" panose="020B0604030504040204" pitchFamily="34" charset="0"/>
                <a:ea typeface="Verdana" panose="020B0604030504040204" pitchFamily="34" charset="0"/>
              </a:rPr>
              <a:t>-</a:t>
            </a:r>
            <a:endParaRPr lang="en-US" sz="4000"/>
          </a:p>
        </p:txBody>
      </p:sp>
      <p:sp>
        <p:nvSpPr>
          <p:cNvPr id="31" name="Rectangle 30">
            <a:extLst>
              <a:ext uri="{FF2B5EF4-FFF2-40B4-BE49-F238E27FC236}">
                <a16:creationId xmlns:a16="http://schemas.microsoft.com/office/drawing/2014/main" id="{0ED7BE02-616B-42CC-D364-EA6AED395C8E}"/>
              </a:ext>
            </a:extLst>
          </p:cNvPr>
          <p:cNvSpPr/>
          <p:nvPr/>
        </p:nvSpPr>
        <p:spPr>
          <a:xfrm>
            <a:off x="1625952" y="5061205"/>
            <a:ext cx="957313" cy="144655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8800" b="1" cap="none" spc="0">
                <a:ln/>
                <a:solidFill>
                  <a:srgbClr val="00B050"/>
                </a:solidFill>
                <a:effectLst/>
                <a:latin typeface="Tahoma" panose="020B0604030504040204" pitchFamily="34" charset="0"/>
                <a:ea typeface="Tahoma" panose="020B0604030504040204" pitchFamily="34" charset="0"/>
                <a:cs typeface="Tahoma" panose="020B0604030504040204" pitchFamily="34" charset="0"/>
              </a:rPr>
              <a:t>A</a:t>
            </a:r>
          </a:p>
        </p:txBody>
      </p:sp>
      <p:sp>
        <p:nvSpPr>
          <p:cNvPr id="32" name="Rectangle 31">
            <a:extLst>
              <a:ext uri="{FF2B5EF4-FFF2-40B4-BE49-F238E27FC236}">
                <a16:creationId xmlns:a16="http://schemas.microsoft.com/office/drawing/2014/main" id="{DD10FE9C-CE07-AFF9-CC21-9D3BC5F88D52}"/>
              </a:ext>
            </a:extLst>
          </p:cNvPr>
          <p:cNvSpPr/>
          <p:nvPr/>
        </p:nvSpPr>
        <p:spPr>
          <a:xfrm>
            <a:off x="4421603" y="5109368"/>
            <a:ext cx="958917" cy="144655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8800" b="1" cap="none" spc="0">
                <a:ln/>
                <a:solidFill>
                  <a:srgbClr val="00B050"/>
                </a:solidFill>
                <a:effectLst/>
                <a:latin typeface="Tahoma" panose="020B0604030504040204" pitchFamily="34" charset="0"/>
                <a:ea typeface="Tahoma" panose="020B0604030504040204" pitchFamily="34" charset="0"/>
                <a:cs typeface="Tahoma" panose="020B0604030504040204" pitchFamily="34" charset="0"/>
              </a:rPr>
              <a:t>B</a:t>
            </a:r>
          </a:p>
        </p:txBody>
      </p:sp>
      <p:sp>
        <p:nvSpPr>
          <p:cNvPr id="33" name="Rectangle 32">
            <a:extLst>
              <a:ext uri="{FF2B5EF4-FFF2-40B4-BE49-F238E27FC236}">
                <a16:creationId xmlns:a16="http://schemas.microsoft.com/office/drawing/2014/main" id="{490A0A39-765E-1742-C90C-B87D4F5D65C5}"/>
              </a:ext>
            </a:extLst>
          </p:cNvPr>
          <p:cNvSpPr/>
          <p:nvPr/>
        </p:nvSpPr>
        <p:spPr>
          <a:xfrm>
            <a:off x="7275389" y="5137328"/>
            <a:ext cx="938077" cy="144655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8800" b="1">
                <a:ln/>
                <a:solidFill>
                  <a:srgbClr val="00B050"/>
                </a:solidFill>
                <a:latin typeface="Tahoma" panose="020B0604030504040204" pitchFamily="34" charset="0"/>
                <a:ea typeface="Tahoma" panose="020B0604030504040204" pitchFamily="34" charset="0"/>
                <a:cs typeface="Tahoma" panose="020B0604030504040204" pitchFamily="34" charset="0"/>
              </a:rPr>
              <a:t>C</a:t>
            </a:r>
            <a:endParaRPr lang="en-US" sz="8800" b="1" cap="none" spc="0">
              <a:ln/>
              <a:solidFill>
                <a:srgbClr val="00B050"/>
              </a:solidFill>
              <a:effectLst/>
              <a:latin typeface="Tahoma" panose="020B0604030504040204" pitchFamily="34" charset="0"/>
              <a:ea typeface="Tahoma" panose="020B0604030504040204" pitchFamily="34" charset="0"/>
              <a:cs typeface="Tahoma" panose="020B0604030504040204" pitchFamily="34" charset="0"/>
            </a:endParaRPr>
          </a:p>
        </p:txBody>
      </p:sp>
      <p:sp>
        <p:nvSpPr>
          <p:cNvPr id="34" name="Rectangle 33">
            <a:extLst>
              <a:ext uri="{FF2B5EF4-FFF2-40B4-BE49-F238E27FC236}">
                <a16:creationId xmlns:a16="http://schemas.microsoft.com/office/drawing/2014/main" id="{674C45E2-B7B2-2CAD-166C-1B188C0D0272}"/>
              </a:ext>
            </a:extLst>
          </p:cNvPr>
          <p:cNvSpPr/>
          <p:nvPr/>
        </p:nvSpPr>
        <p:spPr>
          <a:xfrm>
            <a:off x="10046514" y="5065408"/>
            <a:ext cx="1039067" cy="144655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8800" b="1" cap="none" spc="0">
                <a:ln/>
                <a:solidFill>
                  <a:srgbClr val="00B050"/>
                </a:solidFill>
                <a:effectLst/>
                <a:latin typeface="Tahoma" panose="020B0604030504040204" pitchFamily="34" charset="0"/>
                <a:ea typeface="Tahoma" panose="020B0604030504040204" pitchFamily="34" charset="0"/>
                <a:cs typeface="Tahoma" panose="020B0604030504040204" pitchFamily="34" charset="0"/>
              </a:rPr>
              <a:t>D</a:t>
            </a:r>
          </a:p>
        </p:txBody>
      </p:sp>
    </p:spTree>
    <p:extLst>
      <p:ext uri="{BB962C8B-B14F-4D97-AF65-F5344CB8AC3E}">
        <p14:creationId xmlns:p14="http://schemas.microsoft.com/office/powerpoint/2010/main" val="8063691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14:presetBounceEnd="69000">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14:bounceEnd="69000">
                                          <p:cBhvr additive="base">
                                            <p:cTn id="7" dur="1000" fill="hold"/>
                                            <p:tgtEl>
                                              <p:spTgt spid="12"/>
                                            </p:tgtEl>
                                            <p:attrNameLst>
                                              <p:attrName>ppt_x</p:attrName>
                                            </p:attrNameLst>
                                          </p:cBhvr>
                                          <p:tavLst>
                                            <p:tav tm="0">
                                              <p:val>
                                                <p:strVal val="#ppt_x"/>
                                              </p:val>
                                            </p:tav>
                                            <p:tav tm="100000">
                                              <p:val>
                                                <p:strVal val="#ppt_x"/>
                                              </p:val>
                                            </p:tav>
                                          </p:tavLst>
                                        </p:anim>
                                        <p:anim calcmode="lin" valueType="num" p14:bounceEnd="69000">
                                          <p:cBhvr additive="base">
                                            <p:cTn id="8" dur="100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14:presetBounceEnd="69000">
                                      <p:stCondLst>
                                        <p:cond delay="200"/>
                                      </p:stCondLst>
                                      <p:childTnLst>
                                        <p:set>
                                          <p:cBhvr>
                                            <p:cTn id="10" dur="1" fill="hold">
                                              <p:stCondLst>
                                                <p:cond delay="0"/>
                                              </p:stCondLst>
                                            </p:cTn>
                                            <p:tgtEl>
                                              <p:spTgt spid="17"/>
                                            </p:tgtEl>
                                            <p:attrNameLst>
                                              <p:attrName>style.visibility</p:attrName>
                                            </p:attrNameLst>
                                          </p:cBhvr>
                                          <p:to>
                                            <p:strVal val="visible"/>
                                          </p:to>
                                        </p:set>
                                        <p:anim calcmode="lin" valueType="num" p14:bounceEnd="69000">
                                          <p:cBhvr additive="base">
                                            <p:cTn id="11" dur="1000" fill="hold"/>
                                            <p:tgtEl>
                                              <p:spTgt spid="17"/>
                                            </p:tgtEl>
                                            <p:attrNameLst>
                                              <p:attrName>ppt_x</p:attrName>
                                            </p:attrNameLst>
                                          </p:cBhvr>
                                          <p:tavLst>
                                            <p:tav tm="0">
                                              <p:val>
                                                <p:strVal val="#ppt_x"/>
                                              </p:val>
                                            </p:tav>
                                            <p:tav tm="100000">
                                              <p:val>
                                                <p:strVal val="#ppt_x"/>
                                              </p:val>
                                            </p:tav>
                                          </p:tavLst>
                                        </p:anim>
                                        <p:anim calcmode="lin" valueType="num" p14:bounceEnd="69000">
                                          <p:cBhvr additive="base">
                                            <p:cTn id="12" dur="1000" fill="hold"/>
                                            <p:tgtEl>
                                              <p:spTgt spid="1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14:presetBounceEnd="69000">
                                      <p:stCondLst>
                                        <p:cond delay="600"/>
                                      </p:stCondLst>
                                      <p:childTnLst>
                                        <p:set>
                                          <p:cBhvr>
                                            <p:cTn id="14" dur="1" fill="hold">
                                              <p:stCondLst>
                                                <p:cond delay="0"/>
                                              </p:stCondLst>
                                            </p:cTn>
                                            <p:tgtEl>
                                              <p:spTgt spid="18"/>
                                            </p:tgtEl>
                                            <p:attrNameLst>
                                              <p:attrName>style.visibility</p:attrName>
                                            </p:attrNameLst>
                                          </p:cBhvr>
                                          <p:to>
                                            <p:strVal val="visible"/>
                                          </p:to>
                                        </p:set>
                                        <p:anim calcmode="lin" valueType="num" p14:bounceEnd="69000">
                                          <p:cBhvr additive="base">
                                            <p:cTn id="15" dur="1000" fill="hold"/>
                                            <p:tgtEl>
                                              <p:spTgt spid="18"/>
                                            </p:tgtEl>
                                            <p:attrNameLst>
                                              <p:attrName>ppt_x</p:attrName>
                                            </p:attrNameLst>
                                          </p:cBhvr>
                                          <p:tavLst>
                                            <p:tav tm="0">
                                              <p:val>
                                                <p:strVal val="#ppt_x"/>
                                              </p:val>
                                            </p:tav>
                                            <p:tav tm="100000">
                                              <p:val>
                                                <p:strVal val="#ppt_x"/>
                                              </p:val>
                                            </p:tav>
                                          </p:tavLst>
                                        </p:anim>
                                        <p:anim calcmode="lin" valueType="num" p14:bounceEnd="69000">
                                          <p:cBhvr additive="base">
                                            <p:cTn id="16" dur="1000" fill="hold"/>
                                            <p:tgtEl>
                                              <p:spTgt spid="1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14:presetBounceEnd="69000">
                                      <p:stCondLst>
                                        <p:cond delay="600"/>
                                      </p:stCondLst>
                                      <p:childTnLst>
                                        <p:set>
                                          <p:cBhvr>
                                            <p:cTn id="18" dur="1" fill="hold">
                                              <p:stCondLst>
                                                <p:cond delay="0"/>
                                              </p:stCondLst>
                                            </p:cTn>
                                            <p:tgtEl>
                                              <p:spTgt spid="19"/>
                                            </p:tgtEl>
                                            <p:attrNameLst>
                                              <p:attrName>style.visibility</p:attrName>
                                            </p:attrNameLst>
                                          </p:cBhvr>
                                          <p:to>
                                            <p:strVal val="visible"/>
                                          </p:to>
                                        </p:set>
                                        <p:anim calcmode="lin" valueType="num" p14:bounceEnd="69000">
                                          <p:cBhvr additive="base">
                                            <p:cTn id="19" dur="1000" fill="hold"/>
                                            <p:tgtEl>
                                              <p:spTgt spid="19"/>
                                            </p:tgtEl>
                                            <p:attrNameLst>
                                              <p:attrName>ppt_x</p:attrName>
                                            </p:attrNameLst>
                                          </p:cBhvr>
                                          <p:tavLst>
                                            <p:tav tm="0">
                                              <p:val>
                                                <p:strVal val="#ppt_x"/>
                                              </p:val>
                                            </p:tav>
                                            <p:tav tm="100000">
                                              <p:val>
                                                <p:strVal val="#ppt_x"/>
                                              </p:val>
                                            </p:tav>
                                          </p:tavLst>
                                        </p:anim>
                                        <p:anim calcmode="lin" valueType="num" p14:bounceEnd="69000">
                                          <p:cBhvr additive="base">
                                            <p:cTn id="20" dur="1000" fill="hold"/>
                                            <p:tgtEl>
                                              <p:spTgt spid="19"/>
                                            </p:tgtEl>
                                            <p:attrNameLst>
                                              <p:attrName>ppt_y</p:attrName>
                                            </p:attrNameLst>
                                          </p:cBhvr>
                                          <p:tavLst>
                                            <p:tav tm="0">
                                              <p:val>
                                                <p:strVal val="1+#ppt_h/2"/>
                                              </p:val>
                                            </p:tav>
                                            <p:tav tm="100000">
                                              <p:val>
                                                <p:strVal val="#ppt_y"/>
                                              </p:val>
                                            </p:tav>
                                          </p:tavLst>
                                        </p:anim>
                                      </p:childTnLst>
                                    </p:cTn>
                                  </p:par>
                                </p:childTnLst>
                              </p:cTn>
                            </p:par>
                            <p:par>
                              <p:cTn id="21" fill="hold">
                                <p:stCondLst>
                                  <p:cond delay="1600"/>
                                </p:stCondLst>
                                <p:childTnLst>
                                  <p:par>
                                    <p:cTn id="22" presetID="2" presetClass="entr" presetSubtype="8" fill="hold" nodeType="afterEffect">
                                      <p:stCondLst>
                                        <p:cond delay="0"/>
                                      </p:stCondLst>
                                      <p:childTnLst>
                                        <p:set>
                                          <p:cBhvr>
                                            <p:cTn id="23" dur="1" fill="hold">
                                              <p:stCondLst>
                                                <p:cond delay="0"/>
                                              </p:stCondLst>
                                            </p:cTn>
                                            <p:tgtEl>
                                              <p:spTgt spid="23"/>
                                            </p:tgtEl>
                                            <p:attrNameLst>
                                              <p:attrName>style.visibility</p:attrName>
                                            </p:attrNameLst>
                                          </p:cBhvr>
                                          <p:to>
                                            <p:strVal val="visible"/>
                                          </p:to>
                                        </p:set>
                                        <p:anim calcmode="lin" valueType="num">
                                          <p:cBhvr additive="base">
                                            <p:cTn id="24" dur="500" fill="hold"/>
                                            <p:tgtEl>
                                              <p:spTgt spid="23"/>
                                            </p:tgtEl>
                                            <p:attrNameLst>
                                              <p:attrName>ppt_x</p:attrName>
                                            </p:attrNameLst>
                                          </p:cBhvr>
                                          <p:tavLst>
                                            <p:tav tm="0">
                                              <p:val>
                                                <p:strVal val="0-#ppt_w/2"/>
                                              </p:val>
                                            </p:tav>
                                            <p:tav tm="100000">
                                              <p:val>
                                                <p:strVal val="#ppt_x"/>
                                              </p:val>
                                            </p:tav>
                                          </p:tavLst>
                                        </p:anim>
                                        <p:anim calcmode="lin" valueType="num">
                                          <p:cBhvr additive="base">
                                            <p:cTn id="25" dur="500" fill="hold"/>
                                            <p:tgtEl>
                                              <p:spTgt spid="23"/>
                                            </p:tgtEl>
                                            <p:attrNameLst>
                                              <p:attrName>ppt_y</p:attrName>
                                            </p:attrNameLst>
                                          </p:cBhvr>
                                          <p:tavLst>
                                            <p:tav tm="0">
                                              <p:val>
                                                <p:strVal val="#ppt_y"/>
                                              </p:val>
                                            </p:tav>
                                            <p:tav tm="100000">
                                              <p:val>
                                                <p:strVal val="#ppt_y"/>
                                              </p:val>
                                            </p:tav>
                                          </p:tavLst>
                                        </p:anim>
                                      </p:childTnLst>
                                    </p:cTn>
                                  </p:par>
                                  <p:par>
                                    <p:cTn id="26" presetID="2" presetClass="entr" presetSubtype="8"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 calcmode="lin" valueType="num">
                                          <p:cBhvr additive="base">
                                            <p:cTn id="28" dur="500" fill="hold"/>
                                            <p:tgtEl>
                                              <p:spTgt spid="13"/>
                                            </p:tgtEl>
                                            <p:attrNameLst>
                                              <p:attrName>ppt_x</p:attrName>
                                            </p:attrNameLst>
                                          </p:cBhvr>
                                          <p:tavLst>
                                            <p:tav tm="0">
                                              <p:val>
                                                <p:strVal val="0-#ppt_w/2"/>
                                              </p:val>
                                            </p:tav>
                                            <p:tav tm="100000">
                                              <p:val>
                                                <p:strVal val="#ppt_x"/>
                                              </p:val>
                                            </p:tav>
                                          </p:tavLst>
                                        </p:anim>
                                        <p:anim calcmode="lin" valueType="num">
                                          <p:cBhvr additive="base">
                                            <p:cTn id="29" dur="500" fill="hold"/>
                                            <p:tgtEl>
                                              <p:spTgt spid="13"/>
                                            </p:tgtEl>
                                            <p:attrNameLst>
                                              <p:attrName>ppt_y</p:attrName>
                                            </p:attrNameLst>
                                          </p:cBhvr>
                                          <p:tavLst>
                                            <p:tav tm="0">
                                              <p:val>
                                                <p:strVal val="#ppt_y"/>
                                              </p:val>
                                            </p:tav>
                                            <p:tav tm="100000">
                                              <p:val>
                                                <p:strVal val="#ppt_y"/>
                                              </p:val>
                                            </p:tav>
                                          </p:tavLst>
                                        </p:anim>
                                      </p:childTnLst>
                                    </p:cTn>
                                  </p:par>
                                </p:childTnLst>
                              </p:cTn>
                            </p:par>
                            <p:par>
                              <p:cTn id="30" fill="hold">
                                <p:stCondLst>
                                  <p:cond delay="2100"/>
                                </p:stCondLst>
                                <p:childTnLst>
                                  <p:par>
                                    <p:cTn id="31" presetID="64" presetClass="path" presetSubtype="0" accel="50000" decel="50000" fill="hold" nodeType="afterEffect">
                                      <p:stCondLst>
                                        <p:cond delay="0"/>
                                      </p:stCondLst>
                                      <p:childTnLst>
                                        <p:animMotion origin="layout" path="M -4.72222E-6 -1.11111E-6 L -4.72222E-6 -0.60154 " pathEditMode="relative" rAng="0" ptsTypes="AA">
                                          <p:cBhvr>
                                            <p:cTn id="32" dur="15000" fill="hold"/>
                                            <p:tgtEl>
                                              <p:spTgt spid="13"/>
                                            </p:tgtEl>
                                            <p:attrNameLst>
                                              <p:attrName>ppt_x</p:attrName>
                                              <p:attrName>ppt_y</p:attrName>
                                            </p:attrNameLst>
                                          </p:cBhvr>
                                          <p:rCtr x="0" y="-30093"/>
                                        </p:animMotion>
                                      </p:childTnLst>
                                    </p:cTn>
                                  </p:par>
                                  <p:par>
                                    <p:cTn id="33" presetID="22" presetClass="entr" presetSubtype="4" fill="hold" nodeType="with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wipe(down)">
                                          <p:cBhvr>
                                            <p:cTn id="35" dur="15000"/>
                                            <p:tgtEl>
                                              <p:spTgt spid="27"/>
                                            </p:tgtEl>
                                          </p:cBhvr>
                                        </p:animEffect>
                                      </p:childTnLst>
                                    </p:cTn>
                                  </p:par>
                                </p:childTnLst>
                              </p:cTn>
                            </p:par>
                            <p:par>
                              <p:cTn id="36" fill="hold">
                                <p:stCondLst>
                                  <p:cond delay="17100"/>
                                </p:stCondLst>
                                <p:childTnLst>
                                  <p:par>
                                    <p:cTn id="37" presetID="26" presetClass="emph" presetSubtype="0" repeatCount="5000" fill="hold" nodeType="afterEffect">
                                      <p:stCondLst>
                                        <p:cond delay="0"/>
                                      </p:stCondLst>
                                      <p:childTnLst>
                                        <p:animEffect transition="out" filter="fade">
                                          <p:cBhvr>
                                            <p:cTn id="38" dur="500" tmFilter="0, 0; .2, .5; .8, .5; 1, 0"/>
                                            <p:tgtEl>
                                              <p:spTgt spid="13"/>
                                            </p:tgtEl>
                                          </p:cBhvr>
                                        </p:animEffect>
                                        <p:animScale>
                                          <p:cBhvr>
                                            <p:cTn id="39" dur="250" autoRev="1" fill="hold"/>
                                            <p:tgtEl>
                                              <p:spTgt spid="13"/>
                                            </p:tgtEl>
                                          </p:cBhvr>
                                          <p:by x="105000" y="105000"/>
                                        </p:animScale>
                                      </p:childTnLst>
                                      <p:subTnLst>
                                        <p:audio>
                                          <p:cMediaNode vol="80000">
                                            <p:cTn display="0" masterRel="sameClick">
                                              <p:stCondLst>
                                                <p:cond evt="begin" delay="0">
                                                  <p:tn val="37"/>
                                                </p:cond>
                                              </p:stCondLst>
                                              <p:endCondLst>
                                                <p:cond evt="onStopAudio" delay="0">
                                                  <p:tgtEl>
                                                    <p:sldTgt/>
                                                  </p:tgtEl>
                                                </p:cond>
                                              </p:endCondLst>
                                            </p:cTn>
                                            <p:tgtEl>
                                              <p:sndTgt r:embed="rId3" name="AmHetGio.wav"/>
                                            </p:tgtEl>
                                          </p:cMediaNode>
                                        </p:audio>
                                      </p:subTnLst>
                                    </p:cTn>
                                  </p:par>
                                  <p:par>
                                    <p:cTn id="40" presetID="6" presetClass="emph" presetSubtype="0" fill="hold" nodeType="withEffect">
                                      <p:stCondLst>
                                        <p:cond delay="0"/>
                                      </p:stCondLst>
                                      <p:childTnLst>
                                        <p:animScale>
                                          <p:cBhvr>
                                            <p:cTn id="41" dur="10000" fill="hold"/>
                                            <p:tgtEl>
                                              <p:spTgt spid="16"/>
                                            </p:tgtEl>
                                          </p:cBhvr>
                                          <p:by x="150000" y="150000"/>
                                        </p:animScale>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0"/>
                                      </p:stCondLst>
                                      <p:childTnLst>
                                        <p:set>
                                          <p:cBhvr>
                                            <p:cTn id="45" dur="1" fill="hold">
                                              <p:stCondLst>
                                                <p:cond delay="0"/>
                                              </p:stCondLst>
                                            </p:cTn>
                                            <p:tgtEl>
                                              <p:spTgt spid="9"/>
                                            </p:tgtEl>
                                            <p:attrNameLst>
                                              <p:attrName>style.visibility</p:attrName>
                                            </p:attrNameLst>
                                          </p:cBhvr>
                                          <p:to>
                                            <p:strVal val="visible"/>
                                          </p:to>
                                        </p:set>
                                        <p:animEffect transition="in" filter="fade">
                                          <p:cBhvr>
                                            <p:cTn id="46" dur="1000"/>
                                            <p:tgtEl>
                                              <p:spTgt spid="9"/>
                                            </p:tgtEl>
                                          </p:cBhvr>
                                        </p:animEffect>
                                        <p:anim calcmode="lin" valueType="num">
                                          <p:cBhvr>
                                            <p:cTn id="47" dur="1000" fill="hold"/>
                                            <p:tgtEl>
                                              <p:spTgt spid="9"/>
                                            </p:tgtEl>
                                            <p:attrNameLst>
                                              <p:attrName>ppt_x</p:attrName>
                                            </p:attrNameLst>
                                          </p:cBhvr>
                                          <p:tavLst>
                                            <p:tav tm="0">
                                              <p:val>
                                                <p:strVal val="#ppt_x"/>
                                              </p:val>
                                            </p:tav>
                                            <p:tav tm="100000">
                                              <p:val>
                                                <p:strVal val="#ppt_x"/>
                                              </p:val>
                                            </p:tav>
                                          </p:tavLst>
                                        </p:anim>
                                        <p:anim calcmode="lin" valueType="num">
                                          <p:cBhvr>
                                            <p:cTn id="48" dur="1000" fill="hold"/>
                                            <p:tgtEl>
                                              <p:spTgt spid="9"/>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fade">
                                          <p:cBhvr>
                                            <p:cTn id="51" dur="1000"/>
                                            <p:tgtEl>
                                              <p:spTgt spid="10"/>
                                            </p:tgtEl>
                                          </p:cBhvr>
                                        </p:animEffect>
                                        <p:anim calcmode="lin" valueType="num">
                                          <p:cBhvr>
                                            <p:cTn id="52" dur="1000" fill="hold"/>
                                            <p:tgtEl>
                                              <p:spTgt spid="10"/>
                                            </p:tgtEl>
                                            <p:attrNameLst>
                                              <p:attrName>ppt_x</p:attrName>
                                            </p:attrNameLst>
                                          </p:cBhvr>
                                          <p:tavLst>
                                            <p:tav tm="0">
                                              <p:val>
                                                <p:strVal val="#ppt_x"/>
                                              </p:val>
                                            </p:tav>
                                            <p:tav tm="100000">
                                              <p:val>
                                                <p:strVal val="#ppt_x"/>
                                              </p:val>
                                            </p:tav>
                                          </p:tavLst>
                                        </p:anim>
                                        <p:anim calcmode="lin" valueType="num">
                                          <p:cBhvr>
                                            <p:cTn id="53" dur="1000" fill="hold"/>
                                            <p:tgtEl>
                                              <p:spTgt spid="10"/>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anim calcmode="lin" valueType="num">
                                          <p:cBhvr>
                                            <p:cTn id="57" dur="1000" fill="hold"/>
                                            <p:tgtEl>
                                              <p:spTgt spid="21"/>
                                            </p:tgtEl>
                                            <p:attrNameLst>
                                              <p:attrName>ppt_x</p:attrName>
                                            </p:attrNameLst>
                                          </p:cBhvr>
                                          <p:tavLst>
                                            <p:tav tm="0">
                                              <p:val>
                                                <p:strVal val="#ppt_x"/>
                                              </p:val>
                                            </p:tav>
                                            <p:tav tm="100000">
                                              <p:val>
                                                <p:strVal val="#ppt_x"/>
                                              </p:val>
                                            </p:tav>
                                          </p:tavLst>
                                        </p:anim>
                                        <p:anim calcmode="lin" valueType="num">
                                          <p:cBhvr>
                                            <p:cTn id="58" dur="1000" fill="hold"/>
                                            <p:tgtEl>
                                              <p:spTgt spid="21"/>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22"/>
                                            </p:tgtEl>
                                            <p:attrNameLst>
                                              <p:attrName>style.visibility</p:attrName>
                                            </p:attrNameLst>
                                          </p:cBhvr>
                                          <p:to>
                                            <p:strVal val="visible"/>
                                          </p:to>
                                        </p:set>
                                        <p:animEffect transition="in" filter="fade">
                                          <p:cBhvr>
                                            <p:cTn id="61" dur="1000"/>
                                            <p:tgtEl>
                                              <p:spTgt spid="22"/>
                                            </p:tgtEl>
                                          </p:cBhvr>
                                        </p:animEffect>
                                        <p:anim calcmode="lin" valueType="num">
                                          <p:cBhvr>
                                            <p:cTn id="62" dur="1000" fill="hold"/>
                                            <p:tgtEl>
                                              <p:spTgt spid="22"/>
                                            </p:tgtEl>
                                            <p:attrNameLst>
                                              <p:attrName>ppt_x</p:attrName>
                                            </p:attrNameLst>
                                          </p:cBhvr>
                                          <p:tavLst>
                                            <p:tav tm="0">
                                              <p:val>
                                                <p:strVal val="#ppt_x"/>
                                              </p:val>
                                            </p:tav>
                                            <p:tav tm="100000">
                                              <p:val>
                                                <p:strVal val="#ppt_x"/>
                                              </p:val>
                                            </p:tav>
                                          </p:tavLst>
                                        </p:anim>
                                        <p:anim calcmode="lin" valueType="num">
                                          <p:cBhvr>
                                            <p:cTn id="63" dur="1000" fill="hold"/>
                                            <p:tgtEl>
                                              <p:spTgt spid="22"/>
                                            </p:tgtEl>
                                            <p:attrNameLst>
                                              <p:attrName>ppt_y</p:attrName>
                                            </p:attrNameLst>
                                          </p:cBhvr>
                                          <p:tavLst>
                                            <p:tav tm="0">
                                              <p:val>
                                                <p:strVal val="#ppt_y+.1"/>
                                              </p:val>
                                            </p:tav>
                                            <p:tav tm="100000">
                                              <p:val>
                                                <p:strVal val="#ppt_y"/>
                                              </p:val>
                                            </p:tav>
                                          </p:tavLst>
                                        </p:anim>
                                      </p:childTnLst>
                                    </p:cTn>
                                  </p:par>
                                  <p:par>
                                    <p:cTn id="64" presetID="16" presetClass="entr" presetSubtype="21" fill="hold" nodeType="withEffect">
                                      <p:stCondLst>
                                        <p:cond delay="0"/>
                                      </p:stCondLst>
                                      <p:childTnLst>
                                        <p:set>
                                          <p:cBhvr>
                                            <p:cTn id="65" dur="1" fill="hold">
                                              <p:stCondLst>
                                                <p:cond delay="0"/>
                                              </p:stCondLst>
                                            </p:cTn>
                                            <p:tgtEl>
                                              <p:spTgt spid="3"/>
                                            </p:tgtEl>
                                            <p:attrNameLst>
                                              <p:attrName>style.visibility</p:attrName>
                                            </p:attrNameLst>
                                          </p:cBhvr>
                                          <p:to>
                                            <p:strVal val="visible"/>
                                          </p:to>
                                        </p:set>
                                        <p:animEffect transition="in" filter="barn(inVertical)">
                                          <p:cBhvr>
                                            <p:cTn id="66" dur="500"/>
                                            <p:tgtEl>
                                              <p:spTgt spid="3"/>
                                            </p:tgtEl>
                                          </p:cBhvr>
                                        </p:animEffect>
                                      </p:childTnLst>
                                    </p:cTn>
                                  </p:par>
                                  <p:par>
                                    <p:cTn id="67" presetID="16" presetClass="entr" presetSubtype="21" fill="hold" nodeType="withEffect">
                                      <p:stCondLst>
                                        <p:cond delay="0"/>
                                      </p:stCondLst>
                                      <p:childTnLst>
                                        <p:set>
                                          <p:cBhvr>
                                            <p:cTn id="68" dur="1" fill="hold">
                                              <p:stCondLst>
                                                <p:cond delay="0"/>
                                              </p:stCondLst>
                                            </p:cTn>
                                            <p:tgtEl>
                                              <p:spTgt spid="5"/>
                                            </p:tgtEl>
                                            <p:attrNameLst>
                                              <p:attrName>style.visibility</p:attrName>
                                            </p:attrNameLst>
                                          </p:cBhvr>
                                          <p:to>
                                            <p:strVal val="visible"/>
                                          </p:to>
                                        </p:set>
                                        <p:animEffect transition="in" filter="barn(inVertical)">
                                          <p:cBhvr>
                                            <p:cTn id="69" dur="500"/>
                                            <p:tgtEl>
                                              <p:spTgt spid="5"/>
                                            </p:tgtEl>
                                          </p:cBhvr>
                                        </p:animEffect>
                                      </p:childTnLst>
                                    </p:cTn>
                                  </p:par>
                                  <p:par>
                                    <p:cTn id="70" presetID="16" presetClass="entr" presetSubtype="21" fill="hold" nodeType="withEffect">
                                      <p:stCondLst>
                                        <p:cond delay="0"/>
                                      </p:stCondLst>
                                      <p:childTnLst>
                                        <p:set>
                                          <p:cBhvr>
                                            <p:cTn id="71" dur="1" fill="hold">
                                              <p:stCondLst>
                                                <p:cond delay="0"/>
                                              </p:stCondLst>
                                            </p:cTn>
                                            <p:tgtEl>
                                              <p:spTgt spid="7"/>
                                            </p:tgtEl>
                                            <p:attrNameLst>
                                              <p:attrName>style.visibility</p:attrName>
                                            </p:attrNameLst>
                                          </p:cBhvr>
                                          <p:to>
                                            <p:strVal val="visible"/>
                                          </p:to>
                                        </p:set>
                                        <p:animEffect transition="in" filter="barn(inVertical)">
                                          <p:cBhvr>
                                            <p:cTn id="72" dur="500"/>
                                            <p:tgtEl>
                                              <p:spTgt spid="7"/>
                                            </p:tgtEl>
                                          </p:cBhvr>
                                        </p:animEffect>
                                      </p:childTnLst>
                                    </p:cTn>
                                  </p:par>
                                  <p:par>
                                    <p:cTn id="73" presetID="16" presetClass="entr" presetSubtype="21" fill="hold" nodeType="withEffect">
                                      <p:stCondLst>
                                        <p:cond delay="0"/>
                                      </p:stCondLst>
                                      <p:childTnLst>
                                        <p:set>
                                          <p:cBhvr>
                                            <p:cTn id="74" dur="1" fill="hold">
                                              <p:stCondLst>
                                                <p:cond delay="0"/>
                                              </p:stCondLst>
                                            </p:cTn>
                                            <p:tgtEl>
                                              <p:spTgt spid="8"/>
                                            </p:tgtEl>
                                            <p:attrNameLst>
                                              <p:attrName>style.visibility</p:attrName>
                                            </p:attrNameLst>
                                          </p:cBhvr>
                                          <p:to>
                                            <p:strVal val="visible"/>
                                          </p:to>
                                        </p:set>
                                        <p:animEffect transition="in" filter="barn(inVertical)">
                                          <p:cBhvr>
                                            <p:cTn id="75" dur="500"/>
                                            <p:tgtEl>
                                              <p:spTgt spid="8"/>
                                            </p:tgtEl>
                                          </p:cBhvr>
                                        </p:animEffect>
                                      </p:childTnLst>
                                    </p:cTn>
                                  </p:par>
                                  <p:par>
                                    <p:cTn id="76" presetID="16" presetClass="entr" presetSubtype="21" fill="hold" grpId="0" nodeType="withEffect">
                                      <p:stCondLst>
                                        <p:cond delay="0"/>
                                      </p:stCondLst>
                                      <p:childTnLst>
                                        <p:set>
                                          <p:cBhvr>
                                            <p:cTn id="77" dur="1" fill="hold">
                                              <p:stCondLst>
                                                <p:cond delay="0"/>
                                              </p:stCondLst>
                                            </p:cTn>
                                            <p:tgtEl>
                                              <p:spTgt spid="2"/>
                                            </p:tgtEl>
                                            <p:attrNameLst>
                                              <p:attrName>style.visibility</p:attrName>
                                            </p:attrNameLst>
                                          </p:cBhvr>
                                          <p:to>
                                            <p:strVal val="visible"/>
                                          </p:to>
                                        </p:set>
                                        <p:animEffect transition="in" filter="barn(inVertical)">
                                          <p:cBhvr>
                                            <p:cTn id="78" dur="500"/>
                                            <p:tgtEl>
                                              <p:spTgt spid="2"/>
                                            </p:tgtEl>
                                          </p:cBhvr>
                                        </p:animEffect>
                                      </p:childTnLst>
                                    </p:cTn>
                                  </p:par>
                                  <p:par>
                                    <p:cTn id="79" presetID="16" presetClass="entr" presetSubtype="21" fill="hold" grpId="0" nodeType="withEffect">
                                      <p:stCondLst>
                                        <p:cond delay="0"/>
                                      </p:stCondLst>
                                      <p:childTnLst>
                                        <p:set>
                                          <p:cBhvr>
                                            <p:cTn id="80" dur="1" fill="hold">
                                              <p:stCondLst>
                                                <p:cond delay="0"/>
                                              </p:stCondLst>
                                            </p:cTn>
                                            <p:tgtEl>
                                              <p:spTgt spid="4"/>
                                            </p:tgtEl>
                                            <p:attrNameLst>
                                              <p:attrName>style.visibility</p:attrName>
                                            </p:attrNameLst>
                                          </p:cBhvr>
                                          <p:to>
                                            <p:strVal val="visible"/>
                                          </p:to>
                                        </p:set>
                                        <p:animEffect transition="in" filter="barn(inVertical)">
                                          <p:cBhvr>
                                            <p:cTn id="81" dur="500"/>
                                            <p:tgtEl>
                                              <p:spTgt spid="4"/>
                                            </p:tgtEl>
                                          </p:cBhvr>
                                        </p:animEffect>
                                      </p:childTnLst>
                                    </p:cTn>
                                  </p:par>
                                  <p:par>
                                    <p:cTn id="82" presetID="16" presetClass="entr" presetSubtype="21" fill="hold" grpId="0" nodeType="withEffect">
                                      <p:stCondLst>
                                        <p:cond delay="0"/>
                                      </p:stCondLst>
                                      <p:childTnLst>
                                        <p:set>
                                          <p:cBhvr>
                                            <p:cTn id="83" dur="1" fill="hold">
                                              <p:stCondLst>
                                                <p:cond delay="0"/>
                                              </p:stCondLst>
                                            </p:cTn>
                                            <p:tgtEl>
                                              <p:spTgt spid="24"/>
                                            </p:tgtEl>
                                            <p:attrNameLst>
                                              <p:attrName>style.visibility</p:attrName>
                                            </p:attrNameLst>
                                          </p:cBhvr>
                                          <p:to>
                                            <p:strVal val="visible"/>
                                          </p:to>
                                        </p:set>
                                        <p:animEffect transition="in" filter="barn(inVertical)">
                                          <p:cBhvr>
                                            <p:cTn id="84" dur="500"/>
                                            <p:tgtEl>
                                              <p:spTgt spid="24"/>
                                            </p:tgtEl>
                                          </p:cBhvr>
                                        </p:animEffect>
                                      </p:childTnLst>
                                    </p:cTn>
                                  </p:par>
                                  <p:par>
                                    <p:cTn id="85" presetID="16" presetClass="entr" presetSubtype="21" fill="hold" grpId="0" nodeType="withEffect">
                                      <p:stCondLst>
                                        <p:cond delay="0"/>
                                      </p:stCondLst>
                                      <p:childTnLst>
                                        <p:set>
                                          <p:cBhvr>
                                            <p:cTn id="86" dur="1" fill="hold">
                                              <p:stCondLst>
                                                <p:cond delay="0"/>
                                              </p:stCondLst>
                                            </p:cTn>
                                            <p:tgtEl>
                                              <p:spTgt spid="30"/>
                                            </p:tgtEl>
                                            <p:attrNameLst>
                                              <p:attrName>style.visibility</p:attrName>
                                            </p:attrNameLst>
                                          </p:cBhvr>
                                          <p:to>
                                            <p:strVal val="visible"/>
                                          </p:to>
                                        </p:set>
                                        <p:animEffect transition="in" filter="barn(inVertical)">
                                          <p:cBhvr>
                                            <p:cTn id="8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88" restart="whenNotActive" fill="hold" evtFilter="cancelBubble" nodeType="interactiveSeq">
                    <p:stCondLst>
                      <p:cond evt="onClick" delay="0">
                        <p:tgtEl>
                          <p:spTgt spid="12"/>
                        </p:tgtEl>
                      </p:cond>
                    </p:stCondLst>
                    <p:endSync evt="end" delay="0">
                      <p:rtn val="all"/>
                    </p:endSync>
                    <p:childTnLst>
                      <p:par>
                        <p:cTn id="89" fill="hold">
                          <p:stCondLst>
                            <p:cond delay="0"/>
                          </p:stCondLst>
                          <p:childTnLst>
                            <p:par>
                              <p:cTn id="90" fill="hold">
                                <p:stCondLst>
                                  <p:cond delay="0"/>
                                </p:stCondLst>
                                <p:childTnLst>
                                  <p:par>
                                    <p:cTn id="91" presetID="1" presetClass="emph" presetSubtype="2" fill="hold" nodeType="clickEffect">
                                      <p:stCondLst>
                                        <p:cond delay="0"/>
                                      </p:stCondLst>
                                      <p:childTnLst>
                                        <p:animClr clrSpc="rgb" dir="cw">
                                          <p:cBhvr>
                                            <p:cTn id="92" dur="500" fill="hold"/>
                                            <p:tgtEl>
                                              <p:spTgt spid="12"/>
                                            </p:tgtEl>
                                            <p:attrNameLst>
                                              <p:attrName>fillcolor</p:attrName>
                                            </p:attrNameLst>
                                          </p:cBhvr>
                                          <p:to>
                                            <a:srgbClr val="FCECD0"/>
                                          </p:to>
                                        </p:animClr>
                                        <p:set>
                                          <p:cBhvr>
                                            <p:cTn id="93" dur="500" fill="hold"/>
                                            <p:tgtEl>
                                              <p:spTgt spid="12"/>
                                            </p:tgtEl>
                                            <p:attrNameLst>
                                              <p:attrName>fill.type</p:attrName>
                                            </p:attrNameLst>
                                          </p:cBhvr>
                                          <p:to>
                                            <p:strVal val="solid"/>
                                          </p:to>
                                        </p:set>
                                        <p:set>
                                          <p:cBhvr>
                                            <p:cTn id="94" dur="500" fill="hold"/>
                                            <p:tgtEl>
                                              <p:spTgt spid="12"/>
                                            </p:tgtEl>
                                            <p:attrNameLst>
                                              <p:attrName>fill.on</p:attrName>
                                            </p:attrNameLst>
                                          </p:cBhvr>
                                          <p:to>
                                            <p:strVal val="true"/>
                                          </p:to>
                                        </p:set>
                                      </p:childTnLst>
                                    </p:cTn>
                                  </p:par>
                                  <p:par>
                                    <p:cTn id="95" presetID="23" presetClass="entr" presetSubtype="32" fill="hold" nodeType="withEffect">
                                      <p:stCondLst>
                                        <p:cond delay="1500"/>
                                      </p:stCondLst>
                                      <p:childTnLst>
                                        <p:set>
                                          <p:cBhvr>
                                            <p:cTn id="96" dur="1" fill="hold">
                                              <p:stCondLst>
                                                <p:cond delay="0"/>
                                              </p:stCondLst>
                                            </p:cTn>
                                            <p:tgtEl>
                                              <p:spTgt spid="14"/>
                                            </p:tgtEl>
                                            <p:attrNameLst>
                                              <p:attrName>style.visibility</p:attrName>
                                            </p:attrNameLst>
                                          </p:cBhvr>
                                          <p:to>
                                            <p:strVal val="visible"/>
                                          </p:to>
                                        </p:set>
                                        <p:anim calcmode="lin" valueType="num">
                                          <p:cBhvr>
                                            <p:cTn id="97" dur="250" fill="hold"/>
                                            <p:tgtEl>
                                              <p:spTgt spid="14"/>
                                            </p:tgtEl>
                                            <p:attrNameLst>
                                              <p:attrName>ppt_w</p:attrName>
                                            </p:attrNameLst>
                                          </p:cBhvr>
                                          <p:tavLst>
                                            <p:tav tm="0">
                                              <p:val>
                                                <p:strVal val="4*#ppt_w"/>
                                              </p:val>
                                            </p:tav>
                                            <p:tav tm="100000">
                                              <p:val>
                                                <p:strVal val="#ppt_w"/>
                                              </p:val>
                                            </p:tav>
                                          </p:tavLst>
                                        </p:anim>
                                        <p:anim calcmode="lin" valueType="num">
                                          <p:cBhvr>
                                            <p:cTn id="98" dur="250" fill="hold"/>
                                            <p:tgtEl>
                                              <p:spTgt spid="14"/>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95"/>
                                                </p:cond>
                                              </p:stCondLst>
                                              <p:endCondLst>
                                                <p:cond evt="onStopAudio" delay="0">
                                                  <p:tgtEl>
                                                    <p:sldTgt/>
                                                  </p:tgtEl>
                                                </p:cond>
                                              </p:endCondLst>
                                            </p:cTn>
                                            <p:tgtEl>
                                              <p:sndTgt r:embed="rId4" name="Wrong Buzzer.wav"/>
                                            </p:tgtEl>
                                          </p:cMediaNode>
                                        </p:audio>
                                      </p:subTnLst>
                                    </p:cTn>
                                  </p:par>
                                  <p:par>
                                    <p:cTn id="99" presetID="1" presetClass="emph" presetSubtype="2" fill="hold" nodeType="withEffect">
                                      <p:stCondLst>
                                        <p:cond delay="1500"/>
                                      </p:stCondLst>
                                      <p:childTnLst>
                                        <p:animClr clrSpc="rgb" dir="cw">
                                          <p:cBhvr>
                                            <p:cTn id="100" dur="250" fill="hold"/>
                                            <p:tgtEl>
                                              <p:spTgt spid="12"/>
                                            </p:tgtEl>
                                            <p:attrNameLst>
                                              <p:attrName>fillcolor</p:attrName>
                                            </p:attrNameLst>
                                          </p:cBhvr>
                                          <p:to>
                                            <a:srgbClr val="ED5565"/>
                                          </p:to>
                                        </p:animClr>
                                        <p:set>
                                          <p:cBhvr>
                                            <p:cTn id="101" dur="250" fill="hold"/>
                                            <p:tgtEl>
                                              <p:spTgt spid="12"/>
                                            </p:tgtEl>
                                            <p:attrNameLst>
                                              <p:attrName>fill.type</p:attrName>
                                            </p:attrNameLst>
                                          </p:cBhvr>
                                          <p:to>
                                            <p:strVal val="solid"/>
                                          </p:to>
                                        </p:set>
                                        <p:set>
                                          <p:cBhvr>
                                            <p:cTn id="102" dur="250" fill="hold"/>
                                            <p:tgtEl>
                                              <p:spTgt spid="12"/>
                                            </p:tgtEl>
                                            <p:attrNameLst>
                                              <p:attrName>fill.on</p:attrName>
                                            </p:attrNameLst>
                                          </p:cBhvr>
                                          <p:to>
                                            <p:strVal val="true"/>
                                          </p:to>
                                        </p:set>
                                      </p:childTnLst>
                                    </p:cTn>
                                  </p:par>
                                </p:childTnLst>
                              </p:cTn>
                            </p:par>
                          </p:childTnLst>
                        </p:cTn>
                      </p:par>
                    </p:childTnLst>
                  </p:cTn>
                  <p:nextCondLst>
                    <p:cond evt="onClick" delay="0">
                      <p:tgtEl>
                        <p:spTgt spid="12"/>
                      </p:tgtEl>
                    </p:cond>
                  </p:nextCondLst>
                </p:seq>
                <p:seq concurrent="1" nextAc="seek">
                  <p:cTn id="103" restart="whenNotActive" fill="hold" evtFilter="cancelBubble" nodeType="interactiveSeq">
                    <p:stCondLst>
                      <p:cond evt="onClick" delay="0">
                        <p:tgtEl>
                          <p:spTgt spid="17"/>
                        </p:tgtEl>
                      </p:cond>
                    </p:stCondLst>
                    <p:endSync evt="end" delay="0">
                      <p:rtn val="all"/>
                    </p:endSync>
                    <p:childTnLst>
                      <p:par>
                        <p:cTn id="104" fill="hold">
                          <p:stCondLst>
                            <p:cond delay="0"/>
                          </p:stCondLst>
                          <p:childTnLst>
                            <p:par>
                              <p:cTn id="105" fill="hold">
                                <p:stCondLst>
                                  <p:cond delay="0"/>
                                </p:stCondLst>
                                <p:childTnLst>
                                  <p:par>
                                    <p:cTn id="106" presetID="1" presetClass="emph" presetSubtype="2" fill="hold" nodeType="clickEffect">
                                      <p:stCondLst>
                                        <p:cond delay="0"/>
                                      </p:stCondLst>
                                      <p:childTnLst>
                                        <p:animClr clrSpc="rgb" dir="cw">
                                          <p:cBhvr>
                                            <p:cTn id="107" dur="500" fill="hold"/>
                                            <p:tgtEl>
                                              <p:spTgt spid="17"/>
                                            </p:tgtEl>
                                            <p:attrNameLst>
                                              <p:attrName>fillcolor</p:attrName>
                                            </p:attrNameLst>
                                          </p:cBhvr>
                                          <p:to>
                                            <a:srgbClr val="FCECD0"/>
                                          </p:to>
                                        </p:animClr>
                                        <p:set>
                                          <p:cBhvr>
                                            <p:cTn id="108" dur="500" fill="hold"/>
                                            <p:tgtEl>
                                              <p:spTgt spid="17"/>
                                            </p:tgtEl>
                                            <p:attrNameLst>
                                              <p:attrName>fill.type</p:attrName>
                                            </p:attrNameLst>
                                          </p:cBhvr>
                                          <p:to>
                                            <p:strVal val="solid"/>
                                          </p:to>
                                        </p:set>
                                        <p:set>
                                          <p:cBhvr>
                                            <p:cTn id="109" dur="500" fill="hold"/>
                                            <p:tgtEl>
                                              <p:spTgt spid="17"/>
                                            </p:tgtEl>
                                            <p:attrNameLst>
                                              <p:attrName>fill.on</p:attrName>
                                            </p:attrNameLst>
                                          </p:cBhvr>
                                          <p:to>
                                            <p:strVal val="true"/>
                                          </p:to>
                                        </p:set>
                                      </p:childTnLst>
                                    </p:cTn>
                                  </p:par>
                                  <p:par>
                                    <p:cTn id="110" presetID="1" presetClass="emph" presetSubtype="2" fill="hold" nodeType="withEffect">
                                      <p:stCondLst>
                                        <p:cond delay="1500"/>
                                      </p:stCondLst>
                                      <p:childTnLst>
                                        <p:animClr clrSpc="rgb" dir="cw">
                                          <p:cBhvr>
                                            <p:cTn id="111" dur="250" fill="hold"/>
                                            <p:tgtEl>
                                              <p:spTgt spid="17"/>
                                            </p:tgtEl>
                                            <p:attrNameLst>
                                              <p:attrName>fillcolor</p:attrName>
                                            </p:attrNameLst>
                                          </p:cBhvr>
                                          <p:to>
                                            <a:srgbClr val="A0D468"/>
                                          </p:to>
                                        </p:animClr>
                                        <p:set>
                                          <p:cBhvr>
                                            <p:cTn id="112" dur="250" fill="hold"/>
                                            <p:tgtEl>
                                              <p:spTgt spid="17"/>
                                            </p:tgtEl>
                                            <p:attrNameLst>
                                              <p:attrName>fill.type</p:attrName>
                                            </p:attrNameLst>
                                          </p:cBhvr>
                                          <p:to>
                                            <p:strVal val="solid"/>
                                          </p:to>
                                        </p:set>
                                        <p:set>
                                          <p:cBhvr>
                                            <p:cTn id="113" dur="250" fill="hold"/>
                                            <p:tgtEl>
                                              <p:spTgt spid="17"/>
                                            </p:tgtEl>
                                            <p:attrNameLst>
                                              <p:attrName>fill.on</p:attrName>
                                            </p:attrNameLst>
                                          </p:cBhvr>
                                          <p:to>
                                            <p:strVal val="true"/>
                                          </p:to>
                                        </p:set>
                                      </p:childTnLst>
                                    </p:cTn>
                                  </p:par>
                                  <p:par>
                                    <p:cTn id="114" presetID="23" presetClass="entr" presetSubtype="32" fill="hold" nodeType="withEffect">
                                      <p:stCondLst>
                                        <p:cond delay="1500"/>
                                      </p:stCondLst>
                                      <p:childTnLst>
                                        <p:set>
                                          <p:cBhvr>
                                            <p:cTn id="115" dur="1" fill="hold">
                                              <p:stCondLst>
                                                <p:cond delay="0"/>
                                              </p:stCondLst>
                                            </p:cTn>
                                            <p:tgtEl>
                                              <p:spTgt spid="28"/>
                                            </p:tgtEl>
                                            <p:attrNameLst>
                                              <p:attrName>style.visibility</p:attrName>
                                            </p:attrNameLst>
                                          </p:cBhvr>
                                          <p:to>
                                            <p:strVal val="visible"/>
                                          </p:to>
                                        </p:set>
                                        <p:anim calcmode="lin" valueType="num">
                                          <p:cBhvr>
                                            <p:cTn id="116" dur="250" fill="hold"/>
                                            <p:tgtEl>
                                              <p:spTgt spid="28"/>
                                            </p:tgtEl>
                                            <p:attrNameLst>
                                              <p:attrName>ppt_w</p:attrName>
                                            </p:attrNameLst>
                                          </p:cBhvr>
                                          <p:tavLst>
                                            <p:tav tm="0">
                                              <p:val>
                                                <p:strVal val="4*#ppt_w"/>
                                              </p:val>
                                            </p:tav>
                                            <p:tav tm="100000">
                                              <p:val>
                                                <p:strVal val="#ppt_w"/>
                                              </p:val>
                                            </p:tav>
                                          </p:tavLst>
                                        </p:anim>
                                        <p:anim calcmode="lin" valueType="num">
                                          <p:cBhvr>
                                            <p:cTn id="117" dur="250" fill="hold"/>
                                            <p:tgtEl>
                                              <p:spTgt spid="28"/>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114"/>
                                                </p:cond>
                                              </p:stCondLst>
                                              <p:endCondLst>
                                                <p:cond evt="onStopAudio" delay="0">
                                                  <p:tgtEl>
                                                    <p:sldTgt/>
                                                  </p:tgtEl>
                                                </p:cond>
                                              </p:endCondLst>
                                            </p:cTn>
                                            <p:tgtEl>
                                              <p:sndTgt r:embed="rId5" name="Check mark.wav"/>
                                            </p:tgtEl>
                                          </p:cMediaNode>
                                        </p:audio>
                                      </p:subTnLst>
                                    </p:cTn>
                                  </p:par>
                                </p:childTnLst>
                              </p:cTn>
                            </p:par>
                          </p:childTnLst>
                        </p:cTn>
                      </p:par>
                    </p:childTnLst>
                  </p:cTn>
                  <p:nextCondLst>
                    <p:cond evt="onClick" delay="0">
                      <p:tgtEl>
                        <p:spTgt spid="17"/>
                      </p:tgtEl>
                    </p:cond>
                  </p:nextCondLst>
                </p:seq>
                <p:seq concurrent="1" nextAc="seek">
                  <p:cTn id="118" restart="whenNotActive" fill="hold" evtFilter="cancelBubble" nodeType="interactiveSeq">
                    <p:stCondLst>
                      <p:cond evt="onClick" delay="0">
                        <p:tgtEl>
                          <p:spTgt spid="18"/>
                        </p:tgtEl>
                      </p:cond>
                    </p:stCondLst>
                    <p:endSync evt="end" delay="0">
                      <p:rtn val="all"/>
                    </p:endSync>
                    <p:childTnLst>
                      <p:par>
                        <p:cTn id="119" fill="hold">
                          <p:stCondLst>
                            <p:cond delay="0"/>
                          </p:stCondLst>
                          <p:childTnLst>
                            <p:par>
                              <p:cTn id="120" fill="hold">
                                <p:stCondLst>
                                  <p:cond delay="0"/>
                                </p:stCondLst>
                                <p:childTnLst>
                                  <p:par>
                                    <p:cTn id="121" presetID="1" presetClass="emph" presetSubtype="2" fill="hold" nodeType="clickEffect">
                                      <p:stCondLst>
                                        <p:cond delay="0"/>
                                      </p:stCondLst>
                                      <p:childTnLst>
                                        <p:animClr clrSpc="rgb" dir="cw">
                                          <p:cBhvr>
                                            <p:cTn id="122" dur="500" fill="hold"/>
                                            <p:tgtEl>
                                              <p:spTgt spid="18"/>
                                            </p:tgtEl>
                                            <p:attrNameLst>
                                              <p:attrName>fillcolor</p:attrName>
                                            </p:attrNameLst>
                                          </p:cBhvr>
                                          <p:to>
                                            <a:srgbClr val="FCECD0"/>
                                          </p:to>
                                        </p:animClr>
                                        <p:set>
                                          <p:cBhvr>
                                            <p:cTn id="123" dur="500" fill="hold"/>
                                            <p:tgtEl>
                                              <p:spTgt spid="18"/>
                                            </p:tgtEl>
                                            <p:attrNameLst>
                                              <p:attrName>fill.type</p:attrName>
                                            </p:attrNameLst>
                                          </p:cBhvr>
                                          <p:to>
                                            <p:strVal val="solid"/>
                                          </p:to>
                                        </p:set>
                                        <p:set>
                                          <p:cBhvr>
                                            <p:cTn id="124" dur="500" fill="hold"/>
                                            <p:tgtEl>
                                              <p:spTgt spid="18"/>
                                            </p:tgtEl>
                                            <p:attrNameLst>
                                              <p:attrName>fill.on</p:attrName>
                                            </p:attrNameLst>
                                          </p:cBhvr>
                                          <p:to>
                                            <p:strVal val="true"/>
                                          </p:to>
                                        </p:set>
                                      </p:childTnLst>
                                    </p:cTn>
                                  </p:par>
                                  <p:par>
                                    <p:cTn id="125" presetID="1" presetClass="emph" presetSubtype="2" fill="hold" nodeType="withEffect">
                                      <p:stCondLst>
                                        <p:cond delay="1500"/>
                                      </p:stCondLst>
                                      <p:childTnLst>
                                        <p:animClr clrSpc="rgb" dir="cw">
                                          <p:cBhvr>
                                            <p:cTn id="126" dur="250" fill="hold"/>
                                            <p:tgtEl>
                                              <p:spTgt spid="18"/>
                                            </p:tgtEl>
                                            <p:attrNameLst>
                                              <p:attrName>fillcolor</p:attrName>
                                            </p:attrNameLst>
                                          </p:cBhvr>
                                          <p:to>
                                            <a:srgbClr val="ED5565"/>
                                          </p:to>
                                        </p:animClr>
                                        <p:set>
                                          <p:cBhvr>
                                            <p:cTn id="127" dur="250" fill="hold"/>
                                            <p:tgtEl>
                                              <p:spTgt spid="18"/>
                                            </p:tgtEl>
                                            <p:attrNameLst>
                                              <p:attrName>fill.type</p:attrName>
                                            </p:attrNameLst>
                                          </p:cBhvr>
                                          <p:to>
                                            <p:strVal val="solid"/>
                                          </p:to>
                                        </p:set>
                                        <p:set>
                                          <p:cBhvr>
                                            <p:cTn id="128" dur="250" fill="hold"/>
                                            <p:tgtEl>
                                              <p:spTgt spid="18"/>
                                            </p:tgtEl>
                                            <p:attrNameLst>
                                              <p:attrName>fill.on</p:attrName>
                                            </p:attrNameLst>
                                          </p:cBhvr>
                                          <p:to>
                                            <p:strVal val="true"/>
                                          </p:to>
                                        </p:set>
                                      </p:childTnLst>
                                    </p:cTn>
                                  </p:par>
                                  <p:par>
                                    <p:cTn id="129" presetID="23" presetClass="entr" presetSubtype="32" fill="hold" nodeType="withEffect">
                                      <p:stCondLst>
                                        <p:cond delay="1500"/>
                                      </p:stCondLst>
                                      <p:childTnLst>
                                        <p:set>
                                          <p:cBhvr>
                                            <p:cTn id="130" dur="1" fill="hold">
                                              <p:stCondLst>
                                                <p:cond delay="0"/>
                                              </p:stCondLst>
                                            </p:cTn>
                                            <p:tgtEl>
                                              <p:spTgt spid="29"/>
                                            </p:tgtEl>
                                            <p:attrNameLst>
                                              <p:attrName>style.visibility</p:attrName>
                                            </p:attrNameLst>
                                          </p:cBhvr>
                                          <p:to>
                                            <p:strVal val="visible"/>
                                          </p:to>
                                        </p:set>
                                        <p:anim calcmode="lin" valueType="num">
                                          <p:cBhvr>
                                            <p:cTn id="131" dur="250" fill="hold"/>
                                            <p:tgtEl>
                                              <p:spTgt spid="29"/>
                                            </p:tgtEl>
                                            <p:attrNameLst>
                                              <p:attrName>ppt_w</p:attrName>
                                            </p:attrNameLst>
                                          </p:cBhvr>
                                          <p:tavLst>
                                            <p:tav tm="0">
                                              <p:val>
                                                <p:strVal val="4*#ppt_w"/>
                                              </p:val>
                                            </p:tav>
                                            <p:tav tm="100000">
                                              <p:val>
                                                <p:strVal val="#ppt_w"/>
                                              </p:val>
                                            </p:tav>
                                          </p:tavLst>
                                        </p:anim>
                                        <p:anim calcmode="lin" valueType="num">
                                          <p:cBhvr>
                                            <p:cTn id="132" dur="250" fill="hold"/>
                                            <p:tgtEl>
                                              <p:spTgt spid="29"/>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129"/>
                                                </p:cond>
                                              </p:stCondLst>
                                              <p:endCondLst>
                                                <p:cond evt="onStopAudio" delay="0">
                                                  <p:tgtEl>
                                                    <p:sldTgt/>
                                                  </p:tgtEl>
                                                </p:cond>
                                              </p:endCondLst>
                                            </p:cTn>
                                            <p:tgtEl>
                                              <p:sndTgt r:embed="rId4" name="Wrong Buzzer.wav"/>
                                            </p:tgtEl>
                                          </p:cMediaNode>
                                        </p:audio>
                                      </p:subTnLst>
                                    </p:cTn>
                                  </p:par>
                                </p:childTnLst>
                              </p:cTn>
                            </p:par>
                          </p:childTnLst>
                        </p:cTn>
                      </p:par>
                    </p:childTnLst>
                  </p:cTn>
                  <p:nextCondLst>
                    <p:cond evt="onClick" delay="0">
                      <p:tgtEl>
                        <p:spTgt spid="18"/>
                      </p:tgtEl>
                    </p:cond>
                  </p:nextCondLst>
                </p:seq>
                <p:seq concurrent="1" nextAc="seek">
                  <p:cTn id="133" restart="whenNotActive" fill="hold" evtFilter="cancelBubble" nodeType="interactiveSeq">
                    <p:stCondLst>
                      <p:cond evt="onClick" delay="0">
                        <p:tgtEl>
                          <p:spTgt spid="19"/>
                        </p:tgtEl>
                      </p:cond>
                    </p:stCondLst>
                    <p:endSync evt="end" delay="0">
                      <p:rtn val="all"/>
                    </p:endSync>
                    <p:childTnLst>
                      <p:par>
                        <p:cTn id="134" fill="hold">
                          <p:stCondLst>
                            <p:cond delay="0"/>
                          </p:stCondLst>
                          <p:childTnLst>
                            <p:par>
                              <p:cTn id="135" fill="hold">
                                <p:stCondLst>
                                  <p:cond delay="0"/>
                                </p:stCondLst>
                                <p:childTnLst>
                                  <p:par>
                                    <p:cTn id="136" presetID="1" presetClass="emph" presetSubtype="2" fill="hold" nodeType="clickEffect">
                                      <p:stCondLst>
                                        <p:cond delay="0"/>
                                      </p:stCondLst>
                                      <p:childTnLst>
                                        <p:animClr clrSpc="rgb" dir="cw">
                                          <p:cBhvr>
                                            <p:cTn id="137" dur="500" fill="hold"/>
                                            <p:tgtEl>
                                              <p:spTgt spid="19"/>
                                            </p:tgtEl>
                                            <p:attrNameLst>
                                              <p:attrName>fillcolor</p:attrName>
                                            </p:attrNameLst>
                                          </p:cBhvr>
                                          <p:to>
                                            <a:srgbClr val="FCECD0"/>
                                          </p:to>
                                        </p:animClr>
                                        <p:set>
                                          <p:cBhvr>
                                            <p:cTn id="138" dur="500" fill="hold"/>
                                            <p:tgtEl>
                                              <p:spTgt spid="19"/>
                                            </p:tgtEl>
                                            <p:attrNameLst>
                                              <p:attrName>fill.type</p:attrName>
                                            </p:attrNameLst>
                                          </p:cBhvr>
                                          <p:to>
                                            <p:strVal val="solid"/>
                                          </p:to>
                                        </p:set>
                                        <p:set>
                                          <p:cBhvr>
                                            <p:cTn id="139" dur="500" fill="hold"/>
                                            <p:tgtEl>
                                              <p:spTgt spid="19"/>
                                            </p:tgtEl>
                                            <p:attrNameLst>
                                              <p:attrName>fill.on</p:attrName>
                                            </p:attrNameLst>
                                          </p:cBhvr>
                                          <p:to>
                                            <p:strVal val="true"/>
                                          </p:to>
                                        </p:set>
                                      </p:childTnLst>
                                    </p:cTn>
                                  </p:par>
                                  <p:par>
                                    <p:cTn id="140" presetID="1" presetClass="emph" presetSubtype="2" fill="hold" nodeType="withEffect">
                                      <p:stCondLst>
                                        <p:cond delay="1500"/>
                                      </p:stCondLst>
                                      <p:childTnLst>
                                        <p:animClr clrSpc="rgb" dir="cw">
                                          <p:cBhvr>
                                            <p:cTn id="141" dur="250" fill="hold"/>
                                            <p:tgtEl>
                                              <p:spTgt spid="19"/>
                                            </p:tgtEl>
                                            <p:attrNameLst>
                                              <p:attrName>fillcolor</p:attrName>
                                            </p:attrNameLst>
                                          </p:cBhvr>
                                          <p:to>
                                            <a:srgbClr val="ED5565"/>
                                          </p:to>
                                        </p:animClr>
                                        <p:set>
                                          <p:cBhvr>
                                            <p:cTn id="142" dur="250" fill="hold"/>
                                            <p:tgtEl>
                                              <p:spTgt spid="19"/>
                                            </p:tgtEl>
                                            <p:attrNameLst>
                                              <p:attrName>fill.type</p:attrName>
                                            </p:attrNameLst>
                                          </p:cBhvr>
                                          <p:to>
                                            <p:strVal val="solid"/>
                                          </p:to>
                                        </p:set>
                                        <p:set>
                                          <p:cBhvr>
                                            <p:cTn id="143" dur="250" fill="hold"/>
                                            <p:tgtEl>
                                              <p:spTgt spid="19"/>
                                            </p:tgtEl>
                                            <p:attrNameLst>
                                              <p:attrName>fill.on</p:attrName>
                                            </p:attrNameLst>
                                          </p:cBhvr>
                                          <p:to>
                                            <p:strVal val="true"/>
                                          </p:to>
                                        </p:set>
                                      </p:childTnLst>
                                    </p:cTn>
                                  </p:par>
                                  <p:par>
                                    <p:cTn id="144" presetID="23" presetClass="entr" presetSubtype="32" fill="hold" nodeType="withEffect">
                                      <p:stCondLst>
                                        <p:cond delay="1500"/>
                                      </p:stCondLst>
                                      <p:childTnLst>
                                        <p:set>
                                          <p:cBhvr>
                                            <p:cTn id="145" dur="1" fill="hold">
                                              <p:stCondLst>
                                                <p:cond delay="0"/>
                                              </p:stCondLst>
                                            </p:cTn>
                                            <p:tgtEl>
                                              <p:spTgt spid="20"/>
                                            </p:tgtEl>
                                            <p:attrNameLst>
                                              <p:attrName>style.visibility</p:attrName>
                                            </p:attrNameLst>
                                          </p:cBhvr>
                                          <p:to>
                                            <p:strVal val="visible"/>
                                          </p:to>
                                        </p:set>
                                        <p:anim calcmode="lin" valueType="num">
                                          <p:cBhvr>
                                            <p:cTn id="146" dur="250" fill="hold"/>
                                            <p:tgtEl>
                                              <p:spTgt spid="20"/>
                                            </p:tgtEl>
                                            <p:attrNameLst>
                                              <p:attrName>ppt_w</p:attrName>
                                            </p:attrNameLst>
                                          </p:cBhvr>
                                          <p:tavLst>
                                            <p:tav tm="0">
                                              <p:val>
                                                <p:strVal val="4*#ppt_w"/>
                                              </p:val>
                                            </p:tav>
                                            <p:tav tm="100000">
                                              <p:val>
                                                <p:strVal val="#ppt_w"/>
                                              </p:val>
                                            </p:tav>
                                          </p:tavLst>
                                        </p:anim>
                                        <p:anim calcmode="lin" valueType="num">
                                          <p:cBhvr>
                                            <p:cTn id="147" dur="250" fill="hold"/>
                                            <p:tgtEl>
                                              <p:spTgt spid="20"/>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144"/>
                                                </p:cond>
                                              </p:stCondLst>
                                              <p:endCondLst>
                                                <p:cond evt="onStopAudio" delay="0">
                                                  <p:tgtEl>
                                                    <p:sldTgt/>
                                                  </p:tgtEl>
                                                </p:cond>
                                              </p:endCondLst>
                                            </p:cTn>
                                            <p:tgtEl>
                                              <p:sndTgt r:embed="rId4" name="Wrong Buzzer.wav"/>
                                            </p:tgtEl>
                                          </p:cMediaNode>
                                        </p:audio>
                                      </p:subTnLst>
                                    </p:cTn>
                                  </p:par>
                                </p:childTnLst>
                              </p:cTn>
                            </p:par>
                          </p:childTnLst>
                        </p:cTn>
                      </p:par>
                    </p:childTnLst>
                  </p:cTn>
                  <p:nextCondLst>
                    <p:cond evt="onClick" delay="0">
                      <p:tgtEl>
                        <p:spTgt spid="19"/>
                      </p:tgtEl>
                    </p:cond>
                  </p:nextCondLst>
                </p:seq>
              </p:childTnLst>
            </p:cTn>
          </p:par>
        </p:tnLst>
        <p:bldLst>
          <p:bldP spid="12" grpId="0" animBg="1"/>
          <p:bldP spid="17" grpId="0" animBg="1"/>
          <p:bldP spid="18" grpId="0" animBg="1"/>
          <p:bldP spid="19" grpId="0" animBg="1"/>
          <p:bldP spid="9" grpId="0"/>
          <p:bldP spid="10" grpId="0"/>
          <p:bldP spid="21" grpId="0"/>
          <p:bldP spid="22" grpId="0"/>
          <p:bldP spid="2" grpId="0"/>
          <p:bldP spid="4" grpId="0"/>
          <p:bldP spid="24" grpId="0"/>
          <p:bldP spid="30" grpId="0"/>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000" fill="hold"/>
                                            <p:tgtEl>
                                              <p:spTgt spid="12"/>
                                            </p:tgtEl>
                                            <p:attrNameLst>
                                              <p:attrName>ppt_x</p:attrName>
                                            </p:attrNameLst>
                                          </p:cBhvr>
                                          <p:tavLst>
                                            <p:tav tm="0">
                                              <p:val>
                                                <p:strVal val="#ppt_x"/>
                                              </p:val>
                                            </p:tav>
                                            <p:tav tm="100000">
                                              <p:val>
                                                <p:strVal val="#ppt_x"/>
                                              </p:val>
                                            </p:tav>
                                          </p:tavLst>
                                        </p:anim>
                                        <p:anim calcmode="lin" valueType="num">
                                          <p:cBhvr additive="base">
                                            <p:cTn id="8" dur="100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20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1000" fill="hold"/>
                                            <p:tgtEl>
                                              <p:spTgt spid="17"/>
                                            </p:tgtEl>
                                            <p:attrNameLst>
                                              <p:attrName>ppt_x</p:attrName>
                                            </p:attrNameLst>
                                          </p:cBhvr>
                                          <p:tavLst>
                                            <p:tav tm="0">
                                              <p:val>
                                                <p:strVal val="#ppt_x"/>
                                              </p:val>
                                            </p:tav>
                                            <p:tav tm="100000">
                                              <p:val>
                                                <p:strVal val="#ppt_x"/>
                                              </p:val>
                                            </p:tav>
                                          </p:tavLst>
                                        </p:anim>
                                        <p:anim calcmode="lin" valueType="num">
                                          <p:cBhvr additive="base">
                                            <p:cTn id="12" dur="1000" fill="hold"/>
                                            <p:tgtEl>
                                              <p:spTgt spid="1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60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1000" fill="hold"/>
                                            <p:tgtEl>
                                              <p:spTgt spid="18"/>
                                            </p:tgtEl>
                                            <p:attrNameLst>
                                              <p:attrName>ppt_x</p:attrName>
                                            </p:attrNameLst>
                                          </p:cBhvr>
                                          <p:tavLst>
                                            <p:tav tm="0">
                                              <p:val>
                                                <p:strVal val="#ppt_x"/>
                                              </p:val>
                                            </p:tav>
                                            <p:tav tm="100000">
                                              <p:val>
                                                <p:strVal val="#ppt_x"/>
                                              </p:val>
                                            </p:tav>
                                          </p:tavLst>
                                        </p:anim>
                                        <p:anim calcmode="lin" valueType="num">
                                          <p:cBhvr additive="base">
                                            <p:cTn id="16" dur="1000" fill="hold"/>
                                            <p:tgtEl>
                                              <p:spTgt spid="1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60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1000" fill="hold"/>
                                            <p:tgtEl>
                                              <p:spTgt spid="19"/>
                                            </p:tgtEl>
                                            <p:attrNameLst>
                                              <p:attrName>ppt_x</p:attrName>
                                            </p:attrNameLst>
                                          </p:cBhvr>
                                          <p:tavLst>
                                            <p:tav tm="0">
                                              <p:val>
                                                <p:strVal val="#ppt_x"/>
                                              </p:val>
                                            </p:tav>
                                            <p:tav tm="100000">
                                              <p:val>
                                                <p:strVal val="#ppt_x"/>
                                              </p:val>
                                            </p:tav>
                                          </p:tavLst>
                                        </p:anim>
                                        <p:anim calcmode="lin" valueType="num">
                                          <p:cBhvr additive="base">
                                            <p:cTn id="20" dur="1000" fill="hold"/>
                                            <p:tgtEl>
                                              <p:spTgt spid="19"/>
                                            </p:tgtEl>
                                            <p:attrNameLst>
                                              <p:attrName>ppt_y</p:attrName>
                                            </p:attrNameLst>
                                          </p:cBhvr>
                                          <p:tavLst>
                                            <p:tav tm="0">
                                              <p:val>
                                                <p:strVal val="1+#ppt_h/2"/>
                                              </p:val>
                                            </p:tav>
                                            <p:tav tm="100000">
                                              <p:val>
                                                <p:strVal val="#ppt_y"/>
                                              </p:val>
                                            </p:tav>
                                          </p:tavLst>
                                        </p:anim>
                                      </p:childTnLst>
                                    </p:cTn>
                                  </p:par>
                                </p:childTnLst>
                              </p:cTn>
                            </p:par>
                            <p:par>
                              <p:cTn id="21" fill="hold">
                                <p:stCondLst>
                                  <p:cond delay="1600"/>
                                </p:stCondLst>
                                <p:childTnLst>
                                  <p:par>
                                    <p:cTn id="22" presetID="2" presetClass="entr" presetSubtype="8" fill="hold" nodeType="afterEffect">
                                      <p:stCondLst>
                                        <p:cond delay="0"/>
                                      </p:stCondLst>
                                      <p:childTnLst>
                                        <p:set>
                                          <p:cBhvr>
                                            <p:cTn id="23" dur="1" fill="hold">
                                              <p:stCondLst>
                                                <p:cond delay="0"/>
                                              </p:stCondLst>
                                            </p:cTn>
                                            <p:tgtEl>
                                              <p:spTgt spid="23"/>
                                            </p:tgtEl>
                                            <p:attrNameLst>
                                              <p:attrName>style.visibility</p:attrName>
                                            </p:attrNameLst>
                                          </p:cBhvr>
                                          <p:to>
                                            <p:strVal val="visible"/>
                                          </p:to>
                                        </p:set>
                                        <p:anim calcmode="lin" valueType="num">
                                          <p:cBhvr additive="base">
                                            <p:cTn id="24" dur="500" fill="hold"/>
                                            <p:tgtEl>
                                              <p:spTgt spid="23"/>
                                            </p:tgtEl>
                                            <p:attrNameLst>
                                              <p:attrName>ppt_x</p:attrName>
                                            </p:attrNameLst>
                                          </p:cBhvr>
                                          <p:tavLst>
                                            <p:tav tm="0">
                                              <p:val>
                                                <p:strVal val="0-#ppt_w/2"/>
                                              </p:val>
                                            </p:tav>
                                            <p:tav tm="100000">
                                              <p:val>
                                                <p:strVal val="#ppt_x"/>
                                              </p:val>
                                            </p:tav>
                                          </p:tavLst>
                                        </p:anim>
                                        <p:anim calcmode="lin" valueType="num">
                                          <p:cBhvr additive="base">
                                            <p:cTn id="25" dur="500" fill="hold"/>
                                            <p:tgtEl>
                                              <p:spTgt spid="23"/>
                                            </p:tgtEl>
                                            <p:attrNameLst>
                                              <p:attrName>ppt_y</p:attrName>
                                            </p:attrNameLst>
                                          </p:cBhvr>
                                          <p:tavLst>
                                            <p:tav tm="0">
                                              <p:val>
                                                <p:strVal val="#ppt_y"/>
                                              </p:val>
                                            </p:tav>
                                            <p:tav tm="100000">
                                              <p:val>
                                                <p:strVal val="#ppt_y"/>
                                              </p:val>
                                            </p:tav>
                                          </p:tavLst>
                                        </p:anim>
                                      </p:childTnLst>
                                    </p:cTn>
                                  </p:par>
                                  <p:par>
                                    <p:cTn id="26" presetID="2" presetClass="entr" presetSubtype="8"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 calcmode="lin" valueType="num">
                                          <p:cBhvr additive="base">
                                            <p:cTn id="28" dur="500" fill="hold"/>
                                            <p:tgtEl>
                                              <p:spTgt spid="13"/>
                                            </p:tgtEl>
                                            <p:attrNameLst>
                                              <p:attrName>ppt_x</p:attrName>
                                            </p:attrNameLst>
                                          </p:cBhvr>
                                          <p:tavLst>
                                            <p:tav tm="0">
                                              <p:val>
                                                <p:strVal val="0-#ppt_w/2"/>
                                              </p:val>
                                            </p:tav>
                                            <p:tav tm="100000">
                                              <p:val>
                                                <p:strVal val="#ppt_x"/>
                                              </p:val>
                                            </p:tav>
                                          </p:tavLst>
                                        </p:anim>
                                        <p:anim calcmode="lin" valueType="num">
                                          <p:cBhvr additive="base">
                                            <p:cTn id="29" dur="500" fill="hold"/>
                                            <p:tgtEl>
                                              <p:spTgt spid="13"/>
                                            </p:tgtEl>
                                            <p:attrNameLst>
                                              <p:attrName>ppt_y</p:attrName>
                                            </p:attrNameLst>
                                          </p:cBhvr>
                                          <p:tavLst>
                                            <p:tav tm="0">
                                              <p:val>
                                                <p:strVal val="#ppt_y"/>
                                              </p:val>
                                            </p:tav>
                                            <p:tav tm="100000">
                                              <p:val>
                                                <p:strVal val="#ppt_y"/>
                                              </p:val>
                                            </p:tav>
                                          </p:tavLst>
                                        </p:anim>
                                      </p:childTnLst>
                                    </p:cTn>
                                  </p:par>
                                </p:childTnLst>
                              </p:cTn>
                            </p:par>
                            <p:par>
                              <p:cTn id="30" fill="hold">
                                <p:stCondLst>
                                  <p:cond delay="2100"/>
                                </p:stCondLst>
                                <p:childTnLst>
                                  <p:par>
                                    <p:cTn id="31" presetID="64" presetClass="path" presetSubtype="0" accel="50000" decel="50000" fill="hold" nodeType="afterEffect">
                                      <p:stCondLst>
                                        <p:cond delay="0"/>
                                      </p:stCondLst>
                                      <p:childTnLst>
                                        <p:animMotion origin="layout" path="M -4.72222E-6 -1.11111E-6 L -4.72222E-6 -0.60154 " pathEditMode="relative" rAng="0" ptsTypes="AA">
                                          <p:cBhvr>
                                            <p:cTn id="32" dur="15000" fill="hold"/>
                                            <p:tgtEl>
                                              <p:spTgt spid="13"/>
                                            </p:tgtEl>
                                            <p:attrNameLst>
                                              <p:attrName>ppt_x</p:attrName>
                                              <p:attrName>ppt_y</p:attrName>
                                            </p:attrNameLst>
                                          </p:cBhvr>
                                          <p:rCtr x="0" y="-30093"/>
                                        </p:animMotion>
                                      </p:childTnLst>
                                    </p:cTn>
                                  </p:par>
                                  <p:par>
                                    <p:cTn id="33" presetID="22" presetClass="entr" presetSubtype="4" fill="hold" nodeType="with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wipe(down)">
                                          <p:cBhvr>
                                            <p:cTn id="35" dur="15000"/>
                                            <p:tgtEl>
                                              <p:spTgt spid="27"/>
                                            </p:tgtEl>
                                          </p:cBhvr>
                                        </p:animEffect>
                                      </p:childTnLst>
                                    </p:cTn>
                                  </p:par>
                                </p:childTnLst>
                              </p:cTn>
                            </p:par>
                            <p:par>
                              <p:cTn id="36" fill="hold">
                                <p:stCondLst>
                                  <p:cond delay="17100"/>
                                </p:stCondLst>
                                <p:childTnLst>
                                  <p:par>
                                    <p:cTn id="37" presetID="26" presetClass="emph" presetSubtype="0" repeatCount="5000" fill="hold" nodeType="afterEffect">
                                      <p:stCondLst>
                                        <p:cond delay="0"/>
                                      </p:stCondLst>
                                      <p:childTnLst>
                                        <p:animEffect transition="out" filter="fade">
                                          <p:cBhvr>
                                            <p:cTn id="38" dur="500" tmFilter="0, 0; .2, .5; .8, .5; 1, 0"/>
                                            <p:tgtEl>
                                              <p:spTgt spid="13"/>
                                            </p:tgtEl>
                                          </p:cBhvr>
                                        </p:animEffect>
                                        <p:animScale>
                                          <p:cBhvr>
                                            <p:cTn id="39" dur="250" autoRev="1" fill="hold"/>
                                            <p:tgtEl>
                                              <p:spTgt spid="13"/>
                                            </p:tgtEl>
                                          </p:cBhvr>
                                          <p:by x="105000" y="105000"/>
                                        </p:animScale>
                                      </p:childTnLst>
                                      <p:subTnLst>
                                        <p:audio>
                                          <p:cMediaNode vol="80000">
                                            <p:cTn display="0" masterRel="sameClick">
                                              <p:stCondLst>
                                                <p:cond evt="begin" delay="0">
                                                  <p:tn val="37"/>
                                                </p:cond>
                                              </p:stCondLst>
                                              <p:endCondLst>
                                                <p:cond evt="onStopAudio" delay="0">
                                                  <p:tgtEl>
                                                    <p:sldTgt/>
                                                  </p:tgtEl>
                                                </p:cond>
                                              </p:endCondLst>
                                            </p:cTn>
                                            <p:tgtEl>
                                              <p:sndTgt r:embed="rId14" name="AmHetGio.wav"/>
                                            </p:tgtEl>
                                          </p:cMediaNode>
                                        </p:audio>
                                      </p:subTnLst>
                                    </p:cTn>
                                  </p:par>
                                  <p:par>
                                    <p:cTn id="40" presetID="6" presetClass="emph" presetSubtype="0" fill="hold" nodeType="withEffect">
                                      <p:stCondLst>
                                        <p:cond delay="0"/>
                                      </p:stCondLst>
                                      <p:childTnLst>
                                        <p:animScale>
                                          <p:cBhvr>
                                            <p:cTn id="41" dur="10000" fill="hold"/>
                                            <p:tgtEl>
                                              <p:spTgt spid="16"/>
                                            </p:tgtEl>
                                          </p:cBhvr>
                                          <p:by x="150000" y="150000"/>
                                        </p:animScale>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0"/>
                                      </p:stCondLst>
                                      <p:childTnLst>
                                        <p:set>
                                          <p:cBhvr>
                                            <p:cTn id="45" dur="1" fill="hold">
                                              <p:stCondLst>
                                                <p:cond delay="0"/>
                                              </p:stCondLst>
                                            </p:cTn>
                                            <p:tgtEl>
                                              <p:spTgt spid="9"/>
                                            </p:tgtEl>
                                            <p:attrNameLst>
                                              <p:attrName>style.visibility</p:attrName>
                                            </p:attrNameLst>
                                          </p:cBhvr>
                                          <p:to>
                                            <p:strVal val="visible"/>
                                          </p:to>
                                        </p:set>
                                        <p:animEffect transition="in" filter="fade">
                                          <p:cBhvr>
                                            <p:cTn id="46" dur="1000"/>
                                            <p:tgtEl>
                                              <p:spTgt spid="9"/>
                                            </p:tgtEl>
                                          </p:cBhvr>
                                        </p:animEffect>
                                        <p:anim calcmode="lin" valueType="num">
                                          <p:cBhvr>
                                            <p:cTn id="47" dur="1000" fill="hold"/>
                                            <p:tgtEl>
                                              <p:spTgt spid="9"/>
                                            </p:tgtEl>
                                            <p:attrNameLst>
                                              <p:attrName>ppt_x</p:attrName>
                                            </p:attrNameLst>
                                          </p:cBhvr>
                                          <p:tavLst>
                                            <p:tav tm="0">
                                              <p:val>
                                                <p:strVal val="#ppt_x"/>
                                              </p:val>
                                            </p:tav>
                                            <p:tav tm="100000">
                                              <p:val>
                                                <p:strVal val="#ppt_x"/>
                                              </p:val>
                                            </p:tav>
                                          </p:tavLst>
                                        </p:anim>
                                        <p:anim calcmode="lin" valueType="num">
                                          <p:cBhvr>
                                            <p:cTn id="48" dur="1000" fill="hold"/>
                                            <p:tgtEl>
                                              <p:spTgt spid="9"/>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fade">
                                          <p:cBhvr>
                                            <p:cTn id="51" dur="1000"/>
                                            <p:tgtEl>
                                              <p:spTgt spid="10"/>
                                            </p:tgtEl>
                                          </p:cBhvr>
                                        </p:animEffect>
                                        <p:anim calcmode="lin" valueType="num">
                                          <p:cBhvr>
                                            <p:cTn id="52" dur="1000" fill="hold"/>
                                            <p:tgtEl>
                                              <p:spTgt spid="10"/>
                                            </p:tgtEl>
                                            <p:attrNameLst>
                                              <p:attrName>ppt_x</p:attrName>
                                            </p:attrNameLst>
                                          </p:cBhvr>
                                          <p:tavLst>
                                            <p:tav tm="0">
                                              <p:val>
                                                <p:strVal val="#ppt_x"/>
                                              </p:val>
                                            </p:tav>
                                            <p:tav tm="100000">
                                              <p:val>
                                                <p:strVal val="#ppt_x"/>
                                              </p:val>
                                            </p:tav>
                                          </p:tavLst>
                                        </p:anim>
                                        <p:anim calcmode="lin" valueType="num">
                                          <p:cBhvr>
                                            <p:cTn id="53" dur="1000" fill="hold"/>
                                            <p:tgtEl>
                                              <p:spTgt spid="10"/>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anim calcmode="lin" valueType="num">
                                          <p:cBhvr>
                                            <p:cTn id="57" dur="1000" fill="hold"/>
                                            <p:tgtEl>
                                              <p:spTgt spid="21"/>
                                            </p:tgtEl>
                                            <p:attrNameLst>
                                              <p:attrName>ppt_x</p:attrName>
                                            </p:attrNameLst>
                                          </p:cBhvr>
                                          <p:tavLst>
                                            <p:tav tm="0">
                                              <p:val>
                                                <p:strVal val="#ppt_x"/>
                                              </p:val>
                                            </p:tav>
                                            <p:tav tm="100000">
                                              <p:val>
                                                <p:strVal val="#ppt_x"/>
                                              </p:val>
                                            </p:tav>
                                          </p:tavLst>
                                        </p:anim>
                                        <p:anim calcmode="lin" valueType="num">
                                          <p:cBhvr>
                                            <p:cTn id="58" dur="1000" fill="hold"/>
                                            <p:tgtEl>
                                              <p:spTgt spid="21"/>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22"/>
                                            </p:tgtEl>
                                            <p:attrNameLst>
                                              <p:attrName>style.visibility</p:attrName>
                                            </p:attrNameLst>
                                          </p:cBhvr>
                                          <p:to>
                                            <p:strVal val="visible"/>
                                          </p:to>
                                        </p:set>
                                        <p:animEffect transition="in" filter="fade">
                                          <p:cBhvr>
                                            <p:cTn id="61" dur="1000"/>
                                            <p:tgtEl>
                                              <p:spTgt spid="22"/>
                                            </p:tgtEl>
                                          </p:cBhvr>
                                        </p:animEffect>
                                        <p:anim calcmode="lin" valueType="num">
                                          <p:cBhvr>
                                            <p:cTn id="62" dur="1000" fill="hold"/>
                                            <p:tgtEl>
                                              <p:spTgt spid="22"/>
                                            </p:tgtEl>
                                            <p:attrNameLst>
                                              <p:attrName>ppt_x</p:attrName>
                                            </p:attrNameLst>
                                          </p:cBhvr>
                                          <p:tavLst>
                                            <p:tav tm="0">
                                              <p:val>
                                                <p:strVal val="#ppt_x"/>
                                              </p:val>
                                            </p:tav>
                                            <p:tav tm="100000">
                                              <p:val>
                                                <p:strVal val="#ppt_x"/>
                                              </p:val>
                                            </p:tav>
                                          </p:tavLst>
                                        </p:anim>
                                        <p:anim calcmode="lin" valueType="num">
                                          <p:cBhvr>
                                            <p:cTn id="63" dur="1000" fill="hold"/>
                                            <p:tgtEl>
                                              <p:spTgt spid="22"/>
                                            </p:tgtEl>
                                            <p:attrNameLst>
                                              <p:attrName>ppt_y</p:attrName>
                                            </p:attrNameLst>
                                          </p:cBhvr>
                                          <p:tavLst>
                                            <p:tav tm="0">
                                              <p:val>
                                                <p:strVal val="#ppt_y+.1"/>
                                              </p:val>
                                            </p:tav>
                                            <p:tav tm="100000">
                                              <p:val>
                                                <p:strVal val="#ppt_y"/>
                                              </p:val>
                                            </p:tav>
                                          </p:tavLst>
                                        </p:anim>
                                      </p:childTnLst>
                                    </p:cTn>
                                  </p:par>
                                  <p:par>
                                    <p:cTn id="64" presetID="16" presetClass="entr" presetSubtype="21" fill="hold" nodeType="withEffect">
                                      <p:stCondLst>
                                        <p:cond delay="0"/>
                                      </p:stCondLst>
                                      <p:childTnLst>
                                        <p:set>
                                          <p:cBhvr>
                                            <p:cTn id="65" dur="1" fill="hold">
                                              <p:stCondLst>
                                                <p:cond delay="0"/>
                                              </p:stCondLst>
                                            </p:cTn>
                                            <p:tgtEl>
                                              <p:spTgt spid="3"/>
                                            </p:tgtEl>
                                            <p:attrNameLst>
                                              <p:attrName>style.visibility</p:attrName>
                                            </p:attrNameLst>
                                          </p:cBhvr>
                                          <p:to>
                                            <p:strVal val="visible"/>
                                          </p:to>
                                        </p:set>
                                        <p:animEffect transition="in" filter="barn(inVertical)">
                                          <p:cBhvr>
                                            <p:cTn id="66" dur="500"/>
                                            <p:tgtEl>
                                              <p:spTgt spid="3"/>
                                            </p:tgtEl>
                                          </p:cBhvr>
                                        </p:animEffect>
                                      </p:childTnLst>
                                    </p:cTn>
                                  </p:par>
                                  <p:par>
                                    <p:cTn id="67" presetID="16" presetClass="entr" presetSubtype="21" fill="hold" nodeType="withEffect">
                                      <p:stCondLst>
                                        <p:cond delay="0"/>
                                      </p:stCondLst>
                                      <p:childTnLst>
                                        <p:set>
                                          <p:cBhvr>
                                            <p:cTn id="68" dur="1" fill="hold">
                                              <p:stCondLst>
                                                <p:cond delay="0"/>
                                              </p:stCondLst>
                                            </p:cTn>
                                            <p:tgtEl>
                                              <p:spTgt spid="5"/>
                                            </p:tgtEl>
                                            <p:attrNameLst>
                                              <p:attrName>style.visibility</p:attrName>
                                            </p:attrNameLst>
                                          </p:cBhvr>
                                          <p:to>
                                            <p:strVal val="visible"/>
                                          </p:to>
                                        </p:set>
                                        <p:animEffect transition="in" filter="barn(inVertical)">
                                          <p:cBhvr>
                                            <p:cTn id="69" dur="500"/>
                                            <p:tgtEl>
                                              <p:spTgt spid="5"/>
                                            </p:tgtEl>
                                          </p:cBhvr>
                                        </p:animEffect>
                                      </p:childTnLst>
                                    </p:cTn>
                                  </p:par>
                                  <p:par>
                                    <p:cTn id="70" presetID="16" presetClass="entr" presetSubtype="21" fill="hold" nodeType="withEffect">
                                      <p:stCondLst>
                                        <p:cond delay="0"/>
                                      </p:stCondLst>
                                      <p:childTnLst>
                                        <p:set>
                                          <p:cBhvr>
                                            <p:cTn id="71" dur="1" fill="hold">
                                              <p:stCondLst>
                                                <p:cond delay="0"/>
                                              </p:stCondLst>
                                            </p:cTn>
                                            <p:tgtEl>
                                              <p:spTgt spid="7"/>
                                            </p:tgtEl>
                                            <p:attrNameLst>
                                              <p:attrName>style.visibility</p:attrName>
                                            </p:attrNameLst>
                                          </p:cBhvr>
                                          <p:to>
                                            <p:strVal val="visible"/>
                                          </p:to>
                                        </p:set>
                                        <p:animEffect transition="in" filter="barn(inVertical)">
                                          <p:cBhvr>
                                            <p:cTn id="72" dur="500"/>
                                            <p:tgtEl>
                                              <p:spTgt spid="7"/>
                                            </p:tgtEl>
                                          </p:cBhvr>
                                        </p:animEffect>
                                      </p:childTnLst>
                                    </p:cTn>
                                  </p:par>
                                  <p:par>
                                    <p:cTn id="73" presetID="16" presetClass="entr" presetSubtype="21" fill="hold" nodeType="withEffect">
                                      <p:stCondLst>
                                        <p:cond delay="0"/>
                                      </p:stCondLst>
                                      <p:childTnLst>
                                        <p:set>
                                          <p:cBhvr>
                                            <p:cTn id="74" dur="1" fill="hold">
                                              <p:stCondLst>
                                                <p:cond delay="0"/>
                                              </p:stCondLst>
                                            </p:cTn>
                                            <p:tgtEl>
                                              <p:spTgt spid="8"/>
                                            </p:tgtEl>
                                            <p:attrNameLst>
                                              <p:attrName>style.visibility</p:attrName>
                                            </p:attrNameLst>
                                          </p:cBhvr>
                                          <p:to>
                                            <p:strVal val="visible"/>
                                          </p:to>
                                        </p:set>
                                        <p:animEffect transition="in" filter="barn(inVertical)">
                                          <p:cBhvr>
                                            <p:cTn id="75" dur="500"/>
                                            <p:tgtEl>
                                              <p:spTgt spid="8"/>
                                            </p:tgtEl>
                                          </p:cBhvr>
                                        </p:animEffect>
                                      </p:childTnLst>
                                    </p:cTn>
                                  </p:par>
                                  <p:par>
                                    <p:cTn id="76" presetID="16" presetClass="entr" presetSubtype="21" fill="hold" grpId="0" nodeType="withEffect">
                                      <p:stCondLst>
                                        <p:cond delay="0"/>
                                      </p:stCondLst>
                                      <p:childTnLst>
                                        <p:set>
                                          <p:cBhvr>
                                            <p:cTn id="77" dur="1" fill="hold">
                                              <p:stCondLst>
                                                <p:cond delay="0"/>
                                              </p:stCondLst>
                                            </p:cTn>
                                            <p:tgtEl>
                                              <p:spTgt spid="2"/>
                                            </p:tgtEl>
                                            <p:attrNameLst>
                                              <p:attrName>style.visibility</p:attrName>
                                            </p:attrNameLst>
                                          </p:cBhvr>
                                          <p:to>
                                            <p:strVal val="visible"/>
                                          </p:to>
                                        </p:set>
                                        <p:animEffect transition="in" filter="barn(inVertical)">
                                          <p:cBhvr>
                                            <p:cTn id="78" dur="500"/>
                                            <p:tgtEl>
                                              <p:spTgt spid="2"/>
                                            </p:tgtEl>
                                          </p:cBhvr>
                                        </p:animEffect>
                                      </p:childTnLst>
                                    </p:cTn>
                                  </p:par>
                                  <p:par>
                                    <p:cTn id="79" presetID="16" presetClass="entr" presetSubtype="21" fill="hold" grpId="0" nodeType="withEffect">
                                      <p:stCondLst>
                                        <p:cond delay="0"/>
                                      </p:stCondLst>
                                      <p:childTnLst>
                                        <p:set>
                                          <p:cBhvr>
                                            <p:cTn id="80" dur="1" fill="hold">
                                              <p:stCondLst>
                                                <p:cond delay="0"/>
                                              </p:stCondLst>
                                            </p:cTn>
                                            <p:tgtEl>
                                              <p:spTgt spid="4"/>
                                            </p:tgtEl>
                                            <p:attrNameLst>
                                              <p:attrName>style.visibility</p:attrName>
                                            </p:attrNameLst>
                                          </p:cBhvr>
                                          <p:to>
                                            <p:strVal val="visible"/>
                                          </p:to>
                                        </p:set>
                                        <p:animEffect transition="in" filter="barn(inVertical)">
                                          <p:cBhvr>
                                            <p:cTn id="81" dur="500"/>
                                            <p:tgtEl>
                                              <p:spTgt spid="4"/>
                                            </p:tgtEl>
                                          </p:cBhvr>
                                        </p:animEffect>
                                      </p:childTnLst>
                                    </p:cTn>
                                  </p:par>
                                  <p:par>
                                    <p:cTn id="82" presetID="16" presetClass="entr" presetSubtype="21" fill="hold" grpId="0" nodeType="withEffect">
                                      <p:stCondLst>
                                        <p:cond delay="0"/>
                                      </p:stCondLst>
                                      <p:childTnLst>
                                        <p:set>
                                          <p:cBhvr>
                                            <p:cTn id="83" dur="1" fill="hold">
                                              <p:stCondLst>
                                                <p:cond delay="0"/>
                                              </p:stCondLst>
                                            </p:cTn>
                                            <p:tgtEl>
                                              <p:spTgt spid="24"/>
                                            </p:tgtEl>
                                            <p:attrNameLst>
                                              <p:attrName>style.visibility</p:attrName>
                                            </p:attrNameLst>
                                          </p:cBhvr>
                                          <p:to>
                                            <p:strVal val="visible"/>
                                          </p:to>
                                        </p:set>
                                        <p:animEffect transition="in" filter="barn(inVertical)">
                                          <p:cBhvr>
                                            <p:cTn id="84" dur="500"/>
                                            <p:tgtEl>
                                              <p:spTgt spid="24"/>
                                            </p:tgtEl>
                                          </p:cBhvr>
                                        </p:animEffect>
                                      </p:childTnLst>
                                    </p:cTn>
                                  </p:par>
                                  <p:par>
                                    <p:cTn id="85" presetID="16" presetClass="entr" presetSubtype="21" fill="hold" grpId="0" nodeType="withEffect">
                                      <p:stCondLst>
                                        <p:cond delay="0"/>
                                      </p:stCondLst>
                                      <p:childTnLst>
                                        <p:set>
                                          <p:cBhvr>
                                            <p:cTn id="86" dur="1" fill="hold">
                                              <p:stCondLst>
                                                <p:cond delay="0"/>
                                              </p:stCondLst>
                                            </p:cTn>
                                            <p:tgtEl>
                                              <p:spTgt spid="30"/>
                                            </p:tgtEl>
                                            <p:attrNameLst>
                                              <p:attrName>style.visibility</p:attrName>
                                            </p:attrNameLst>
                                          </p:cBhvr>
                                          <p:to>
                                            <p:strVal val="visible"/>
                                          </p:to>
                                        </p:set>
                                        <p:animEffect transition="in" filter="barn(inVertical)">
                                          <p:cBhvr>
                                            <p:cTn id="8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88" restart="whenNotActive" fill="hold" evtFilter="cancelBubble" nodeType="interactiveSeq">
                    <p:stCondLst>
                      <p:cond evt="onClick" delay="0">
                        <p:tgtEl>
                          <p:spTgt spid="12"/>
                        </p:tgtEl>
                      </p:cond>
                    </p:stCondLst>
                    <p:endSync evt="end" delay="0">
                      <p:rtn val="all"/>
                    </p:endSync>
                    <p:childTnLst>
                      <p:par>
                        <p:cTn id="89" fill="hold">
                          <p:stCondLst>
                            <p:cond delay="0"/>
                          </p:stCondLst>
                          <p:childTnLst>
                            <p:par>
                              <p:cTn id="90" fill="hold">
                                <p:stCondLst>
                                  <p:cond delay="0"/>
                                </p:stCondLst>
                                <p:childTnLst>
                                  <p:par>
                                    <p:cTn id="91" presetID="1" presetClass="emph" presetSubtype="2" fill="hold" nodeType="clickEffect">
                                      <p:stCondLst>
                                        <p:cond delay="0"/>
                                      </p:stCondLst>
                                      <p:childTnLst>
                                        <p:animClr clrSpc="rgb" dir="cw">
                                          <p:cBhvr>
                                            <p:cTn id="92" dur="500" fill="hold"/>
                                            <p:tgtEl>
                                              <p:spTgt spid="12"/>
                                            </p:tgtEl>
                                            <p:attrNameLst>
                                              <p:attrName>fillcolor</p:attrName>
                                            </p:attrNameLst>
                                          </p:cBhvr>
                                          <p:to>
                                            <a:srgbClr val="FCECD0"/>
                                          </p:to>
                                        </p:animClr>
                                        <p:set>
                                          <p:cBhvr>
                                            <p:cTn id="93" dur="500" fill="hold"/>
                                            <p:tgtEl>
                                              <p:spTgt spid="12"/>
                                            </p:tgtEl>
                                            <p:attrNameLst>
                                              <p:attrName>fill.type</p:attrName>
                                            </p:attrNameLst>
                                          </p:cBhvr>
                                          <p:to>
                                            <p:strVal val="solid"/>
                                          </p:to>
                                        </p:set>
                                        <p:set>
                                          <p:cBhvr>
                                            <p:cTn id="94" dur="500" fill="hold"/>
                                            <p:tgtEl>
                                              <p:spTgt spid="12"/>
                                            </p:tgtEl>
                                            <p:attrNameLst>
                                              <p:attrName>fill.on</p:attrName>
                                            </p:attrNameLst>
                                          </p:cBhvr>
                                          <p:to>
                                            <p:strVal val="true"/>
                                          </p:to>
                                        </p:set>
                                      </p:childTnLst>
                                    </p:cTn>
                                  </p:par>
                                  <p:par>
                                    <p:cTn id="95" presetID="23" presetClass="entr" presetSubtype="32" fill="hold" nodeType="withEffect">
                                      <p:stCondLst>
                                        <p:cond delay="1500"/>
                                      </p:stCondLst>
                                      <p:childTnLst>
                                        <p:set>
                                          <p:cBhvr>
                                            <p:cTn id="96" dur="1" fill="hold">
                                              <p:stCondLst>
                                                <p:cond delay="0"/>
                                              </p:stCondLst>
                                            </p:cTn>
                                            <p:tgtEl>
                                              <p:spTgt spid="14"/>
                                            </p:tgtEl>
                                            <p:attrNameLst>
                                              <p:attrName>style.visibility</p:attrName>
                                            </p:attrNameLst>
                                          </p:cBhvr>
                                          <p:to>
                                            <p:strVal val="visible"/>
                                          </p:to>
                                        </p:set>
                                        <p:anim calcmode="lin" valueType="num">
                                          <p:cBhvr>
                                            <p:cTn id="97" dur="250" fill="hold"/>
                                            <p:tgtEl>
                                              <p:spTgt spid="14"/>
                                            </p:tgtEl>
                                            <p:attrNameLst>
                                              <p:attrName>ppt_w</p:attrName>
                                            </p:attrNameLst>
                                          </p:cBhvr>
                                          <p:tavLst>
                                            <p:tav tm="0">
                                              <p:val>
                                                <p:strVal val="4*#ppt_w"/>
                                              </p:val>
                                            </p:tav>
                                            <p:tav tm="100000">
                                              <p:val>
                                                <p:strVal val="#ppt_w"/>
                                              </p:val>
                                            </p:tav>
                                          </p:tavLst>
                                        </p:anim>
                                        <p:anim calcmode="lin" valueType="num">
                                          <p:cBhvr>
                                            <p:cTn id="98" dur="250" fill="hold"/>
                                            <p:tgtEl>
                                              <p:spTgt spid="14"/>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95"/>
                                                </p:cond>
                                              </p:stCondLst>
                                              <p:endCondLst>
                                                <p:cond evt="onStopAudio" delay="0">
                                                  <p:tgtEl>
                                                    <p:sldTgt/>
                                                  </p:tgtEl>
                                                </p:cond>
                                              </p:endCondLst>
                                            </p:cTn>
                                            <p:tgtEl>
                                              <p:sndTgt r:embed="rId15" name="Wrong Buzzer.wav"/>
                                            </p:tgtEl>
                                          </p:cMediaNode>
                                        </p:audio>
                                      </p:subTnLst>
                                    </p:cTn>
                                  </p:par>
                                  <p:par>
                                    <p:cTn id="99" presetID="1" presetClass="emph" presetSubtype="2" fill="hold" nodeType="withEffect">
                                      <p:stCondLst>
                                        <p:cond delay="1500"/>
                                      </p:stCondLst>
                                      <p:childTnLst>
                                        <p:animClr clrSpc="rgb" dir="cw">
                                          <p:cBhvr>
                                            <p:cTn id="100" dur="250" fill="hold"/>
                                            <p:tgtEl>
                                              <p:spTgt spid="12"/>
                                            </p:tgtEl>
                                            <p:attrNameLst>
                                              <p:attrName>fillcolor</p:attrName>
                                            </p:attrNameLst>
                                          </p:cBhvr>
                                          <p:to>
                                            <a:srgbClr val="ED5565"/>
                                          </p:to>
                                        </p:animClr>
                                        <p:set>
                                          <p:cBhvr>
                                            <p:cTn id="101" dur="250" fill="hold"/>
                                            <p:tgtEl>
                                              <p:spTgt spid="12"/>
                                            </p:tgtEl>
                                            <p:attrNameLst>
                                              <p:attrName>fill.type</p:attrName>
                                            </p:attrNameLst>
                                          </p:cBhvr>
                                          <p:to>
                                            <p:strVal val="solid"/>
                                          </p:to>
                                        </p:set>
                                        <p:set>
                                          <p:cBhvr>
                                            <p:cTn id="102" dur="250" fill="hold"/>
                                            <p:tgtEl>
                                              <p:spTgt spid="12"/>
                                            </p:tgtEl>
                                            <p:attrNameLst>
                                              <p:attrName>fill.on</p:attrName>
                                            </p:attrNameLst>
                                          </p:cBhvr>
                                          <p:to>
                                            <p:strVal val="true"/>
                                          </p:to>
                                        </p:set>
                                      </p:childTnLst>
                                    </p:cTn>
                                  </p:par>
                                </p:childTnLst>
                              </p:cTn>
                            </p:par>
                          </p:childTnLst>
                        </p:cTn>
                      </p:par>
                    </p:childTnLst>
                  </p:cTn>
                  <p:nextCondLst>
                    <p:cond evt="onClick" delay="0">
                      <p:tgtEl>
                        <p:spTgt spid="12"/>
                      </p:tgtEl>
                    </p:cond>
                  </p:nextCondLst>
                </p:seq>
                <p:seq concurrent="1" nextAc="seek">
                  <p:cTn id="103" restart="whenNotActive" fill="hold" evtFilter="cancelBubble" nodeType="interactiveSeq">
                    <p:stCondLst>
                      <p:cond evt="onClick" delay="0">
                        <p:tgtEl>
                          <p:spTgt spid="17"/>
                        </p:tgtEl>
                      </p:cond>
                    </p:stCondLst>
                    <p:endSync evt="end" delay="0">
                      <p:rtn val="all"/>
                    </p:endSync>
                    <p:childTnLst>
                      <p:par>
                        <p:cTn id="104" fill="hold">
                          <p:stCondLst>
                            <p:cond delay="0"/>
                          </p:stCondLst>
                          <p:childTnLst>
                            <p:par>
                              <p:cTn id="105" fill="hold">
                                <p:stCondLst>
                                  <p:cond delay="0"/>
                                </p:stCondLst>
                                <p:childTnLst>
                                  <p:par>
                                    <p:cTn id="106" presetID="1" presetClass="emph" presetSubtype="2" fill="hold" nodeType="clickEffect">
                                      <p:stCondLst>
                                        <p:cond delay="0"/>
                                      </p:stCondLst>
                                      <p:childTnLst>
                                        <p:animClr clrSpc="rgb" dir="cw">
                                          <p:cBhvr>
                                            <p:cTn id="107" dur="500" fill="hold"/>
                                            <p:tgtEl>
                                              <p:spTgt spid="17"/>
                                            </p:tgtEl>
                                            <p:attrNameLst>
                                              <p:attrName>fillcolor</p:attrName>
                                            </p:attrNameLst>
                                          </p:cBhvr>
                                          <p:to>
                                            <a:srgbClr val="FCECD0"/>
                                          </p:to>
                                        </p:animClr>
                                        <p:set>
                                          <p:cBhvr>
                                            <p:cTn id="108" dur="500" fill="hold"/>
                                            <p:tgtEl>
                                              <p:spTgt spid="17"/>
                                            </p:tgtEl>
                                            <p:attrNameLst>
                                              <p:attrName>fill.type</p:attrName>
                                            </p:attrNameLst>
                                          </p:cBhvr>
                                          <p:to>
                                            <p:strVal val="solid"/>
                                          </p:to>
                                        </p:set>
                                        <p:set>
                                          <p:cBhvr>
                                            <p:cTn id="109" dur="500" fill="hold"/>
                                            <p:tgtEl>
                                              <p:spTgt spid="17"/>
                                            </p:tgtEl>
                                            <p:attrNameLst>
                                              <p:attrName>fill.on</p:attrName>
                                            </p:attrNameLst>
                                          </p:cBhvr>
                                          <p:to>
                                            <p:strVal val="true"/>
                                          </p:to>
                                        </p:set>
                                      </p:childTnLst>
                                    </p:cTn>
                                  </p:par>
                                  <p:par>
                                    <p:cTn id="110" presetID="1" presetClass="emph" presetSubtype="2" fill="hold" nodeType="withEffect">
                                      <p:stCondLst>
                                        <p:cond delay="1500"/>
                                      </p:stCondLst>
                                      <p:childTnLst>
                                        <p:animClr clrSpc="rgb" dir="cw">
                                          <p:cBhvr>
                                            <p:cTn id="111" dur="250" fill="hold"/>
                                            <p:tgtEl>
                                              <p:spTgt spid="17"/>
                                            </p:tgtEl>
                                            <p:attrNameLst>
                                              <p:attrName>fillcolor</p:attrName>
                                            </p:attrNameLst>
                                          </p:cBhvr>
                                          <p:to>
                                            <a:srgbClr val="A0D468"/>
                                          </p:to>
                                        </p:animClr>
                                        <p:set>
                                          <p:cBhvr>
                                            <p:cTn id="112" dur="250" fill="hold"/>
                                            <p:tgtEl>
                                              <p:spTgt spid="17"/>
                                            </p:tgtEl>
                                            <p:attrNameLst>
                                              <p:attrName>fill.type</p:attrName>
                                            </p:attrNameLst>
                                          </p:cBhvr>
                                          <p:to>
                                            <p:strVal val="solid"/>
                                          </p:to>
                                        </p:set>
                                        <p:set>
                                          <p:cBhvr>
                                            <p:cTn id="113" dur="250" fill="hold"/>
                                            <p:tgtEl>
                                              <p:spTgt spid="17"/>
                                            </p:tgtEl>
                                            <p:attrNameLst>
                                              <p:attrName>fill.on</p:attrName>
                                            </p:attrNameLst>
                                          </p:cBhvr>
                                          <p:to>
                                            <p:strVal val="true"/>
                                          </p:to>
                                        </p:set>
                                      </p:childTnLst>
                                    </p:cTn>
                                  </p:par>
                                  <p:par>
                                    <p:cTn id="114" presetID="23" presetClass="entr" presetSubtype="32" fill="hold" nodeType="withEffect">
                                      <p:stCondLst>
                                        <p:cond delay="1500"/>
                                      </p:stCondLst>
                                      <p:childTnLst>
                                        <p:set>
                                          <p:cBhvr>
                                            <p:cTn id="115" dur="1" fill="hold">
                                              <p:stCondLst>
                                                <p:cond delay="0"/>
                                              </p:stCondLst>
                                            </p:cTn>
                                            <p:tgtEl>
                                              <p:spTgt spid="28"/>
                                            </p:tgtEl>
                                            <p:attrNameLst>
                                              <p:attrName>style.visibility</p:attrName>
                                            </p:attrNameLst>
                                          </p:cBhvr>
                                          <p:to>
                                            <p:strVal val="visible"/>
                                          </p:to>
                                        </p:set>
                                        <p:anim calcmode="lin" valueType="num">
                                          <p:cBhvr>
                                            <p:cTn id="116" dur="250" fill="hold"/>
                                            <p:tgtEl>
                                              <p:spTgt spid="28"/>
                                            </p:tgtEl>
                                            <p:attrNameLst>
                                              <p:attrName>ppt_w</p:attrName>
                                            </p:attrNameLst>
                                          </p:cBhvr>
                                          <p:tavLst>
                                            <p:tav tm="0">
                                              <p:val>
                                                <p:strVal val="4*#ppt_w"/>
                                              </p:val>
                                            </p:tav>
                                            <p:tav tm="100000">
                                              <p:val>
                                                <p:strVal val="#ppt_w"/>
                                              </p:val>
                                            </p:tav>
                                          </p:tavLst>
                                        </p:anim>
                                        <p:anim calcmode="lin" valueType="num">
                                          <p:cBhvr>
                                            <p:cTn id="117" dur="250" fill="hold"/>
                                            <p:tgtEl>
                                              <p:spTgt spid="28"/>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114"/>
                                                </p:cond>
                                              </p:stCondLst>
                                              <p:endCondLst>
                                                <p:cond evt="onStopAudio" delay="0">
                                                  <p:tgtEl>
                                                    <p:sldTgt/>
                                                  </p:tgtEl>
                                                </p:cond>
                                              </p:endCondLst>
                                            </p:cTn>
                                            <p:tgtEl>
                                              <p:sndTgt r:embed="rId16" name="Check mark.wav"/>
                                            </p:tgtEl>
                                          </p:cMediaNode>
                                        </p:audio>
                                      </p:subTnLst>
                                    </p:cTn>
                                  </p:par>
                                </p:childTnLst>
                              </p:cTn>
                            </p:par>
                          </p:childTnLst>
                        </p:cTn>
                      </p:par>
                    </p:childTnLst>
                  </p:cTn>
                  <p:nextCondLst>
                    <p:cond evt="onClick" delay="0">
                      <p:tgtEl>
                        <p:spTgt spid="17"/>
                      </p:tgtEl>
                    </p:cond>
                  </p:nextCondLst>
                </p:seq>
                <p:seq concurrent="1" nextAc="seek">
                  <p:cTn id="118" restart="whenNotActive" fill="hold" evtFilter="cancelBubble" nodeType="interactiveSeq">
                    <p:stCondLst>
                      <p:cond evt="onClick" delay="0">
                        <p:tgtEl>
                          <p:spTgt spid="18"/>
                        </p:tgtEl>
                      </p:cond>
                    </p:stCondLst>
                    <p:endSync evt="end" delay="0">
                      <p:rtn val="all"/>
                    </p:endSync>
                    <p:childTnLst>
                      <p:par>
                        <p:cTn id="119" fill="hold">
                          <p:stCondLst>
                            <p:cond delay="0"/>
                          </p:stCondLst>
                          <p:childTnLst>
                            <p:par>
                              <p:cTn id="120" fill="hold">
                                <p:stCondLst>
                                  <p:cond delay="0"/>
                                </p:stCondLst>
                                <p:childTnLst>
                                  <p:par>
                                    <p:cTn id="121" presetID="1" presetClass="emph" presetSubtype="2" fill="hold" nodeType="clickEffect">
                                      <p:stCondLst>
                                        <p:cond delay="0"/>
                                      </p:stCondLst>
                                      <p:childTnLst>
                                        <p:animClr clrSpc="rgb" dir="cw">
                                          <p:cBhvr>
                                            <p:cTn id="122" dur="500" fill="hold"/>
                                            <p:tgtEl>
                                              <p:spTgt spid="18"/>
                                            </p:tgtEl>
                                            <p:attrNameLst>
                                              <p:attrName>fillcolor</p:attrName>
                                            </p:attrNameLst>
                                          </p:cBhvr>
                                          <p:to>
                                            <a:srgbClr val="FCECD0"/>
                                          </p:to>
                                        </p:animClr>
                                        <p:set>
                                          <p:cBhvr>
                                            <p:cTn id="123" dur="500" fill="hold"/>
                                            <p:tgtEl>
                                              <p:spTgt spid="18"/>
                                            </p:tgtEl>
                                            <p:attrNameLst>
                                              <p:attrName>fill.type</p:attrName>
                                            </p:attrNameLst>
                                          </p:cBhvr>
                                          <p:to>
                                            <p:strVal val="solid"/>
                                          </p:to>
                                        </p:set>
                                        <p:set>
                                          <p:cBhvr>
                                            <p:cTn id="124" dur="500" fill="hold"/>
                                            <p:tgtEl>
                                              <p:spTgt spid="18"/>
                                            </p:tgtEl>
                                            <p:attrNameLst>
                                              <p:attrName>fill.on</p:attrName>
                                            </p:attrNameLst>
                                          </p:cBhvr>
                                          <p:to>
                                            <p:strVal val="true"/>
                                          </p:to>
                                        </p:set>
                                      </p:childTnLst>
                                    </p:cTn>
                                  </p:par>
                                  <p:par>
                                    <p:cTn id="125" presetID="1" presetClass="emph" presetSubtype="2" fill="hold" nodeType="withEffect">
                                      <p:stCondLst>
                                        <p:cond delay="1500"/>
                                      </p:stCondLst>
                                      <p:childTnLst>
                                        <p:animClr clrSpc="rgb" dir="cw">
                                          <p:cBhvr>
                                            <p:cTn id="126" dur="250" fill="hold"/>
                                            <p:tgtEl>
                                              <p:spTgt spid="18"/>
                                            </p:tgtEl>
                                            <p:attrNameLst>
                                              <p:attrName>fillcolor</p:attrName>
                                            </p:attrNameLst>
                                          </p:cBhvr>
                                          <p:to>
                                            <a:srgbClr val="ED5565"/>
                                          </p:to>
                                        </p:animClr>
                                        <p:set>
                                          <p:cBhvr>
                                            <p:cTn id="127" dur="250" fill="hold"/>
                                            <p:tgtEl>
                                              <p:spTgt spid="18"/>
                                            </p:tgtEl>
                                            <p:attrNameLst>
                                              <p:attrName>fill.type</p:attrName>
                                            </p:attrNameLst>
                                          </p:cBhvr>
                                          <p:to>
                                            <p:strVal val="solid"/>
                                          </p:to>
                                        </p:set>
                                        <p:set>
                                          <p:cBhvr>
                                            <p:cTn id="128" dur="250" fill="hold"/>
                                            <p:tgtEl>
                                              <p:spTgt spid="18"/>
                                            </p:tgtEl>
                                            <p:attrNameLst>
                                              <p:attrName>fill.on</p:attrName>
                                            </p:attrNameLst>
                                          </p:cBhvr>
                                          <p:to>
                                            <p:strVal val="true"/>
                                          </p:to>
                                        </p:set>
                                      </p:childTnLst>
                                    </p:cTn>
                                  </p:par>
                                  <p:par>
                                    <p:cTn id="129" presetID="23" presetClass="entr" presetSubtype="32" fill="hold" nodeType="withEffect">
                                      <p:stCondLst>
                                        <p:cond delay="1500"/>
                                      </p:stCondLst>
                                      <p:childTnLst>
                                        <p:set>
                                          <p:cBhvr>
                                            <p:cTn id="130" dur="1" fill="hold">
                                              <p:stCondLst>
                                                <p:cond delay="0"/>
                                              </p:stCondLst>
                                            </p:cTn>
                                            <p:tgtEl>
                                              <p:spTgt spid="29"/>
                                            </p:tgtEl>
                                            <p:attrNameLst>
                                              <p:attrName>style.visibility</p:attrName>
                                            </p:attrNameLst>
                                          </p:cBhvr>
                                          <p:to>
                                            <p:strVal val="visible"/>
                                          </p:to>
                                        </p:set>
                                        <p:anim calcmode="lin" valueType="num">
                                          <p:cBhvr>
                                            <p:cTn id="131" dur="250" fill="hold"/>
                                            <p:tgtEl>
                                              <p:spTgt spid="29"/>
                                            </p:tgtEl>
                                            <p:attrNameLst>
                                              <p:attrName>ppt_w</p:attrName>
                                            </p:attrNameLst>
                                          </p:cBhvr>
                                          <p:tavLst>
                                            <p:tav tm="0">
                                              <p:val>
                                                <p:strVal val="4*#ppt_w"/>
                                              </p:val>
                                            </p:tav>
                                            <p:tav tm="100000">
                                              <p:val>
                                                <p:strVal val="#ppt_w"/>
                                              </p:val>
                                            </p:tav>
                                          </p:tavLst>
                                        </p:anim>
                                        <p:anim calcmode="lin" valueType="num">
                                          <p:cBhvr>
                                            <p:cTn id="132" dur="250" fill="hold"/>
                                            <p:tgtEl>
                                              <p:spTgt spid="29"/>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129"/>
                                                </p:cond>
                                              </p:stCondLst>
                                              <p:endCondLst>
                                                <p:cond evt="onStopAudio" delay="0">
                                                  <p:tgtEl>
                                                    <p:sldTgt/>
                                                  </p:tgtEl>
                                                </p:cond>
                                              </p:endCondLst>
                                            </p:cTn>
                                            <p:tgtEl>
                                              <p:sndTgt r:embed="rId15" name="Wrong Buzzer.wav"/>
                                            </p:tgtEl>
                                          </p:cMediaNode>
                                        </p:audio>
                                      </p:subTnLst>
                                    </p:cTn>
                                  </p:par>
                                </p:childTnLst>
                              </p:cTn>
                            </p:par>
                          </p:childTnLst>
                        </p:cTn>
                      </p:par>
                    </p:childTnLst>
                  </p:cTn>
                  <p:nextCondLst>
                    <p:cond evt="onClick" delay="0">
                      <p:tgtEl>
                        <p:spTgt spid="18"/>
                      </p:tgtEl>
                    </p:cond>
                  </p:nextCondLst>
                </p:seq>
                <p:seq concurrent="1" nextAc="seek">
                  <p:cTn id="133" restart="whenNotActive" fill="hold" evtFilter="cancelBubble" nodeType="interactiveSeq">
                    <p:stCondLst>
                      <p:cond evt="onClick" delay="0">
                        <p:tgtEl>
                          <p:spTgt spid="19"/>
                        </p:tgtEl>
                      </p:cond>
                    </p:stCondLst>
                    <p:endSync evt="end" delay="0">
                      <p:rtn val="all"/>
                    </p:endSync>
                    <p:childTnLst>
                      <p:par>
                        <p:cTn id="134" fill="hold">
                          <p:stCondLst>
                            <p:cond delay="0"/>
                          </p:stCondLst>
                          <p:childTnLst>
                            <p:par>
                              <p:cTn id="135" fill="hold">
                                <p:stCondLst>
                                  <p:cond delay="0"/>
                                </p:stCondLst>
                                <p:childTnLst>
                                  <p:par>
                                    <p:cTn id="136" presetID="1" presetClass="emph" presetSubtype="2" fill="hold" nodeType="clickEffect">
                                      <p:stCondLst>
                                        <p:cond delay="0"/>
                                      </p:stCondLst>
                                      <p:childTnLst>
                                        <p:animClr clrSpc="rgb" dir="cw">
                                          <p:cBhvr>
                                            <p:cTn id="137" dur="500" fill="hold"/>
                                            <p:tgtEl>
                                              <p:spTgt spid="19"/>
                                            </p:tgtEl>
                                            <p:attrNameLst>
                                              <p:attrName>fillcolor</p:attrName>
                                            </p:attrNameLst>
                                          </p:cBhvr>
                                          <p:to>
                                            <a:srgbClr val="FCECD0"/>
                                          </p:to>
                                        </p:animClr>
                                        <p:set>
                                          <p:cBhvr>
                                            <p:cTn id="138" dur="500" fill="hold"/>
                                            <p:tgtEl>
                                              <p:spTgt spid="19"/>
                                            </p:tgtEl>
                                            <p:attrNameLst>
                                              <p:attrName>fill.type</p:attrName>
                                            </p:attrNameLst>
                                          </p:cBhvr>
                                          <p:to>
                                            <p:strVal val="solid"/>
                                          </p:to>
                                        </p:set>
                                        <p:set>
                                          <p:cBhvr>
                                            <p:cTn id="139" dur="500" fill="hold"/>
                                            <p:tgtEl>
                                              <p:spTgt spid="19"/>
                                            </p:tgtEl>
                                            <p:attrNameLst>
                                              <p:attrName>fill.on</p:attrName>
                                            </p:attrNameLst>
                                          </p:cBhvr>
                                          <p:to>
                                            <p:strVal val="true"/>
                                          </p:to>
                                        </p:set>
                                      </p:childTnLst>
                                    </p:cTn>
                                  </p:par>
                                  <p:par>
                                    <p:cTn id="140" presetID="1" presetClass="emph" presetSubtype="2" fill="hold" nodeType="withEffect">
                                      <p:stCondLst>
                                        <p:cond delay="1500"/>
                                      </p:stCondLst>
                                      <p:childTnLst>
                                        <p:animClr clrSpc="rgb" dir="cw">
                                          <p:cBhvr>
                                            <p:cTn id="141" dur="250" fill="hold"/>
                                            <p:tgtEl>
                                              <p:spTgt spid="19"/>
                                            </p:tgtEl>
                                            <p:attrNameLst>
                                              <p:attrName>fillcolor</p:attrName>
                                            </p:attrNameLst>
                                          </p:cBhvr>
                                          <p:to>
                                            <a:srgbClr val="ED5565"/>
                                          </p:to>
                                        </p:animClr>
                                        <p:set>
                                          <p:cBhvr>
                                            <p:cTn id="142" dur="250" fill="hold"/>
                                            <p:tgtEl>
                                              <p:spTgt spid="19"/>
                                            </p:tgtEl>
                                            <p:attrNameLst>
                                              <p:attrName>fill.type</p:attrName>
                                            </p:attrNameLst>
                                          </p:cBhvr>
                                          <p:to>
                                            <p:strVal val="solid"/>
                                          </p:to>
                                        </p:set>
                                        <p:set>
                                          <p:cBhvr>
                                            <p:cTn id="143" dur="250" fill="hold"/>
                                            <p:tgtEl>
                                              <p:spTgt spid="19"/>
                                            </p:tgtEl>
                                            <p:attrNameLst>
                                              <p:attrName>fill.on</p:attrName>
                                            </p:attrNameLst>
                                          </p:cBhvr>
                                          <p:to>
                                            <p:strVal val="true"/>
                                          </p:to>
                                        </p:set>
                                      </p:childTnLst>
                                    </p:cTn>
                                  </p:par>
                                  <p:par>
                                    <p:cTn id="144" presetID="23" presetClass="entr" presetSubtype="32" fill="hold" nodeType="withEffect">
                                      <p:stCondLst>
                                        <p:cond delay="1500"/>
                                      </p:stCondLst>
                                      <p:childTnLst>
                                        <p:set>
                                          <p:cBhvr>
                                            <p:cTn id="145" dur="1" fill="hold">
                                              <p:stCondLst>
                                                <p:cond delay="0"/>
                                              </p:stCondLst>
                                            </p:cTn>
                                            <p:tgtEl>
                                              <p:spTgt spid="20"/>
                                            </p:tgtEl>
                                            <p:attrNameLst>
                                              <p:attrName>style.visibility</p:attrName>
                                            </p:attrNameLst>
                                          </p:cBhvr>
                                          <p:to>
                                            <p:strVal val="visible"/>
                                          </p:to>
                                        </p:set>
                                        <p:anim calcmode="lin" valueType="num">
                                          <p:cBhvr>
                                            <p:cTn id="146" dur="250" fill="hold"/>
                                            <p:tgtEl>
                                              <p:spTgt spid="20"/>
                                            </p:tgtEl>
                                            <p:attrNameLst>
                                              <p:attrName>ppt_w</p:attrName>
                                            </p:attrNameLst>
                                          </p:cBhvr>
                                          <p:tavLst>
                                            <p:tav tm="0">
                                              <p:val>
                                                <p:strVal val="4*#ppt_w"/>
                                              </p:val>
                                            </p:tav>
                                            <p:tav tm="100000">
                                              <p:val>
                                                <p:strVal val="#ppt_w"/>
                                              </p:val>
                                            </p:tav>
                                          </p:tavLst>
                                        </p:anim>
                                        <p:anim calcmode="lin" valueType="num">
                                          <p:cBhvr>
                                            <p:cTn id="147" dur="250" fill="hold"/>
                                            <p:tgtEl>
                                              <p:spTgt spid="20"/>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144"/>
                                                </p:cond>
                                              </p:stCondLst>
                                              <p:endCondLst>
                                                <p:cond evt="onStopAudio" delay="0">
                                                  <p:tgtEl>
                                                    <p:sldTgt/>
                                                  </p:tgtEl>
                                                </p:cond>
                                              </p:endCondLst>
                                            </p:cTn>
                                            <p:tgtEl>
                                              <p:sndTgt r:embed="rId15" name="Wrong Buzzer.wav"/>
                                            </p:tgtEl>
                                          </p:cMediaNode>
                                        </p:audio>
                                      </p:subTnLst>
                                    </p:cTn>
                                  </p:par>
                                </p:childTnLst>
                              </p:cTn>
                            </p:par>
                          </p:childTnLst>
                        </p:cTn>
                      </p:par>
                    </p:childTnLst>
                  </p:cTn>
                  <p:nextCondLst>
                    <p:cond evt="onClick" delay="0">
                      <p:tgtEl>
                        <p:spTgt spid="19"/>
                      </p:tgtEl>
                    </p:cond>
                  </p:nextCondLst>
                </p:seq>
              </p:childTnLst>
            </p:cTn>
          </p:par>
        </p:tnLst>
        <p:bldLst>
          <p:bldP spid="12" grpId="0" animBg="1"/>
          <p:bldP spid="17" grpId="0" animBg="1"/>
          <p:bldP spid="18" grpId="0" animBg="1"/>
          <p:bldP spid="19" grpId="0" animBg="1"/>
          <p:bldP spid="9" grpId="0"/>
          <p:bldP spid="10" grpId="0"/>
          <p:bldP spid="21" grpId="0"/>
          <p:bldP spid="22" grpId="0"/>
          <p:bldP spid="2" grpId="0"/>
          <p:bldP spid="4" grpId="0"/>
          <p:bldP spid="24" grpId="0"/>
          <p:bldP spid="30" grpId="0"/>
        </p:bldLst>
      </p:timing>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04" name="Rectangle 2103">
            <a:extLst>
              <a:ext uri="{FF2B5EF4-FFF2-40B4-BE49-F238E27FC236}">
                <a16:creationId xmlns:a16="http://schemas.microsoft.com/office/drawing/2014/main" id="{1C091803-41C2-48E0-9228-5148460C74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6343" y="448055"/>
            <a:ext cx="9181081" cy="5952745"/>
          </a:xfrm>
          <a:prstGeom prst="rect">
            <a:avLst/>
          </a:prstGeom>
          <a:solidFill>
            <a:schemeClr val="tx1">
              <a:lumMod val="50000"/>
              <a:lumOff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2050" name="Picture 2" descr="Hình ảnh Phóng Viên Phỏng Vấn Phóng Viên Nhân Vật Nhà Báo Vẽ Nhân Vật PNG ,  Phim Hoạt Hình Bằng Tay Gió, Bằng Tay, Quần áo Làm Việc PNG miễn phí">
            <a:extLst>
              <a:ext uri="{FF2B5EF4-FFF2-40B4-BE49-F238E27FC236}">
                <a16:creationId xmlns:a16="http://schemas.microsoft.com/office/drawing/2014/main" id="{9D43834F-71AE-932A-E6F7-F1C94E7876EB}"/>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ackgroundRemoval t="9531" b="90469" l="10000" r="90000">
                        <a14:foregroundMark x1="30312" y1="38125" x2="42031" y2="53281"/>
                        <a14:foregroundMark x1="44531" y1="30000" x2="50625" y2="42500"/>
                        <a14:foregroundMark x1="43906" y1="29844" x2="45469" y2="41094"/>
                        <a14:foregroundMark x1="42031" y1="33438" x2="46250" y2="43125"/>
                        <a14:foregroundMark x1="32813" y1="34375" x2="40313" y2="42656"/>
                        <a14:foregroundMark x1="40313" y1="42656" x2="41406" y2="45156"/>
                        <a14:foregroundMark x1="33125" y1="34531" x2="36875" y2="45313"/>
                        <a14:foregroundMark x1="56094" y1="21094" x2="59844" y2="27500"/>
                        <a14:foregroundMark x1="40000" y1="54688" x2="42813" y2="60000"/>
                        <a14:foregroundMark x1="42188" y1="65156" x2="42188" y2="65156"/>
                        <a14:foregroundMark x1="44844" y1="63281" x2="48125" y2="65781"/>
                        <a14:foregroundMark x1="47656" y1="65156" x2="48750" y2="65781"/>
                        <a14:foregroundMark x1="49063" y1="67969" x2="55625" y2="86563"/>
                        <a14:foregroundMark x1="38594" y1="87656" x2="44375" y2="86563"/>
                        <a14:foregroundMark x1="54688" y1="88750" x2="56250" y2="90469"/>
                        <a14:foregroundMark x1="46563" y1="9531" x2="50000" y2="10469"/>
                      </a14:backgroundRemoval>
                    </a14:imgEffect>
                  </a14:imgLayer>
                </a14:imgProps>
              </a:ext>
              <a:ext uri="{28A0092B-C50C-407E-A947-70E740481C1C}">
                <a14:useLocalDpi xmlns:a14="http://schemas.microsoft.com/office/drawing/2010/main" val="0"/>
              </a:ext>
            </a:extLst>
          </a:blip>
          <a:srcRect l="22698" t="3511" r="32693" b="33915"/>
          <a:stretch/>
        </p:blipFill>
        <p:spPr bwMode="auto">
          <a:xfrm>
            <a:off x="380999" y="2685352"/>
            <a:ext cx="2655277" cy="3724594"/>
          </a:xfrm>
          <a:prstGeom prst="rect">
            <a:avLst/>
          </a:prstGeom>
          <a:noFill/>
          <a:extLst>
            <a:ext uri="{909E8E84-426E-40DD-AFC4-6F175D3DCCD1}">
              <a14:hiddenFill xmlns:a14="http://schemas.microsoft.com/office/drawing/2010/main">
                <a:solidFill>
                  <a:srgbClr val="FFFFFF"/>
                </a:solidFill>
              </a14:hiddenFill>
            </a:ext>
          </a:extLst>
        </p:spPr>
      </p:pic>
      <p:sp>
        <p:nvSpPr>
          <p:cNvPr id="2106" name="Rectangle 2105">
            <a:extLst>
              <a:ext uri="{FF2B5EF4-FFF2-40B4-BE49-F238E27FC236}">
                <a16:creationId xmlns:a16="http://schemas.microsoft.com/office/drawing/2014/main" id="{B775CD93-9DF2-48CB-9F57-1BCA9A46C7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812738" y="448055"/>
            <a:ext cx="1920339" cy="3801257"/>
          </a:xfrm>
          <a:prstGeom prst="rect">
            <a:avLst/>
          </a:prstGeom>
          <a:solidFill>
            <a:srgbClr val="7D4F4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108" name="Rectangle 2107">
            <a:extLst>
              <a:ext uri="{FF2B5EF4-FFF2-40B4-BE49-F238E27FC236}">
                <a16:creationId xmlns:a16="http://schemas.microsoft.com/office/drawing/2014/main" id="{6166C6D1-23AC-49C4-BA07-238E4E9F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812740" y="4419227"/>
            <a:ext cx="1920338" cy="1979852"/>
          </a:xfrm>
          <a:prstGeom prst="rect">
            <a:avLst/>
          </a:prstGeom>
          <a:solidFill>
            <a:schemeClr val="accent5">
              <a:alpha val="9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2" name="Group 1">
            <a:extLst>
              <a:ext uri="{FF2B5EF4-FFF2-40B4-BE49-F238E27FC236}">
                <a16:creationId xmlns:a16="http://schemas.microsoft.com/office/drawing/2014/main" id="{016F3110-BF7A-1290-B384-A3A086B1C701}"/>
              </a:ext>
            </a:extLst>
          </p:cNvPr>
          <p:cNvGrpSpPr/>
          <p:nvPr/>
        </p:nvGrpSpPr>
        <p:grpSpPr>
          <a:xfrm>
            <a:off x="2592272" y="890669"/>
            <a:ext cx="7002665" cy="2602807"/>
            <a:chOff x="2602005" y="1093428"/>
            <a:chExt cx="9023617" cy="2604514"/>
          </a:xfrm>
        </p:grpSpPr>
        <p:pic>
          <p:nvPicPr>
            <p:cNvPr id="3" name="Picture 2">
              <a:extLst>
                <a:ext uri="{FF2B5EF4-FFF2-40B4-BE49-F238E27FC236}">
                  <a16:creationId xmlns:a16="http://schemas.microsoft.com/office/drawing/2014/main" id="{4A42848F-B650-129D-0516-85031C77B07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flipH="1">
              <a:off x="2602005" y="1093428"/>
              <a:ext cx="9023617" cy="2604514"/>
            </a:xfrm>
            <a:prstGeom prst="rect">
              <a:avLst/>
            </a:prstGeom>
          </p:spPr>
        </p:pic>
        <p:sp>
          <p:nvSpPr>
            <p:cNvPr id="4" name="TextBox 3">
              <a:extLst>
                <a:ext uri="{FF2B5EF4-FFF2-40B4-BE49-F238E27FC236}">
                  <a16:creationId xmlns:a16="http://schemas.microsoft.com/office/drawing/2014/main" id="{B2559E89-4442-5A86-E412-883D4A270399}"/>
                </a:ext>
              </a:extLst>
            </p:cNvPr>
            <p:cNvSpPr txBox="1"/>
            <p:nvPr/>
          </p:nvSpPr>
          <p:spPr>
            <a:xfrm>
              <a:off x="3292474" y="1487148"/>
              <a:ext cx="7896829" cy="5235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C0504D">
                    <a:lumMod val="50000"/>
                  </a:srgbClr>
                </a:solidFill>
                <a:effectLst/>
                <a:uLnTx/>
                <a:uFillTx/>
                <a:latin typeface="Nunito Black" panose="00000A00000000000000" pitchFamily="2" charset="0"/>
                <a:ea typeface="+mn-ea"/>
                <a:cs typeface="+mn-cs"/>
              </a:endParaRPr>
            </a:p>
          </p:txBody>
        </p:sp>
      </p:grpSp>
      <p:sp>
        <p:nvSpPr>
          <p:cNvPr id="5" name="文本框 5">
            <a:extLst>
              <a:ext uri="{FF2B5EF4-FFF2-40B4-BE49-F238E27FC236}">
                <a16:creationId xmlns:a16="http://schemas.microsoft.com/office/drawing/2014/main" id="{3CE5F19A-E68B-FCEC-E581-C278FF38A175}"/>
              </a:ext>
            </a:extLst>
          </p:cNvPr>
          <p:cNvSpPr txBox="1"/>
          <p:nvPr/>
        </p:nvSpPr>
        <p:spPr>
          <a:xfrm>
            <a:off x="2812266" y="1254666"/>
            <a:ext cx="7000472" cy="1641347"/>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altLang="zh-CN" sz="3600" b="1" i="0" u="none" strike="noStrike" kern="1200" cap="none" spc="0" normalizeH="0" baseline="0" noProof="0" err="1">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Muốn</a:t>
            </a:r>
            <a:r>
              <a:rPr kumimoji="0" lang="en-US" altLang="zh-CN" sz="3600" b="1" i="0" u="none" strike="noStrike" kern="1200" cap="none" spc="0" normalizeH="0" baseline="0" noProof="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 trừ </a:t>
            </a:r>
            <a:r>
              <a:rPr kumimoji="0" lang="en-US" altLang="zh-CN" sz="3600" b="1"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2 </a:t>
            </a:r>
            <a:r>
              <a:rPr kumimoji="0" lang="en-US" altLang="zh-CN" sz="3600" b="1" i="0" u="none" strike="noStrike" kern="1200" cap="none" spc="0" normalizeH="0" baseline="0" noProof="0" dirty="0" err="1">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số</a:t>
            </a:r>
            <a:r>
              <a:rPr kumimoji="0" lang="en-US" altLang="zh-CN" sz="3600" b="1"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altLang="zh-CN" sz="3600" b="1" i="0" u="none" strike="noStrike" kern="1200" cap="none" spc="0" normalizeH="0" baseline="0" noProof="0" dirty="0" err="1">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thập</a:t>
            </a:r>
            <a:r>
              <a:rPr kumimoji="0" lang="en-US" altLang="zh-CN" sz="3600" b="1"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altLang="zh-CN" sz="3600" b="1" i="0" u="none" strike="noStrike" kern="1200" cap="none" spc="0" normalizeH="0" baseline="0" noProof="0" err="1">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phân</a:t>
            </a:r>
            <a:r>
              <a:rPr kumimoji="0" lang="en-US" altLang="zh-CN" sz="3600" b="1" i="0" u="none" strike="noStrike" kern="1200" cap="none" spc="0" normalizeH="0" baseline="0" noProof="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altLang="zh-CN" sz="3600" b="1" i="0" u="none" strike="noStrike" kern="1200" cap="none" spc="0" normalizeH="0" baseline="0" noProof="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ta </a:t>
            </a:r>
            <a:r>
              <a:rPr kumimoji="0" lang="en-US" altLang="zh-CN" sz="3600" b="1" i="0" u="none" strike="noStrike" kern="1200" cap="none" spc="0" normalizeH="0" baseline="0" noProof="0" dirty="0" err="1">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làm</a:t>
            </a:r>
            <a:r>
              <a:rPr kumimoji="0" lang="en-US" altLang="zh-CN" sz="3600" b="1"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altLang="zh-CN" sz="3600" b="1" i="0" u="none" strike="noStrike" kern="1200" cap="none" spc="0" normalizeH="0" baseline="0" noProof="0" dirty="0" err="1">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như</a:t>
            </a:r>
            <a:r>
              <a:rPr kumimoji="0" lang="en-US" altLang="zh-CN" sz="3600" b="1"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altLang="zh-CN" sz="3600" b="1" i="0" u="none" strike="noStrike" kern="1200" cap="none" spc="0" normalizeH="0" baseline="0" noProof="0" dirty="0" err="1">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thế</a:t>
            </a:r>
            <a:r>
              <a:rPr kumimoji="0" lang="en-US" altLang="zh-CN" sz="3600" b="1"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altLang="zh-CN" sz="3600" b="1" i="0" u="none" strike="noStrike" kern="1200" cap="none" spc="0" normalizeH="0" baseline="0" noProof="0" dirty="0" err="1">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nào</a:t>
            </a:r>
            <a:r>
              <a:rPr kumimoji="0" lang="en-US" altLang="zh-CN" sz="3600" b="1"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zh-CN" altLang="en-US" sz="3600" b="1" i="0" u="none" strike="noStrike" kern="1200" cap="none" spc="0" normalizeH="0" baseline="0" noProof="0" dirty="0">
              <a:ln>
                <a:noFill/>
              </a:ln>
              <a:solidFill>
                <a:srgbClr val="002060"/>
              </a:solidFill>
              <a:effectLst/>
              <a:uLnTx/>
              <a:uFillTx/>
              <a:latin typeface="Tahoma" panose="020B0604030504040204" pitchFamily="34" charset="0"/>
              <a:ea typeface="字魂36号-正文宋楷" panose="02000000000000000000" pitchFamily="2" charset="-122"/>
              <a:cs typeface="Tahoma" panose="020B0604030504040204" pitchFamily="34" charset="0"/>
            </a:endParaRPr>
          </a:p>
        </p:txBody>
      </p:sp>
      <p:grpSp>
        <p:nvGrpSpPr>
          <p:cNvPr id="6" name="Group 5">
            <a:extLst>
              <a:ext uri="{FF2B5EF4-FFF2-40B4-BE49-F238E27FC236}">
                <a16:creationId xmlns:a16="http://schemas.microsoft.com/office/drawing/2014/main" id="{5894406F-7A61-56DE-E122-AEE57D728FE3}"/>
              </a:ext>
            </a:extLst>
          </p:cNvPr>
          <p:cNvGrpSpPr/>
          <p:nvPr/>
        </p:nvGrpSpPr>
        <p:grpSpPr>
          <a:xfrm>
            <a:off x="2476038" y="319917"/>
            <a:ext cx="7679138" cy="5634309"/>
            <a:chOff x="2602005" y="1093428"/>
            <a:chExt cx="9023617" cy="2604514"/>
          </a:xfrm>
        </p:grpSpPr>
        <p:pic>
          <p:nvPicPr>
            <p:cNvPr id="10" name="Picture 2">
              <a:extLst>
                <a:ext uri="{FF2B5EF4-FFF2-40B4-BE49-F238E27FC236}">
                  <a16:creationId xmlns:a16="http://schemas.microsoft.com/office/drawing/2014/main" id="{F779004A-E59F-7DBA-5629-DA5D0BEECC6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flipH="1">
              <a:off x="2602005" y="1093428"/>
              <a:ext cx="9023617" cy="2604514"/>
            </a:xfrm>
            <a:prstGeom prst="rect">
              <a:avLst/>
            </a:prstGeom>
          </p:spPr>
        </p:pic>
        <p:sp>
          <p:nvSpPr>
            <p:cNvPr id="12" name="TextBox 11">
              <a:extLst>
                <a:ext uri="{FF2B5EF4-FFF2-40B4-BE49-F238E27FC236}">
                  <a16:creationId xmlns:a16="http://schemas.microsoft.com/office/drawing/2014/main" id="{45521538-97D4-187B-898F-EA9A7E88BBA2}"/>
                </a:ext>
              </a:extLst>
            </p:cNvPr>
            <p:cNvSpPr txBox="1"/>
            <p:nvPr/>
          </p:nvSpPr>
          <p:spPr>
            <a:xfrm>
              <a:off x="3292474" y="1487148"/>
              <a:ext cx="7896829" cy="5235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C0504D">
                    <a:lumMod val="50000"/>
                  </a:srgbClr>
                </a:solidFill>
                <a:effectLst/>
                <a:uLnTx/>
                <a:uFillTx/>
                <a:latin typeface="Nunito Black" panose="00000A00000000000000" pitchFamily="2" charset="0"/>
                <a:ea typeface="+mn-ea"/>
                <a:cs typeface="+mn-cs"/>
              </a:endParaRPr>
            </a:p>
          </p:txBody>
        </p:sp>
      </p:grpSp>
      <p:sp>
        <p:nvSpPr>
          <p:cNvPr id="13" name="文本框 5">
            <a:extLst>
              <a:ext uri="{FF2B5EF4-FFF2-40B4-BE49-F238E27FC236}">
                <a16:creationId xmlns:a16="http://schemas.microsoft.com/office/drawing/2014/main" id="{91D60F08-B605-D41A-7C61-CABED159B30C}"/>
              </a:ext>
            </a:extLst>
          </p:cNvPr>
          <p:cNvSpPr txBox="1"/>
          <p:nvPr/>
        </p:nvSpPr>
        <p:spPr>
          <a:xfrm>
            <a:off x="3344620" y="1006527"/>
            <a:ext cx="6000670" cy="35394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a:ln>
                  <a:noFill/>
                </a:ln>
                <a:solidFill>
                  <a:srgbClr val="FF0000"/>
                </a:solidFill>
                <a:effectLst/>
                <a:uLnTx/>
                <a:uFillTx/>
                <a:latin typeface="UTM Neo Sans Intel" pitchFamily="18" charset="0"/>
                <a:ea typeface="字魂36号-正文宋楷" panose="02000000000000000000" pitchFamily="2" charset="-122"/>
                <a:cs typeface="+mn-cs"/>
              </a:rPr>
              <a:t>Muốn trừ 2 số thập phân ta làm như sau:</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a:ln>
                  <a:noFill/>
                </a:ln>
                <a:solidFill>
                  <a:srgbClr val="C0504D">
                    <a:lumMod val="50000"/>
                  </a:srgbClr>
                </a:solidFill>
                <a:effectLst/>
                <a:uLnTx/>
                <a:uFillTx/>
                <a:latin typeface="UTM Neo Sans Intel" pitchFamily="18" charset="0"/>
                <a:ea typeface="字魂36号-正文宋楷" panose="02000000000000000000" pitchFamily="2" charset="-122"/>
                <a:cs typeface="+mn-cs"/>
              </a:rPr>
              <a:t>- Đặt tính sao cho chữ số ở các hàng thẳng cột nhau.</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a:ln>
                  <a:noFill/>
                </a:ln>
                <a:solidFill>
                  <a:srgbClr val="C0504D">
                    <a:lumMod val="50000"/>
                  </a:srgbClr>
                </a:solidFill>
                <a:effectLst/>
                <a:uLnTx/>
                <a:uFillTx/>
                <a:latin typeface="UTM Neo Sans Intel" pitchFamily="18" charset="0"/>
                <a:ea typeface="字魂36号-正文宋楷" panose="02000000000000000000" pitchFamily="2" charset="-122"/>
                <a:cs typeface="+mn-cs"/>
              </a:rPr>
              <a:t>- Trừ như trừ các số tự nhiên.</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a:ln>
                  <a:noFill/>
                </a:ln>
                <a:solidFill>
                  <a:srgbClr val="C0504D">
                    <a:lumMod val="50000"/>
                  </a:srgbClr>
                </a:solidFill>
                <a:effectLst/>
                <a:uLnTx/>
                <a:uFillTx/>
                <a:latin typeface="UTM Neo Sans Intel" pitchFamily="18" charset="0"/>
                <a:ea typeface="字魂36号-正文宋楷" panose="02000000000000000000" pitchFamily="2" charset="-122"/>
                <a:cs typeface="+mn-cs"/>
              </a:rPr>
              <a:t>- Viết dấu phẩy thẳng cột với các dấu phẩy của số bị trừ và số trừ.</a:t>
            </a:r>
            <a:endParaRPr kumimoji="0" lang="en-US" altLang="zh-CN" sz="3200" b="1" i="0" u="none" strike="noStrike" kern="1200" cap="none" spc="0" normalizeH="0" baseline="0" noProof="0" dirty="0">
              <a:ln>
                <a:noFill/>
              </a:ln>
              <a:solidFill>
                <a:srgbClr val="C0504D">
                  <a:lumMod val="50000"/>
                </a:srgbClr>
              </a:solidFill>
              <a:effectLst/>
              <a:uLnTx/>
              <a:uFillTx/>
              <a:latin typeface="UTM Neo Sans Intel" pitchFamily="18" charset="0"/>
              <a:ea typeface="字魂36号-正文宋楷" panose="02000000000000000000" pitchFamily="2" charset="-122"/>
              <a:cs typeface="+mn-cs"/>
            </a:endParaRPr>
          </a:p>
        </p:txBody>
      </p:sp>
    </p:spTree>
    <p:extLst>
      <p:ext uri="{BB962C8B-B14F-4D97-AF65-F5344CB8AC3E}">
        <p14:creationId xmlns:p14="http://schemas.microsoft.com/office/powerpoint/2010/main" val="266926522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wipe(down)">
                                      <p:cBhvr>
                                        <p:cTn id="12" dur="500"/>
                                        <p:tgtEl>
                                          <p:spTgt spid="13"/>
                                        </p:tgtEl>
                                      </p:cBhvr>
                                    </p:animEffect>
                                  </p:childTnLst>
                                </p:cTn>
                              </p:par>
                              <p:par>
                                <p:cTn id="13" presetID="22" presetClass="entr" presetSubtype="4" fill="hold"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down)">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772D1759-950B-4696-9447-CEA7823C04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Snip Diagonal Corner Rectangle 3">
            <a:extLst>
              <a:ext uri="{FF2B5EF4-FFF2-40B4-BE49-F238E27FC236}">
                <a16:creationId xmlns:a16="http://schemas.microsoft.com/office/drawing/2014/main" id="{0BEB7791-20AB-4543-B399-7279E390E3E2}"/>
              </a:ext>
            </a:extLst>
          </p:cNvPr>
          <p:cNvSpPr/>
          <p:nvPr/>
        </p:nvSpPr>
        <p:spPr>
          <a:xfrm>
            <a:off x="2189103" y="246160"/>
            <a:ext cx="7611656" cy="1407137"/>
          </a:xfrm>
          <a:prstGeom prst="round2DiagRect">
            <a:avLst>
              <a:gd name="adj1" fmla="val 29425"/>
              <a:gd name="adj2" fmla="val 5074"/>
            </a:avLst>
          </a:prstGeom>
          <a:solidFill>
            <a:schemeClr val="bg1"/>
          </a:solidFill>
          <a:ln w="57150">
            <a:solidFill>
              <a:srgbClr val="E65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sz="2600" cap="none">
                <a:solidFill>
                  <a:srgbClr val="717172"/>
                </a:solidFill>
                <a:latin typeface="Lato Regular"/>
                <a:ea typeface="Lato Regular"/>
                <a:cs typeface="Lato Regular"/>
                <a:sym typeface="Lato Regular"/>
              </a:defRPr>
            </a:pPr>
            <a:r>
              <a:rPr kumimoji="0" lang="en-US" sz="48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c, 16,39 + 5,25 – 10,3</a:t>
            </a:r>
            <a:endParaRPr kumimoji="0" lang="en-US" sz="4800" b="1" i="0" u="none" strike="noStrike" kern="1200" cap="none" spc="0" normalizeH="0" baseline="0" noProof="0" dirty="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p:txBody>
      </p:sp>
      <p:pic>
        <p:nvPicPr>
          <p:cNvPr id="23" name="Picture 22">
            <a:extLst>
              <a:ext uri="{FF2B5EF4-FFF2-40B4-BE49-F238E27FC236}">
                <a16:creationId xmlns:a16="http://schemas.microsoft.com/office/drawing/2014/main" id="{41C484AF-79E3-41AE-A433-F54C3A7BCA3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7829" y="1415747"/>
            <a:ext cx="647213" cy="4306615"/>
          </a:xfrm>
          <a:prstGeom prst="rect">
            <a:avLst/>
          </a:prstGeom>
        </p:spPr>
      </p:pic>
      <p:pic>
        <p:nvPicPr>
          <p:cNvPr id="27" name="Thoi Gian - 9Slide.vn">
            <a:extLst>
              <a:ext uri="{FF2B5EF4-FFF2-40B4-BE49-F238E27FC236}">
                <a16:creationId xmlns:a16="http://schemas.microsoft.com/office/drawing/2014/main" id="{201F5575-422E-4FC8-BD3B-78F09E84370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3487" y="1415747"/>
            <a:ext cx="647583" cy="4309071"/>
          </a:xfrm>
          <a:prstGeom prst="rect">
            <a:avLst/>
          </a:prstGeom>
        </p:spPr>
      </p:pic>
      <p:pic>
        <p:nvPicPr>
          <p:cNvPr id="13" name="Content Placeholder 12">
            <a:hlinkClick r:id="rId7" action="ppaction://hlinksldjump"/>
            <a:extLst>
              <a:ext uri="{FF2B5EF4-FFF2-40B4-BE49-F238E27FC236}">
                <a16:creationId xmlns:a16="http://schemas.microsoft.com/office/drawing/2014/main" id="{ED80E900-1749-4BC8-9668-6BC593C919E3}"/>
              </a:ext>
            </a:extLst>
          </p:cNvPr>
          <p:cNvPicPr>
            <a:picLocks noGrp="1" noChangeAspect="1"/>
          </p:cNvPicPr>
          <p:nvPr>
            <p:ph idx="4294967295"/>
          </p:nvPr>
        </p:nvPicPr>
        <p:blipFill>
          <a:blip r:embed="rId8">
            <a:extLst>
              <a:ext uri="{28A0092B-C50C-407E-A947-70E740481C1C}">
                <a14:useLocalDpi xmlns:a14="http://schemas.microsoft.com/office/drawing/2010/main" val="0"/>
              </a:ext>
            </a:extLst>
          </a:blip>
          <a:stretch>
            <a:fillRect/>
          </a:stretch>
        </p:blipFill>
        <p:spPr>
          <a:xfrm rot="16200000">
            <a:off x="-174946" y="4994809"/>
            <a:ext cx="1372764" cy="983309"/>
          </a:xfrm>
          <a:prstGeom prst="rect">
            <a:avLst/>
          </a:prstGeom>
        </p:spPr>
      </p:pic>
      <p:pic>
        <p:nvPicPr>
          <p:cNvPr id="15" name="Content Placeholder 121">
            <a:extLst>
              <a:ext uri="{FF2B5EF4-FFF2-40B4-BE49-F238E27FC236}">
                <a16:creationId xmlns:a16="http://schemas.microsoft.com/office/drawing/2014/main" id="{708732F1-9D41-4539-8E15-67376D65174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9540099">
            <a:off x="11465054" y="-4611994"/>
            <a:ext cx="7310041" cy="5236265"/>
          </a:xfrm>
          <a:prstGeom prst="rect">
            <a:avLst/>
          </a:prstGeom>
        </p:spPr>
      </p:pic>
      <p:grpSp>
        <p:nvGrpSpPr>
          <p:cNvPr id="26" name="Group 25">
            <a:extLst>
              <a:ext uri="{FF2B5EF4-FFF2-40B4-BE49-F238E27FC236}">
                <a16:creationId xmlns:a16="http://schemas.microsoft.com/office/drawing/2014/main" id="{C4C33833-031C-27D0-5026-72067806C80C}"/>
              </a:ext>
            </a:extLst>
          </p:cNvPr>
          <p:cNvGrpSpPr/>
          <p:nvPr/>
        </p:nvGrpSpPr>
        <p:grpSpPr>
          <a:xfrm>
            <a:off x="-42500" y="71655"/>
            <a:ext cx="1407136" cy="1407136"/>
            <a:chOff x="-42500" y="71655"/>
            <a:chExt cx="1407136" cy="1407136"/>
          </a:xfrm>
        </p:grpSpPr>
        <p:pic>
          <p:nvPicPr>
            <p:cNvPr id="11" name="Picture 10">
              <a:extLst>
                <a:ext uri="{FF2B5EF4-FFF2-40B4-BE49-F238E27FC236}">
                  <a16:creationId xmlns:a16="http://schemas.microsoft.com/office/drawing/2014/main" id="{A30936A0-B094-4C58-AB3F-1DA17E023A7B}"/>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42500" y="71655"/>
              <a:ext cx="1407136" cy="1407136"/>
            </a:xfrm>
            <a:prstGeom prst="rect">
              <a:avLst/>
            </a:prstGeom>
          </p:spPr>
        </p:pic>
        <p:sp>
          <p:nvSpPr>
            <p:cNvPr id="25" name="TextBox 24">
              <a:extLst>
                <a:ext uri="{FF2B5EF4-FFF2-40B4-BE49-F238E27FC236}">
                  <a16:creationId xmlns:a16="http://schemas.microsoft.com/office/drawing/2014/main" id="{5622D553-35EA-A50F-FA16-98E899209297}"/>
                </a:ext>
              </a:extLst>
            </p:cNvPr>
            <p:cNvSpPr txBox="1"/>
            <p:nvPr/>
          </p:nvSpPr>
          <p:spPr>
            <a:xfrm>
              <a:off x="337461" y="230063"/>
              <a:ext cx="599517" cy="1081980"/>
            </a:xfrm>
            <a:prstGeom prst="ellipse">
              <a:avLst/>
            </a:prstGeom>
            <a:solidFill>
              <a:srgbClr val="FEF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E7597C">
                      <a:lumMod val="50000"/>
                    </a:srgbClr>
                  </a:solidFill>
                  <a:effectLst/>
                  <a:uLnTx/>
                  <a:uFillTx/>
                  <a:latin typeface="Tahoma" panose="020B0604030504040204" pitchFamily="34" charset="0"/>
                  <a:ea typeface="Tahoma" panose="020B0604030504040204" pitchFamily="34" charset="0"/>
                  <a:cs typeface="Tahoma" panose="020B0604030504040204" pitchFamily="34" charset="0"/>
                </a:rPr>
                <a:t>3</a:t>
              </a:r>
            </a:p>
          </p:txBody>
        </p:sp>
      </p:grpSp>
      <p:pic>
        <p:nvPicPr>
          <p:cNvPr id="4" name="Picture 3">
            <a:extLst>
              <a:ext uri="{FF2B5EF4-FFF2-40B4-BE49-F238E27FC236}">
                <a16:creationId xmlns:a16="http://schemas.microsoft.com/office/drawing/2014/main" id="{261A2F27-D936-E661-853A-3528E49ABA8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flipH="1">
            <a:off x="1877049" y="1653297"/>
            <a:ext cx="6871128" cy="4519549"/>
          </a:xfrm>
          <a:prstGeom prst="rect">
            <a:avLst/>
          </a:prstGeom>
        </p:spPr>
      </p:pic>
      <p:sp>
        <p:nvSpPr>
          <p:cNvPr id="30" name="TextBox 29">
            <a:extLst>
              <a:ext uri="{FF2B5EF4-FFF2-40B4-BE49-F238E27FC236}">
                <a16:creationId xmlns:a16="http://schemas.microsoft.com/office/drawing/2014/main" id="{C3626458-7968-E48C-F2B3-7332CF2EB210}"/>
              </a:ext>
            </a:extLst>
          </p:cNvPr>
          <p:cNvSpPr txBox="1"/>
          <p:nvPr/>
        </p:nvSpPr>
        <p:spPr>
          <a:xfrm>
            <a:off x="1486221" y="2696931"/>
            <a:ext cx="7705248" cy="2018694"/>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4400" b="1" i="0" u="none" strike="noStrike" kern="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Thực hiện biểu thức này</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4400" b="1" i="0" u="none" strike="noStrike" kern="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 theo thứ tự nào?</a:t>
            </a:r>
            <a:endParaRPr kumimoji="0" lang="en-US" altLang="zh-CN" sz="4400" b="1" i="0" u="none" strike="noStrike" kern="1200" cap="none" spc="0" normalizeH="0" baseline="0" noProof="0" dirty="0">
              <a:ln>
                <a:noFill/>
              </a:ln>
              <a:solidFill>
                <a:srgbClr val="002060"/>
              </a:solidFill>
              <a:effectLst/>
              <a:uLnTx/>
              <a:uFillTx/>
              <a:latin typeface="Calibri" panose="020F0502020204030204" pitchFamily="34" charset="0"/>
              <a:ea typeface="字魂36号-正文宋楷" panose="02000000000000000000" pitchFamily="2" charset="-122"/>
              <a:cs typeface="Calibri" panose="020F0502020204030204" pitchFamily="34" charset="0"/>
            </a:endParaRPr>
          </a:p>
        </p:txBody>
      </p:sp>
      <p:pic>
        <p:nvPicPr>
          <p:cNvPr id="31" name="Picture 30">
            <a:extLst>
              <a:ext uri="{FF2B5EF4-FFF2-40B4-BE49-F238E27FC236}">
                <a16:creationId xmlns:a16="http://schemas.microsoft.com/office/drawing/2014/main" id="{DF307343-D542-88A2-7885-DCDBB83DFD7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flipH="1">
            <a:off x="1827558" y="1719911"/>
            <a:ext cx="6871128" cy="4519549"/>
          </a:xfrm>
          <a:prstGeom prst="rect">
            <a:avLst/>
          </a:prstGeom>
        </p:spPr>
      </p:pic>
      <p:sp>
        <p:nvSpPr>
          <p:cNvPr id="32" name="TextBox 31">
            <a:extLst>
              <a:ext uri="{FF2B5EF4-FFF2-40B4-BE49-F238E27FC236}">
                <a16:creationId xmlns:a16="http://schemas.microsoft.com/office/drawing/2014/main" id="{AE65A35E-1AD8-B92D-04E0-75A0BDD6C17D}"/>
              </a:ext>
            </a:extLst>
          </p:cNvPr>
          <p:cNvSpPr txBox="1"/>
          <p:nvPr/>
        </p:nvSpPr>
        <p:spPr>
          <a:xfrm>
            <a:off x="2705849" y="2599132"/>
            <a:ext cx="5439188" cy="2472343"/>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nb-NO" sz="3600" b="1" i="0" u="none" strike="noStrike" kern="0" cap="none" spc="0" normalizeH="0" baseline="0" noProof="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Thực hiện từ trái sang phải vì biểu thức có tính cộng và tính trừ.</a:t>
            </a:r>
            <a:endParaRPr kumimoji="0" lang="en-US" altLang="zh-CN" sz="3600" b="1"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3" name="Snip Diagonal Corner Rectangle 3">
            <a:extLst>
              <a:ext uri="{FF2B5EF4-FFF2-40B4-BE49-F238E27FC236}">
                <a16:creationId xmlns:a16="http://schemas.microsoft.com/office/drawing/2014/main" id="{478071C3-FCBB-C469-CC63-7E6F64B97467}"/>
              </a:ext>
            </a:extLst>
          </p:cNvPr>
          <p:cNvSpPr/>
          <p:nvPr/>
        </p:nvSpPr>
        <p:spPr>
          <a:xfrm>
            <a:off x="1123780" y="230063"/>
            <a:ext cx="8653057" cy="4519549"/>
          </a:xfrm>
          <a:prstGeom prst="round2DiagRect">
            <a:avLst>
              <a:gd name="adj1" fmla="val 29425"/>
              <a:gd name="adj2" fmla="val 5074"/>
            </a:avLst>
          </a:prstGeom>
          <a:solidFill>
            <a:schemeClr val="bg1"/>
          </a:solidFill>
          <a:ln w="57150">
            <a:solidFill>
              <a:srgbClr val="E65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sz="2600" cap="none">
                <a:solidFill>
                  <a:srgbClr val="717172"/>
                </a:solidFill>
                <a:latin typeface="Lato Regular"/>
                <a:ea typeface="Lato Regular"/>
                <a:cs typeface="Lato Regular"/>
                <a:sym typeface="Lato Regular"/>
              </a:defRPr>
            </a:pPr>
            <a:endParaRPr kumimoji="0" lang="en-US" sz="48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a:p>
            <a:pPr marL="0" marR="0" lvl="0" indent="0" algn="ctr" defTabSz="914400" rtl="0" eaLnBrk="1" fontAlgn="auto" latinLnBrk="0" hangingPunct="1">
              <a:lnSpc>
                <a:spcPct val="150000"/>
              </a:lnSpc>
              <a:spcBef>
                <a:spcPts val="0"/>
              </a:spcBef>
              <a:spcAft>
                <a:spcPts val="0"/>
              </a:spcAft>
              <a:buClrTx/>
              <a:buSzTx/>
              <a:buFontTx/>
              <a:buNone/>
              <a:tabLst/>
              <a:defRPr sz="2600" cap="none">
                <a:solidFill>
                  <a:srgbClr val="717172"/>
                </a:solidFill>
                <a:latin typeface="Lato Regular"/>
                <a:ea typeface="Lato Regular"/>
                <a:cs typeface="Lato Regular"/>
                <a:sym typeface="Lato Regular"/>
              </a:defRPr>
            </a:pPr>
            <a:endParaRPr kumimoji="0" lang="en-US" sz="48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a:p>
            <a:pPr marL="0" marR="0" lvl="0" indent="0" algn="ctr" defTabSz="914400" rtl="0" eaLnBrk="1" fontAlgn="auto" latinLnBrk="0" hangingPunct="1">
              <a:lnSpc>
                <a:spcPct val="150000"/>
              </a:lnSpc>
              <a:spcBef>
                <a:spcPts val="0"/>
              </a:spcBef>
              <a:spcAft>
                <a:spcPts val="0"/>
              </a:spcAft>
              <a:buClrTx/>
              <a:buSzTx/>
              <a:buFontTx/>
              <a:buNone/>
              <a:tabLst/>
              <a:defRPr sz="2600" cap="none">
                <a:solidFill>
                  <a:srgbClr val="717172"/>
                </a:solidFill>
                <a:latin typeface="Lato Regular"/>
                <a:ea typeface="Lato Regular"/>
                <a:cs typeface="Lato Regular"/>
                <a:sym typeface="Lato Regular"/>
              </a:defRPr>
            </a:pPr>
            <a:r>
              <a:rPr kumimoji="0" lang="en-US" sz="48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c, 16,39 + 5,25 – 10,3</a:t>
            </a:r>
          </a:p>
          <a:p>
            <a:pPr marL="0" marR="0" lvl="0" indent="0" algn="l" defTabSz="914400" rtl="0" eaLnBrk="1" fontAlgn="auto" latinLnBrk="0" hangingPunct="1">
              <a:lnSpc>
                <a:spcPct val="150000"/>
              </a:lnSpc>
              <a:spcBef>
                <a:spcPts val="0"/>
              </a:spcBef>
              <a:spcAft>
                <a:spcPts val="0"/>
              </a:spcAft>
              <a:buClrTx/>
              <a:buSzTx/>
              <a:buFontTx/>
              <a:buNone/>
              <a:tabLst/>
              <a:defRPr sz="2600" cap="none">
                <a:solidFill>
                  <a:srgbClr val="717172"/>
                </a:solidFill>
                <a:latin typeface="Lato Regular"/>
                <a:ea typeface="Lato Regular"/>
                <a:cs typeface="Lato Regular"/>
                <a:sym typeface="Lato Regular"/>
              </a:defRPr>
            </a:pPr>
            <a:r>
              <a:rPr kumimoji="0" lang="en-US" sz="48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  </a:t>
            </a:r>
            <a:r>
              <a:rPr kumimoji="0" lang="en-US" sz="4800" b="1" i="0" u="none" strike="noStrike" kern="1200" cap="none" spc="0" normalizeH="0" baseline="0" noProof="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        21,64       </a:t>
            </a:r>
            <a:r>
              <a:rPr kumimoji="0" lang="en-US" sz="48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a:t>
            </a:r>
            <a:r>
              <a:rPr kumimoji="0" lang="en-US" sz="4800" b="1" i="0" u="none" strike="noStrike" kern="1200" cap="none" spc="0" normalizeH="0" baseline="0" noProof="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 10,3</a:t>
            </a:r>
          </a:p>
          <a:p>
            <a:pPr marL="0" marR="0" lvl="0" indent="0" algn="l" defTabSz="914400" rtl="0" eaLnBrk="1" fontAlgn="auto" latinLnBrk="0" hangingPunct="1">
              <a:lnSpc>
                <a:spcPct val="150000"/>
              </a:lnSpc>
              <a:spcBef>
                <a:spcPts val="0"/>
              </a:spcBef>
              <a:spcAft>
                <a:spcPts val="0"/>
              </a:spcAft>
              <a:buClrTx/>
              <a:buSzTx/>
              <a:buFontTx/>
              <a:buNone/>
              <a:tabLst/>
              <a:defRPr sz="2600" cap="none">
                <a:solidFill>
                  <a:srgbClr val="717172"/>
                </a:solidFill>
                <a:latin typeface="Lato Regular"/>
                <a:ea typeface="Lato Regular"/>
                <a:cs typeface="Lato Regular"/>
                <a:sym typeface="Lato Regular"/>
              </a:defRPr>
            </a:pPr>
            <a:r>
              <a:rPr kumimoji="0" lang="en-US" sz="4800" b="1" i="0" u="none" strike="noStrike" kern="1200" cap="none" spc="0" normalizeH="0" baseline="0" noProof="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  =                  11,34  </a:t>
            </a:r>
            <a:endParaRPr kumimoji="0" lang="en-US" sz="48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a:p>
            <a:pPr marL="0" marR="0" lvl="0" indent="0" algn="ctr" defTabSz="914400" rtl="0" eaLnBrk="1" fontAlgn="auto" latinLnBrk="0" hangingPunct="1">
              <a:lnSpc>
                <a:spcPct val="150000"/>
              </a:lnSpc>
              <a:spcBef>
                <a:spcPts val="0"/>
              </a:spcBef>
              <a:spcAft>
                <a:spcPts val="0"/>
              </a:spcAft>
              <a:buClrTx/>
              <a:buSzTx/>
              <a:buFontTx/>
              <a:buNone/>
              <a:tabLst/>
              <a:defRPr sz="2600" cap="none">
                <a:solidFill>
                  <a:srgbClr val="717172"/>
                </a:solidFill>
                <a:latin typeface="Lato Regular"/>
                <a:ea typeface="Lato Regular"/>
                <a:cs typeface="Lato Regular"/>
                <a:sym typeface="Lato Regular"/>
              </a:defRPr>
            </a:pPr>
            <a:endParaRPr kumimoji="0" lang="en-US" sz="48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a:p>
            <a:pPr marL="0" marR="0" lvl="0" indent="0" algn="ctr" defTabSz="914400" rtl="0" eaLnBrk="1" fontAlgn="auto" latinLnBrk="0" hangingPunct="1">
              <a:lnSpc>
                <a:spcPct val="150000"/>
              </a:lnSpc>
              <a:spcBef>
                <a:spcPts val="0"/>
              </a:spcBef>
              <a:spcAft>
                <a:spcPts val="0"/>
              </a:spcAft>
              <a:buClrTx/>
              <a:buSzTx/>
              <a:buFontTx/>
              <a:buNone/>
              <a:tabLst/>
              <a:defRPr sz="2600" cap="none">
                <a:solidFill>
                  <a:srgbClr val="717172"/>
                </a:solidFill>
                <a:latin typeface="Lato Regular"/>
                <a:ea typeface="Lato Regular"/>
                <a:cs typeface="Lato Regular"/>
                <a:sym typeface="Lato Regular"/>
              </a:defRPr>
            </a:pPr>
            <a:endParaRPr kumimoji="0" lang="en-US" sz="4800" b="1" i="0" u="none" strike="noStrike" kern="1200" cap="none" spc="0" normalizeH="0" baseline="0" noProof="0" dirty="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p:txBody>
      </p:sp>
      <p:pic>
        <p:nvPicPr>
          <p:cNvPr id="2" name="Picture 1" descr="Không có mô tả ảnh.">
            <a:extLst>
              <a:ext uri="{FF2B5EF4-FFF2-40B4-BE49-F238E27FC236}">
                <a16:creationId xmlns:a16="http://schemas.microsoft.com/office/drawing/2014/main" id="{C330E449-7A40-8AE2-5549-75B090B7E3FA}"/>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4415" b="95791" l="9926" r="89578">
                        <a14:foregroundMark x1="41439" y1="7803" x2="57568" y2="15400"/>
                        <a14:foregroundMark x1="48139" y1="4620" x2="59926" y2="15606"/>
                        <a14:foregroundMark x1="30397" y1="26489" x2="54218" y2="42608"/>
                        <a14:foregroundMark x1="57568" y1="22690" x2="70223" y2="37680"/>
                        <a14:foregroundMark x1="55211" y1="26078" x2="67122" y2="33470"/>
                        <a14:foregroundMark x1="29529" y1="30903" x2="43921" y2="36242"/>
                        <a14:foregroundMark x1="36476" y1="29671" x2="41687" y2="29261"/>
                        <a14:foregroundMark x1="36725" y1="24743" x2="42432" y2="29466"/>
                        <a14:foregroundMark x1="48015" y1="89630" x2="46774" y2="94456"/>
                        <a14:foregroundMark x1="62779" y1="89014" x2="65261" y2="94251"/>
                        <a14:foregroundMark x1="58313" y1="92197" x2="63275" y2="95791"/>
                        <a14:foregroundMark x1="33375" y1="28645" x2="32878" y2="39220"/>
                        <a14:foregroundMark x1="59057" y1="28337" x2="67370" y2="30903"/>
                        <a14:foregroundMark x1="62779" y1="24743" x2="66005" y2="34805"/>
                      </a14:backgroundRemoval>
                    </a14:imgEffect>
                  </a14:imgLayer>
                </a14:imgProps>
              </a:ext>
              <a:ext uri="{28A0092B-C50C-407E-A947-70E740481C1C}">
                <a14:useLocalDpi xmlns:a14="http://schemas.microsoft.com/office/drawing/2010/main" val="0"/>
              </a:ext>
            </a:extLst>
          </a:blip>
          <a:stretch>
            <a:fillRect/>
          </a:stretch>
        </p:blipFill>
        <p:spPr bwMode="auto">
          <a:xfrm>
            <a:off x="8885488" y="2074640"/>
            <a:ext cx="4086398" cy="49382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7873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0-#ppt_w/2"/>
                                          </p:val>
                                        </p:tav>
                                        <p:tav tm="100000">
                                          <p:val>
                                            <p:strVal val="#ppt_x"/>
                                          </p:val>
                                        </p:tav>
                                      </p:tavLst>
                                    </p:anim>
                                    <p:anim calcmode="lin" valueType="num">
                                      <p:cBhvr additive="base">
                                        <p:cTn id="12" dur="500" fill="hold"/>
                                        <p:tgtEl>
                                          <p:spTgt spid="13"/>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64" presetClass="path" presetSubtype="0" accel="50000" decel="50000" fill="hold" nodeType="afterEffect">
                                  <p:stCondLst>
                                    <p:cond delay="0"/>
                                  </p:stCondLst>
                                  <p:childTnLst>
                                    <p:animMotion origin="layout" path="M -4.72222E-6 -1.11111E-6 L -4.72222E-6 -0.60154 " pathEditMode="relative" rAng="0" ptsTypes="AA">
                                      <p:cBhvr>
                                        <p:cTn id="15" dur="15000" fill="hold"/>
                                        <p:tgtEl>
                                          <p:spTgt spid="13"/>
                                        </p:tgtEl>
                                        <p:attrNameLst>
                                          <p:attrName>ppt_x</p:attrName>
                                          <p:attrName>ppt_y</p:attrName>
                                        </p:attrNameLst>
                                      </p:cBhvr>
                                      <p:rCtr x="0" y="-30093"/>
                                    </p:animMotion>
                                  </p:childTnLst>
                                </p:cTn>
                              </p:par>
                              <p:par>
                                <p:cTn id="16" presetID="22" presetClass="entr" presetSubtype="4" fill="hold" nodeType="with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wipe(down)">
                                      <p:cBhvr>
                                        <p:cTn id="18" dur="15000"/>
                                        <p:tgtEl>
                                          <p:spTgt spid="27"/>
                                        </p:tgtEl>
                                      </p:cBhvr>
                                    </p:animEffect>
                                  </p:childTnLst>
                                </p:cTn>
                              </p:par>
                            </p:childTnLst>
                          </p:cTn>
                        </p:par>
                        <p:par>
                          <p:cTn id="19" fill="hold">
                            <p:stCondLst>
                              <p:cond delay="15500"/>
                            </p:stCondLst>
                            <p:childTnLst>
                              <p:par>
                                <p:cTn id="20" presetID="26" presetClass="emph" presetSubtype="0" repeatCount="5000" fill="hold" nodeType="afterEffect">
                                  <p:stCondLst>
                                    <p:cond delay="0"/>
                                  </p:stCondLst>
                                  <p:childTnLst>
                                    <p:animEffect transition="out" filter="fade">
                                      <p:cBhvr>
                                        <p:cTn id="21" dur="500" tmFilter="0, 0; .2, .5; .8, .5; 1, 0"/>
                                        <p:tgtEl>
                                          <p:spTgt spid="13"/>
                                        </p:tgtEl>
                                      </p:cBhvr>
                                    </p:animEffect>
                                    <p:animScale>
                                      <p:cBhvr>
                                        <p:cTn id="22" dur="250" autoRev="1" fill="hold"/>
                                        <p:tgtEl>
                                          <p:spTgt spid="13"/>
                                        </p:tgtEl>
                                      </p:cBhvr>
                                      <p:by x="105000" y="105000"/>
                                    </p:animScale>
                                  </p:childTnLst>
                                  <p:subTnLst>
                                    <p:audio>
                                      <p:cMediaNode vol="80000">
                                        <p:cTn display="0" masterRel="sameClick">
                                          <p:stCondLst>
                                            <p:cond evt="begin" delay="0">
                                              <p:tn val="20"/>
                                            </p:cond>
                                          </p:stCondLst>
                                          <p:endCondLst>
                                            <p:cond evt="onStopAudio" delay="0">
                                              <p:tgtEl>
                                                <p:sldTgt/>
                                              </p:tgtEl>
                                            </p:cond>
                                          </p:endCondLst>
                                        </p:cTn>
                                        <p:tgtEl>
                                          <p:sndTgt r:embed="rId3" name="AmHetGio.wav"/>
                                        </p:tgtEl>
                                      </p:cMediaNode>
                                    </p:audio>
                                  </p:subTnLst>
                                </p:cTn>
                              </p:par>
                              <p:par>
                                <p:cTn id="23" presetID="6" presetClass="emph" presetSubtype="0" fill="hold" nodeType="withEffect">
                                  <p:stCondLst>
                                    <p:cond delay="0"/>
                                  </p:stCondLst>
                                  <p:childTnLst>
                                    <p:animScale>
                                      <p:cBhvr>
                                        <p:cTn id="24" dur="10000" fill="hold"/>
                                        <p:tgtEl>
                                          <p:spTgt spid="16"/>
                                        </p:tgtEl>
                                      </p:cBhvr>
                                      <p:by x="150000" y="150000"/>
                                    </p:animScale>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nodeType="clickEffect">
                                  <p:stCondLst>
                                    <p:cond delay="0"/>
                                  </p:stCondLst>
                                  <p:childTnLst>
                                    <p:set>
                                      <p:cBhvr>
                                        <p:cTn id="28" dur="1" fill="hold">
                                          <p:stCondLst>
                                            <p:cond delay="0"/>
                                          </p:stCondLst>
                                        </p:cTn>
                                        <p:tgtEl>
                                          <p:spTgt spid="4"/>
                                        </p:tgtEl>
                                        <p:attrNameLst>
                                          <p:attrName>style.visibility</p:attrName>
                                        </p:attrNameLst>
                                      </p:cBhvr>
                                      <p:to>
                                        <p:strVal val="visible"/>
                                      </p:to>
                                    </p:set>
                                    <p:animEffect transition="in" filter="barn(inVertical)">
                                      <p:cBhvr>
                                        <p:cTn id="29" dur="500"/>
                                        <p:tgtEl>
                                          <p:spTgt spid="4"/>
                                        </p:tgtEl>
                                      </p:cBhvr>
                                    </p:animEffect>
                                  </p:childTnLst>
                                </p:cTn>
                              </p:par>
                              <p:par>
                                <p:cTn id="30" presetID="16" presetClass="entr" presetSubtype="21" fill="hold" grpId="0" nodeType="with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barn(inVertical)">
                                      <p:cBhvr>
                                        <p:cTn id="32" dur="500"/>
                                        <p:tgtEl>
                                          <p:spTgt spid="30"/>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nodeType="click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barn(inVertical)">
                                      <p:cBhvr>
                                        <p:cTn id="37" dur="500"/>
                                        <p:tgtEl>
                                          <p:spTgt spid="31"/>
                                        </p:tgtEl>
                                      </p:cBhvr>
                                    </p:animEffect>
                                  </p:childTnLst>
                                </p:cTn>
                              </p:par>
                              <p:par>
                                <p:cTn id="38" presetID="16" presetClass="entr" presetSubtype="21" fill="hold" grpId="0" nodeType="with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barn(inVertical)">
                                      <p:cBhvr>
                                        <p:cTn id="40" dur="500"/>
                                        <p:tgtEl>
                                          <p:spTgt spid="32"/>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nodeType="clickEffect">
                                  <p:stCondLst>
                                    <p:cond delay="0"/>
                                  </p:stCondLst>
                                  <p:childTnLst>
                                    <p:animEffect transition="out" filter="fade">
                                      <p:cBhvr>
                                        <p:cTn id="44" dur="500"/>
                                        <p:tgtEl>
                                          <p:spTgt spid="4"/>
                                        </p:tgtEl>
                                      </p:cBhvr>
                                    </p:animEffect>
                                    <p:set>
                                      <p:cBhvr>
                                        <p:cTn id="45" dur="1" fill="hold">
                                          <p:stCondLst>
                                            <p:cond delay="499"/>
                                          </p:stCondLst>
                                        </p:cTn>
                                        <p:tgtEl>
                                          <p:spTgt spid="4"/>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30"/>
                                        </p:tgtEl>
                                      </p:cBhvr>
                                    </p:animEffect>
                                    <p:set>
                                      <p:cBhvr>
                                        <p:cTn id="48" dur="1" fill="hold">
                                          <p:stCondLst>
                                            <p:cond delay="499"/>
                                          </p:stCondLst>
                                        </p:cTn>
                                        <p:tgtEl>
                                          <p:spTgt spid="30"/>
                                        </p:tgtEl>
                                        <p:attrNameLst>
                                          <p:attrName>style.visibility</p:attrName>
                                        </p:attrNameLst>
                                      </p:cBhvr>
                                      <p:to>
                                        <p:strVal val="hidden"/>
                                      </p:to>
                                    </p:set>
                                  </p:childTnLst>
                                </p:cTn>
                              </p:par>
                              <p:par>
                                <p:cTn id="49" presetID="10" presetClass="exit" presetSubtype="0" fill="hold" nodeType="withEffect">
                                  <p:stCondLst>
                                    <p:cond delay="0"/>
                                  </p:stCondLst>
                                  <p:childTnLst>
                                    <p:animEffect transition="out" filter="fade">
                                      <p:cBhvr>
                                        <p:cTn id="50" dur="500"/>
                                        <p:tgtEl>
                                          <p:spTgt spid="31"/>
                                        </p:tgtEl>
                                      </p:cBhvr>
                                    </p:animEffect>
                                    <p:set>
                                      <p:cBhvr>
                                        <p:cTn id="51" dur="1" fill="hold">
                                          <p:stCondLst>
                                            <p:cond delay="499"/>
                                          </p:stCondLst>
                                        </p:cTn>
                                        <p:tgtEl>
                                          <p:spTgt spid="31"/>
                                        </p:tgtEl>
                                        <p:attrNameLst>
                                          <p:attrName>style.visibility</p:attrName>
                                        </p:attrNameLst>
                                      </p:cBhvr>
                                      <p:to>
                                        <p:strVal val="hidden"/>
                                      </p:to>
                                    </p:set>
                                  </p:childTnLst>
                                </p:cTn>
                              </p:par>
                              <p:par>
                                <p:cTn id="52" presetID="10" presetClass="exit" presetSubtype="0" fill="hold" grpId="1" nodeType="withEffect">
                                  <p:stCondLst>
                                    <p:cond delay="0"/>
                                  </p:stCondLst>
                                  <p:childTnLst>
                                    <p:animEffect transition="out" filter="fade">
                                      <p:cBhvr>
                                        <p:cTn id="53" dur="500"/>
                                        <p:tgtEl>
                                          <p:spTgt spid="32"/>
                                        </p:tgtEl>
                                      </p:cBhvr>
                                    </p:animEffect>
                                    <p:set>
                                      <p:cBhvr>
                                        <p:cTn id="54" dur="1" fill="hold">
                                          <p:stCondLst>
                                            <p:cond delay="499"/>
                                          </p:stCondLst>
                                        </p:cTn>
                                        <p:tgtEl>
                                          <p:spTgt spid="32"/>
                                        </p:tgtEl>
                                        <p:attrNameLst>
                                          <p:attrName>style.visibility</p:attrName>
                                        </p:attrNameLst>
                                      </p:cBhvr>
                                      <p:to>
                                        <p:strVal val="hidden"/>
                                      </p:to>
                                    </p:set>
                                  </p:childTnLst>
                                </p:cTn>
                              </p:par>
                            </p:childTnLst>
                          </p:cTn>
                        </p:par>
                      </p:childTnLst>
                    </p:cTn>
                  </p:par>
                  <p:par>
                    <p:cTn id="55" fill="hold">
                      <p:stCondLst>
                        <p:cond delay="indefinite"/>
                      </p:stCondLst>
                      <p:childTnLst>
                        <p:par>
                          <p:cTn id="56" fill="hold">
                            <p:stCondLst>
                              <p:cond delay="0"/>
                            </p:stCondLst>
                            <p:childTnLst>
                              <p:par>
                                <p:cTn id="57" presetID="16" presetClass="entr" presetSubtype="21" fill="hold" grpId="0" nodeType="click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barn(inVertical)">
                                      <p:cBhvr>
                                        <p:cTn id="5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0" grpId="1"/>
      <p:bldP spid="32" grpId="0"/>
      <p:bldP spid="32" grpId="1"/>
      <p:bldP spid="3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0" name="Group 9">
            <a:extLst>
              <a:ext uri="{FF2B5EF4-FFF2-40B4-BE49-F238E27FC236}">
                <a16:creationId xmlns:a16="http://schemas.microsoft.com/office/drawing/2014/main" id="{5B176C40-2765-BD13-7CB6-E97C56C5570C}"/>
              </a:ext>
            </a:extLst>
          </p:cNvPr>
          <p:cNvGrpSpPr/>
          <p:nvPr/>
        </p:nvGrpSpPr>
        <p:grpSpPr>
          <a:xfrm>
            <a:off x="-127875" y="-50104"/>
            <a:ext cx="12447749" cy="6908104"/>
            <a:chOff x="-193129" y="-50104"/>
            <a:chExt cx="12447749" cy="6908104"/>
          </a:xfrm>
        </p:grpSpPr>
        <p:pic>
          <p:nvPicPr>
            <p:cNvPr id="2" name="Picture 1">
              <a:extLst>
                <a:ext uri="{FF2B5EF4-FFF2-40B4-BE49-F238E27FC236}">
                  <a16:creationId xmlns:a16="http://schemas.microsoft.com/office/drawing/2014/main" id="{1748A2E8-D115-ED1D-528C-3FAC8181B14D}"/>
                </a:ext>
              </a:extLst>
            </p:cNvPr>
            <p:cNvPicPr>
              <a:picLocks noChangeAspect="1"/>
            </p:cNvPicPr>
            <p:nvPr/>
          </p:nvPicPr>
          <p:blipFill rotWithShape="1">
            <a:blip r:embed="rId2"/>
            <a:srcRect t="-1" r="1267" b="20"/>
            <a:stretch/>
          </p:blipFill>
          <p:spPr>
            <a:xfrm>
              <a:off x="-62620" y="-50104"/>
              <a:ext cx="12317240" cy="6908104"/>
            </a:xfrm>
            <a:prstGeom prst="rect">
              <a:avLst/>
            </a:prstGeom>
          </p:spPr>
        </p:pic>
        <p:pic>
          <p:nvPicPr>
            <p:cNvPr id="3" name="Picture 2" descr="Không có mô tả ảnh.">
              <a:extLst>
                <a:ext uri="{FF2B5EF4-FFF2-40B4-BE49-F238E27FC236}">
                  <a16:creationId xmlns:a16="http://schemas.microsoft.com/office/drawing/2014/main" id="{6A0FD83D-3B51-71FB-3C0B-5C7B1866A987}"/>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4415" b="95791" l="9926" r="89578">
                          <a14:foregroundMark x1="41439" y1="7803" x2="57568" y2="15400"/>
                          <a14:foregroundMark x1="48139" y1="4620" x2="59926" y2="15606"/>
                          <a14:foregroundMark x1="30397" y1="26489" x2="54218" y2="42608"/>
                          <a14:foregroundMark x1="57568" y1="22690" x2="70223" y2="37680"/>
                          <a14:foregroundMark x1="55211" y1="26078" x2="67122" y2="33470"/>
                          <a14:foregroundMark x1="29529" y1="30903" x2="43921" y2="36242"/>
                          <a14:foregroundMark x1="36476" y1="29671" x2="41687" y2="29261"/>
                          <a14:foregroundMark x1="36725" y1="24743" x2="42432" y2="29466"/>
                          <a14:foregroundMark x1="48015" y1="89630" x2="46774" y2="94456"/>
                          <a14:foregroundMark x1="62779" y1="89014" x2="65261" y2="94251"/>
                          <a14:foregroundMark x1="58313" y1="92197" x2="63275" y2="95791"/>
                          <a14:foregroundMark x1="33375" y1="28645" x2="32878" y2="39220"/>
                          <a14:foregroundMark x1="59057" y1="28337" x2="67370" y2="30903"/>
                          <a14:foregroundMark x1="62779" y1="24743" x2="66005" y2="34805"/>
                        </a14:backgroundRemoval>
                      </a14:imgEffect>
                    </a14:imgLayer>
                  </a14:imgProps>
                </a:ext>
                <a:ext uri="{28A0092B-C50C-407E-A947-70E740481C1C}">
                  <a14:useLocalDpi xmlns:a14="http://schemas.microsoft.com/office/drawing/2010/main" val="0"/>
                </a:ext>
              </a:extLst>
            </a:blip>
            <a:stretch>
              <a:fillRect/>
            </a:stretch>
          </p:blipFill>
          <p:spPr bwMode="auto">
            <a:xfrm>
              <a:off x="-193129" y="4679481"/>
              <a:ext cx="1802724" cy="2178519"/>
            </a:xfrm>
            <a:prstGeom prst="rect">
              <a:avLst/>
            </a:prstGeom>
            <a:noFill/>
            <a:extLst>
              <a:ext uri="{909E8E84-426E-40DD-AFC4-6F175D3DCCD1}">
                <a14:hiddenFill xmlns:a14="http://schemas.microsoft.com/office/drawing/2010/main">
                  <a:solidFill>
                    <a:srgbClr val="FFFFFF"/>
                  </a:solidFill>
                </a14:hiddenFill>
              </a:ext>
            </a:extLst>
          </p:spPr>
        </p:pic>
      </p:grpSp>
      <p:pic>
        <p:nvPicPr>
          <p:cNvPr id="9" name="Picture 8">
            <a:extLst>
              <a:ext uri="{FF2B5EF4-FFF2-40B4-BE49-F238E27FC236}">
                <a16:creationId xmlns:a16="http://schemas.microsoft.com/office/drawing/2014/main" id="{70B19808-D565-B454-8A58-6A0216D36A27}"/>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1016" b="96016" l="8000" r="93000">
                        <a14:foregroundMark x1="26333" y1="3906" x2="34222" y2="14609"/>
                        <a14:foregroundMark x1="18667" y1="9375" x2="24333" y2="14063"/>
                        <a14:foregroundMark x1="10444" y1="8281" x2="14778" y2="14375"/>
                        <a14:foregroundMark x1="41889" y1="1016" x2="47333" y2="8672"/>
                        <a14:foregroundMark x1="8444" y1="21719" x2="13889" y2="26875"/>
                        <a14:foregroundMark x1="8000" y1="23125" x2="9222" y2="25781"/>
                        <a14:foregroundMark x1="90111" y1="29922" x2="93111" y2="29141"/>
                        <a14:foregroundMark x1="54000" y1="52344" x2="66444" y2="63281"/>
                        <a14:foregroundMark x1="48111" y1="54375" x2="59444" y2="65781"/>
                        <a14:foregroundMark x1="34667" y1="70078" x2="45667" y2="75156"/>
                        <a14:foregroundMark x1="23333" y1="87500" x2="45333" y2="86563"/>
                        <a14:foregroundMark x1="11111" y1="90234" x2="21111" y2="96016"/>
                        <a14:foregroundMark x1="28222" y1="95156" x2="47111" y2="86328"/>
                        <a14:foregroundMark x1="91667" y1="31406" x2="86556" y2="36016"/>
                        <a14:foregroundMark x1="11222" y1="5547" x2="12778" y2="16641"/>
                      </a14:backgroundRemoval>
                    </a14:imgEffect>
                  </a14:imgLayer>
                </a14:imgProps>
              </a:ext>
            </a:extLst>
          </a:blip>
          <a:srcRect t="-6504" b="58669"/>
          <a:stretch/>
        </p:blipFill>
        <p:spPr>
          <a:xfrm>
            <a:off x="9222268" y="4663417"/>
            <a:ext cx="3277711" cy="2229849"/>
          </a:xfrm>
          <a:prstGeom prst="rect">
            <a:avLst/>
          </a:prstGeom>
        </p:spPr>
      </p:pic>
      <p:sp>
        <p:nvSpPr>
          <p:cNvPr id="17" name="Shape 233">
            <a:extLst>
              <a:ext uri="{FF2B5EF4-FFF2-40B4-BE49-F238E27FC236}">
                <a16:creationId xmlns:a16="http://schemas.microsoft.com/office/drawing/2014/main" id="{134E4444-E5F1-17D9-BD9F-A0F15B92C48E}"/>
              </a:ext>
            </a:extLst>
          </p:cNvPr>
          <p:cNvSpPr/>
          <p:nvPr/>
        </p:nvSpPr>
        <p:spPr>
          <a:xfrm>
            <a:off x="-539345" y="-74933"/>
            <a:ext cx="4693892" cy="1008674"/>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sz="2600" cap="none">
                <a:solidFill>
                  <a:srgbClr val="717172"/>
                </a:solidFill>
                <a:latin typeface="Lato Regular"/>
                <a:ea typeface="Lato Regular"/>
                <a:cs typeface="Lato Regular"/>
                <a:sym typeface="Lato Regular"/>
              </a:defRPr>
            </a:pPr>
            <a:r>
              <a:rPr kumimoji="0" lang="en-US" sz="4800" b="1" i="0" u="none" strike="noStrike" kern="1200" cap="none" spc="0" normalizeH="0" baseline="0" noProof="0" dirty="0" err="1">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Bài</a:t>
            </a:r>
            <a:r>
              <a:rPr kumimoji="0" lang="en-US" sz="4800" b="1" i="0" u="none" strike="noStrike" kern="1200" cap="none" spc="0" normalizeH="0" baseline="0" noProof="0" dirty="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 1: </a:t>
            </a:r>
            <a:r>
              <a:rPr kumimoji="0" lang="en-US" sz="4800" b="1" i="0" u="none" strike="noStrike" kern="1200" cap="none" spc="0" normalizeH="0" baseline="0" noProof="0" dirty="0" err="1">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Tính</a:t>
            </a:r>
            <a:endParaRPr kumimoji="0" sz="4800" b="1" i="0" u="none" strike="noStrike" kern="1200" cap="none" spc="0" normalizeH="0" baseline="0" noProof="0" dirty="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p:txBody>
      </p:sp>
      <p:sp>
        <p:nvSpPr>
          <p:cNvPr id="18" name="Text Box 4">
            <a:extLst>
              <a:ext uri="{FF2B5EF4-FFF2-40B4-BE49-F238E27FC236}">
                <a16:creationId xmlns:a16="http://schemas.microsoft.com/office/drawing/2014/main" id="{8DCDB1FF-86E2-1909-E1B2-865B1894EFF8}"/>
              </a:ext>
            </a:extLst>
          </p:cNvPr>
          <p:cNvSpPr txBox="1">
            <a:spLocks noChangeArrowheads="1"/>
          </p:cNvSpPr>
          <p:nvPr/>
        </p:nvSpPr>
        <p:spPr bwMode="auto">
          <a:xfrm>
            <a:off x="1152960" y="1298981"/>
            <a:ext cx="9231439" cy="830997"/>
          </a:xfrm>
          <a:prstGeom prst="rect">
            <a:avLst/>
          </a:prstGeom>
          <a:solidFill>
            <a:srgbClr val="00B05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
              </a:spcBef>
              <a:spcAft>
                <a:spcPts val="0"/>
              </a:spcAft>
              <a:buClrTx/>
              <a:buSzTx/>
              <a:buFontTx/>
              <a:buNone/>
              <a:tabLst/>
              <a:defRPr/>
            </a:pPr>
            <a:r>
              <a:rPr kumimoji="0" lang="en-US" altLang="en-US" sz="4800" b="1" i="0" u="none" strike="noStrike" kern="1200" cap="none" spc="0" normalizeH="0" baseline="0" noProof="0">
                <a:ln>
                  <a:noFill/>
                </a:ln>
                <a:solidFill>
                  <a:prstClr val="white"/>
                </a:solidFill>
                <a:effectLst/>
                <a:uLnTx/>
                <a:uFillTx/>
                <a:latin typeface="Arial" panose="020B0604020202020204" pitchFamily="34" charset="0"/>
                <a:ea typeface="+mn-ea"/>
                <a:cs typeface="+mn-cs"/>
              </a:rPr>
              <a:t>    </a:t>
            </a:r>
          </a:p>
        </p:txBody>
      </p:sp>
      <p:sp>
        <p:nvSpPr>
          <p:cNvPr id="11" name="Shape 233">
            <a:extLst>
              <a:ext uri="{FF2B5EF4-FFF2-40B4-BE49-F238E27FC236}">
                <a16:creationId xmlns:a16="http://schemas.microsoft.com/office/drawing/2014/main" id="{15723F0F-AAA0-1C77-63AA-01F36DEFA8D8}"/>
              </a:ext>
            </a:extLst>
          </p:cNvPr>
          <p:cNvSpPr/>
          <p:nvPr/>
        </p:nvSpPr>
        <p:spPr>
          <a:xfrm>
            <a:off x="2293584" y="1282067"/>
            <a:ext cx="3912846" cy="769313"/>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sz="2600" cap="none">
                <a:solidFill>
                  <a:srgbClr val="717172"/>
                </a:solidFill>
                <a:latin typeface="Lato Regular"/>
                <a:ea typeface="Lato Regular"/>
                <a:cs typeface="Lato Regular"/>
                <a:sym typeface="Lato Regular"/>
              </a:defRPr>
            </a:pPr>
            <a:r>
              <a:rPr kumimoji="0" lang="en-US" sz="36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605,26 + 217,3</a:t>
            </a:r>
            <a:endParaRPr kumimoji="0" sz="36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p:txBody>
      </p:sp>
      <p:sp>
        <p:nvSpPr>
          <p:cNvPr id="14" name="Shape 233">
            <a:extLst>
              <a:ext uri="{FF2B5EF4-FFF2-40B4-BE49-F238E27FC236}">
                <a16:creationId xmlns:a16="http://schemas.microsoft.com/office/drawing/2014/main" id="{E9046BA5-49B2-69FA-EF6A-F1B7E2879C5C}"/>
              </a:ext>
            </a:extLst>
          </p:cNvPr>
          <p:cNvSpPr/>
          <p:nvPr/>
        </p:nvSpPr>
        <p:spPr>
          <a:xfrm>
            <a:off x="6948278" y="1226371"/>
            <a:ext cx="3912846" cy="769313"/>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marL="0" marR="0" lvl="0" indent="0" algn="l" defTabSz="914400" rtl="0" eaLnBrk="1" fontAlgn="auto" latinLnBrk="0" hangingPunct="1">
              <a:lnSpc>
                <a:spcPct val="150000"/>
              </a:lnSpc>
              <a:spcBef>
                <a:spcPts val="0"/>
              </a:spcBef>
              <a:spcAft>
                <a:spcPts val="0"/>
              </a:spcAft>
              <a:buClrTx/>
              <a:buSzTx/>
              <a:buFontTx/>
              <a:buNone/>
              <a:tabLst/>
              <a:defRPr sz="2600" cap="none">
                <a:solidFill>
                  <a:srgbClr val="717172"/>
                </a:solidFill>
                <a:latin typeface="Lato Regular"/>
                <a:ea typeface="Lato Regular"/>
                <a:cs typeface="Lato Regular"/>
                <a:sym typeface="Lato Regular"/>
              </a:defRPr>
            </a:pPr>
            <a:r>
              <a:rPr kumimoji="0" lang="en-US" sz="3600" b="1" i="0" u="none" strike="noStrike" kern="1200" cap="none" spc="0" normalizeH="0" baseline="0" noProof="0" dirty="0">
                <a:ln>
                  <a:noFill/>
                </a:ln>
                <a:solidFill>
                  <a:srgbClr val="FFFF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 822,56 </a:t>
            </a:r>
            <a:endParaRPr kumimoji="0" sz="3600" b="1" i="0" u="none" strike="noStrike" kern="1200" cap="none" spc="0" normalizeH="0" baseline="0" noProof="0" dirty="0">
              <a:ln>
                <a:noFill/>
              </a:ln>
              <a:solidFill>
                <a:srgbClr val="FFFF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p:txBody>
      </p:sp>
      <p:sp>
        <p:nvSpPr>
          <p:cNvPr id="20" name="Text Box 4">
            <a:extLst>
              <a:ext uri="{FF2B5EF4-FFF2-40B4-BE49-F238E27FC236}">
                <a16:creationId xmlns:a16="http://schemas.microsoft.com/office/drawing/2014/main" id="{4D18FDB9-ADA7-3C83-EC80-342F0BE7E782}"/>
              </a:ext>
            </a:extLst>
          </p:cNvPr>
          <p:cNvSpPr txBox="1">
            <a:spLocks noChangeArrowheads="1"/>
          </p:cNvSpPr>
          <p:nvPr/>
        </p:nvSpPr>
        <p:spPr bwMode="auto">
          <a:xfrm>
            <a:off x="1152960" y="2843476"/>
            <a:ext cx="9231439" cy="830997"/>
          </a:xfrm>
          <a:prstGeom prst="rect">
            <a:avLst/>
          </a:prstGeom>
          <a:solidFill>
            <a:srgbClr val="00B05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
              </a:spcBef>
              <a:spcAft>
                <a:spcPts val="0"/>
              </a:spcAft>
              <a:buClrTx/>
              <a:buSzTx/>
              <a:buFontTx/>
              <a:buNone/>
              <a:tabLst/>
              <a:defRPr/>
            </a:pPr>
            <a:r>
              <a:rPr kumimoji="0" lang="en-US" altLang="en-US" sz="4800" b="1" i="0" u="none" strike="noStrike" kern="1200" cap="none" spc="0" normalizeH="0" baseline="0" noProof="0">
                <a:ln>
                  <a:noFill/>
                </a:ln>
                <a:solidFill>
                  <a:prstClr val="white"/>
                </a:solidFill>
                <a:effectLst/>
                <a:uLnTx/>
                <a:uFillTx/>
                <a:latin typeface="Arial" panose="020B0604020202020204" pitchFamily="34" charset="0"/>
                <a:ea typeface="+mn-ea"/>
                <a:cs typeface="+mn-cs"/>
              </a:rPr>
              <a:t>    </a:t>
            </a:r>
          </a:p>
        </p:txBody>
      </p:sp>
      <p:sp>
        <p:nvSpPr>
          <p:cNvPr id="21" name="Shape 233">
            <a:extLst>
              <a:ext uri="{FF2B5EF4-FFF2-40B4-BE49-F238E27FC236}">
                <a16:creationId xmlns:a16="http://schemas.microsoft.com/office/drawing/2014/main" id="{FB220C03-7DD0-AA1E-8230-92C380E2396E}"/>
              </a:ext>
            </a:extLst>
          </p:cNvPr>
          <p:cNvSpPr/>
          <p:nvPr/>
        </p:nvSpPr>
        <p:spPr>
          <a:xfrm>
            <a:off x="1971050" y="2808210"/>
            <a:ext cx="4557915" cy="769313"/>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sz="2600" cap="none">
                <a:solidFill>
                  <a:srgbClr val="717172"/>
                </a:solidFill>
                <a:latin typeface="Lato Regular"/>
                <a:ea typeface="Lato Regular"/>
                <a:cs typeface="Lato Regular"/>
                <a:sym typeface="Lato Regular"/>
              </a:defRPr>
            </a:pPr>
            <a:r>
              <a:rPr kumimoji="0" lang="en-US" sz="36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800,56 + 384,48</a:t>
            </a:r>
            <a:endParaRPr kumimoji="0" sz="36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p:txBody>
      </p:sp>
      <p:sp>
        <p:nvSpPr>
          <p:cNvPr id="22" name="Shape 233">
            <a:extLst>
              <a:ext uri="{FF2B5EF4-FFF2-40B4-BE49-F238E27FC236}">
                <a16:creationId xmlns:a16="http://schemas.microsoft.com/office/drawing/2014/main" id="{B2E15FD4-366C-54E8-B211-C07D14892233}"/>
              </a:ext>
            </a:extLst>
          </p:cNvPr>
          <p:cNvSpPr/>
          <p:nvPr/>
        </p:nvSpPr>
        <p:spPr>
          <a:xfrm>
            <a:off x="6896201" y="2786479"/>
            <a:ext cx="3324749" cy="769313"/>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marL="0" marR="0" lvl="0" indent="0" algn="l" defTabSz="914400" rtl="0" eaLnBrk="1" fontAlgn="auto" latinLnBrk="0" hangingPunct="1">
              <a:lnSpc>
                <a:spcPct val="150000"/>
              </a:lnSpc>
              <a:spcBef>
                <a:spcPts val="0"/>
              </a:spcBef>
              <a:spcAft>
                <a:spcPts val="0"/>
              </a:spcAft>
              <a:buClrTx/>
              <a:buSzTx/>
              <a:buFontTx/>
              <a:buNone/>
              <a:tabLst/>
              <a:defRPr sz="2600" cap="none">
                <a:solidFill>
                  <a:srgbClr val="717172"/>
                </a:solidFill>
                <a:latin typeface="Lato Regular"/>
                <a:ea typeface="Lato Regular"/>
                <a:cs typeface="Lato Regular"/>
                <a:sym typeface="Lato Regular"/>
              </a:defRPr>
            </a:pPr>
            <a:r>
              <a:rPr kumimoji="0" lang="en-US" sz="3600" b="1" i="0" u="none" strike="noStrike" kern="1200" cap="none" spc="0" normalizeH="0" baseline="0" noProof="0" dirty="0">
                <a:ln>
                  <a:noFill/>
                </a:ln>
                <a:solidFill>
                  <a:srgbClr val="FFFF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 416,08 </a:t>
            </a:r>
            <a:endParaRPr kumimoji="0" sz="3600" b="1" i="0" u="none" strike="noStrike" kern="1200" cap="none" spc="0" normalizeH="0" baseline="0" noProof="0" dirty="0">
              <a:ln>
                <a:noFill/>
              </a:ln>
              <a:solidFill>
                <a:srgbClr val="FFFF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p:txBody>
      </p:sp>
      <p:sp>
        <p:nvSpPr>
          <p:cNvPr id="23" name="Text Box 4">
            <a:extLst>
              <a:ext uri="{FF2B5EF4-FFF2-40B4-BE49-F238E27FC236}">
                <a16:creationId xmlns:a16="http://schemas.microsoft.com/office/drawing/2014/main" id="{EDAFAC12-2E6F-2D9E-3696-3CD7C557C24E}"/>
              </a:ext>
            </a:extLst>
          </p:cNvPr>
          <p:cNvSpPr txBox="1">
            <a:spLocks noChangeArrowheads="1"/>
          </p:cNvSpPr>
          <p:nvPr/>
        </p:nvSpPr>
        <p:spPr bwMode="auto">
          <a:xfrm>
            <a:off x="1152960" y="4387971"/>
            <a:ext cx="9231439" cy="830997"/>
          </a:xfrm>
          <a:prstGeom prst="rect">
            <a:avLst/>
          </a:prstGeom>
          <a:solidFill>
            <a:srgbClr val="00B05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
              </a:spcBef>
              <a:spcAft>
                <a:spcPts val="0"/>
              </a:spcAft>
              <a:buClrTx/>
              <a:buSzTx/>
              <a:buFontTx/>
              <a:buNone/>
              <a:tabLst/>
              <a:defRPr/>
            </a:pPr>
            <a:r>
              <a:rPr kumimoji="0" lang="en-US" altLang="en-US" sz="4800" b="1" i="0" u="none" strike="noStrike" kern="1200" cap="none" spc="0" normalizeH="0" baseline="0" noProof="0">
                <a:ln>
                  <a:noFill/>
                </a:ln>
                <a:solidFill>
                  <a:prstClr val="white"/>
                </a:solidFill>
                <a:effectLst/>
                <a:uLnTx/>
                <a:uFillTx/>
                <a:latin typeface="Arial" panose="020B0604020202020204" pitchFamily="34" charset="0"/>
                <a:ea typeface="+mn-ea"/>
                <a:cs typeface="+mn-cs"/>
              </a:rPr>
              <a:t>    </a:t>
            </a:r>
          </a:p>
        </p:txBody>
      </p:sp>
      <p:sp>
        <p:nvSpPr>
          <p:cNvPr id="24" name="Shape 233">
            <a:extLst>
              <a:ext uri="{FF2B5EF4-FFF2-40B4-BE49-F238E27FC236}">
                <a16:creationId xmlns:a16="http://schemas.microsoft.com/office/drawing/2014/main" id="{6EFD696E-39A9-8949-94ED-C71CA356040F}"/>
              </a:ext>
            </a:extLst>
          </p:cNvPr>
          <p:cNvSpPr/>
          <p:nvPr/>
        </p:nvSpPr>
        <p:spPr>
          <a:xfrm>
            <a:off x="1851436" y="4270775"/>
            <a:ext cx="4608701" cy="769313"/>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sz="2600" cap="none">
                <a:solidFill>
                  <a:srgbClr val="717172"/>
                </a:solidFill>
                <a:latin typeface="Lato Regular"/>
                <a:ea typeface="Lato Regular"/>
                <a:cs typeface="Lato Regular"/>
                <a:sym typeface="Lato Regular"/>
              </a:defRPr>
            </a:pPr>
            <a:r>
              <a:rPr kumimoji="0" lang="en-US" sz="36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16,39 + 5,25 – 10,3</a:t>
            </a:r>
            <a:endParaRPr kumimoji="0" sz="36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p:txBody>
      </p:sp>
      <p:sp>
        <p:nvSpPr>
          <p:cNvPr id="25" name="Shape 233">
            <a:extLst>
              <a:ext uri="{FF2B5EF4-FFF2-40B4-BE49-F238E27FC236}">
                <a16:creationId xmlns:a16="http://schemas.microsoft.com/office/drawing/2014/main" id="{4351884E-3218-E17A-C0E2-02FEE50F2640}"/>
              </a:ext>
            </a:extLst>
          </p:cNvPr>
          <p:cNvSpPr/>
          <p:nvPr/>
        </p:nvSpPr>
        <p:spPr>
          <a:xfrm>
            <a:off x="6933265" y="4294825"/>
            <a:ext cx="2407413" cy="769313"/>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marL="0" marR="0" lvl="0" indent="0" algn="l" defTabSz="914400" rtl="0" eaLnBrk="1" fontAlgn="auto" latinLnBrk="0" hangingPunct="1">
              <a:lnSpc>
                <a:spcPct val="150000"/>
              </a:lnSpc>
              <a:spcBef>
                <a:spcPts val="0"/>
              </a:spcBef>
              <a:spcAft>
                <a:spcPts val="0"/>
              </a:spcAft>
              <a:buClrTx/>
              <a:buSzTx/>
              <a:buFontTx/>
              <a:buNone/>
              <a:tabLst/>
              <a:defRPr sz="2600" cap="none">
                <a:solidFill>
                  <a:srgbClr val="717172"/>
                </a:solidFill>
                <a:latin typeface="Lato Regular"/>
                <a:ea typeface="Lato Regular"/>
                <a:cs typeface="Lato Regular"/>
                <a:sym typeface="Lato Regular"/>
              </a:defRPr>
            </a:pPr>
            <a:r>
              <a:rPr kumimoji="0" lang="en-US" sz="3600" b="1" i="0" u="none" strike="noStrike" kern="1200" cap="none" spc="0" normalizeH="0" baseline="0" noProof="0" dirty="0">
                <a:ln>
                  <a:noFill/>
                </a:ln>
                <a:solidFill>
                  <a:srgbClr val="FFFF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 11,34 </a:t>
            </a:r>
            <a:endParaRPr kumimoji="0" sz="3600" b="1" i="0" u="none" strike="noStrike" kern="1200" cap="none" spc="0" normalizeH="0" baseline="0" noProof="0" dirty="0">
              <a:ln>
                <a:noFill/>
              </a:ln>
              <a:solidFill>
                <a:srgbClr val="FFFF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p:txBody>
      </p:sp>
    </p:spTree>
    <p:extLst>
      <p:ext uri="{BB962C8B-B14F-4D97-AF65-F5344CB8AC3E}">
        <p14:creationId xmlns:p14="http://schemas.microsoft.com/office/powerpoint/2010/main" val="269488052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7" name="Rectangle 5126">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4D58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129" name="Rectangle 5128">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2C1AFD93-50F1-8C54-1CF0-F374191C4AA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3784" b="96892" l="2000" r="97556">
                        <a14:foregroundMark x1="25222" y1="3784" x2="77444" y2="11216"/>
                        <a14:foregroundMark x1="20667" y1="12027" x2="93556" y2="14730"/>
                        <a14:foregroundMark x1="63000" y1="2432" x2="89333" y2="4324"/>
                        <a14:foregroundMark x1="89333" y1="4324" x2="97222" y2="12568"/>
                        <a14:foregroundMark x1="97222" y1="12568" x2="97556" y2="13784"/>
                        <a14:foregroundMark x1="92333" y1="3784" x2="94222" y2="5676"/>
                        <a14:foregroundMark x1="21556" y1="10946" x2="21778" y2="35000"/>
                        <a14:foregroundMark x1="18000" y1="22027" x2="19778" y2="34054"/>
                        <a14:foregroundMark x1="19778" y1="34054" x2="25667" y2="48378"/>
                        <a14:foregroundMark x1="25667" y1="48378" x2="27111" y2="49865"/>
                        <a14:foregroundMark x1="14556" y1="33514" x2="44556" y2="52703"/>
                        <a14:foregroundMark x1="44556" y1="52703" x2="78222" y2="57838"/>
                        <a14:foregroundMark x1="19444" y1="40135" x2="21667" y2="45811"/>
                        <a14:foregroundMark x1="28000" y1="8243" x2="35000" y2="10676"/>
                        <a14:foregroundMark x1="72000" y1="49595" x2="78556" y2="57838"/>
                        <a14:foregroundMark x1="80667" y1="55946" x2="84556" y2="76757"/>
                        <a14:foregroundMark x1="84556" y1="76757" x2="80667" y2="84595"/>
                        <a14:foregroundMark x1="80667" y1="84595" x2="2000" y2="89324"/>
                        <a14:foregroundMark x1="3000" y1="92162" x2="48556" y2="96892"/>
                        <a14:foregroundMark x1="48556" y1="96892" x2="69556" y2="92568"/>
                        <a14:backgroundMark x1="4111" y1="4865" x2="5667" y2="36622"/>
                        <a14:backgroundMark x1="32889" y1="20946" x2="75333" y2="25135"/>
                      </a14:backgroundRemoval>
                    </a14:imgEffect>
                  </a14:imgLayer>
                </a14:imgProps>
              </a:ext>
            </a:extLst>
          </a:blip>
          <a:stretch>
            <a:fillRect/>
          </a:stretch>
        </p:blipFill>
        <p:spPr>
          <a:xfrm>
            <a:off x="2655769" y="936865"/>
            <a:ext cx="6889064" cy="4771327"/>
          </a:xfrm>
          <a:prstGeom prst="rect">
            <a:avLst/>
          </a:prstGeom>
        </p:spPr>
      </p:pic>
      <p:pic>
        <p:nvPicPr>
          <p:cNvPr id="6" name="Picture 5">
            <a:extLst>
              <a:ext uri="{FF2B5EF4-FFF2-40B4-BE49-F238E27FC236}">
                <a16:creationId xmlns:a16="http://schemas.microsoft.com/office/drawing/2014/main" id="{931BA2A6-39B5-6A73-C79C-6983110C2660}"/>
              </a:ext>
            </a:extLst>
          </p:cNvPr>
          <p:cNvPicPr>
            <a:picLocks noChangeAspect="1"/>
          </p:cNvPicPr>
          <p:nvPr/>
        </p:nvPicPr>
        <p:blipFill>
          <a:blip r:embed="rId6"/>
          <a:stretch>
            <a:fillRect/>
          </a:stretch>
        </p:blipFill>
        <p:spPr>
          <a:xfrm>
            <a:off x="3888190" y="4355462"/>
            <a:ext cx="1805640" cy="1717385"/>
          </a:xfrm>
          <a:prstGeom prst="rect">
            <a:avLst/>
          </a:prstGeom>
        </p:spPr>
      </p:pic>
      <p:pic>
        <p:nvPicPr>
          <p:cNvPr id="7" name="Picture 6">
            <a:extLst>
              <a:ext uri="{FF2B5EF4-FFF2-40B4-BE49-F238E27FC236}">
                <a16:creationId xmlns:a16="http://schemas.microsoft.com/office/drawing/2014/main" id="{A0FC4AFF-E147-52FC-A993-6EBFC3287350}"/>
              </a:ext>
            </a:extLst>
          </p:cNvPr>
          <p:cNvPicPr>
            <a:picLocks noChangeAspect="1"/>
          </p:cNvPicPr>
          <p:nvPr/>
        </p:nvPicPr>
        <p:blipFill>
          <a:blip r:embed="rId6"/>
          <a:stretch>
            <a:fillRect/>
          </a:stretch>
        </p:blipFill>
        <p:spPr>
          <a:xfrm>
            <a:off x="7490472" y="3801863"/>
            <a:ext cx="1805640" cy="1717385"/>
          </a:xfrm>
          <a:prstGeom prst="rect">
            <a:avLst/>
          </a:prstGeom>
        </p:spPr>
      </p:pic>
      <p:pic>
        <p:nvPicPr>
          <p:cNvPr id="8" name="Picture 7">
            <a:extLst>
              <a:ext uri="{FF2B5EF4-FFF2-40B4-BE49-F238E27FC236}">
                <a16:creationId xmlns:a16="http://schemas.microsoft.com/office/drawing/2014/main" id="{F953B314-7198-6DC0-4729-18174EC107D3}"/>
              </a:ext>
            </a:extLst>
          </p:cNvPr>
          <p:cNvPicPr>
            <a:picLocks noChangeAspect="1"/>
          </p:cNvPicPr>
          <p:nvPr/>
        </p:nvPicPr>
        <p:blipFill>
          <a:blip r:embed="rId6"/>
          <a:stretch>
            <a:fillRect/>
          </a:stretch>
        </p:blipFill>
        <p:spPr>
          <a:xfrm>
            <a:off x="3514677" y="2123517"/>
            <a:ext cx="1805640" cy="1717385"/>
          </a:xfrm>
          <a:prstGeom prst="rect">
            <a:avLst/>
          </a:prstGeom>
        </p:spPr>
      </p:pic>
      <p:pic>
        <p:nvPicPr>
          <p:cNvPr id="4" name="Picture 3">
            <a:extLst>
              <a:ext uri="{FF2B5EF4-FFF2-40B4-BE49-F238E27FC236}">
                <a16:creationId xmlns:a16="http://schemas.microsoft.com/office/drawing/2014/main" id="{58F8B7A4-1C8F-5946-6655-522263223583}"/>
              </a:ext>
            </a:extLst>
          </p:cNvPr>
          <p:cNvPicPr>
            <a:picLocks noChangeAspect="1"/>
          </p:cNvPicPr>
          <p:nvPr/>
        </p:nvPicPr>
        <p:blipFill>
          <a:blip r:embed="rId7"/>
          <a:stretch>
            <a:fillRect/>
          </a:stretch>
        </p:blipFill>
        <p:spPr>
          <a:xfrm>
            <a:off x="9296112" y="480060"/>
            <a:ext cx="2381250" cy="2381250"/>
          </a:xfrm>
          <a:prstGeom prst="rect">
            <a:avLst/>
          </a:prstGeom>
        </p:spPr>
      </p:pic>
      <p:pic>
        <p:nvPicPr>
          <p:cNvPr id="2" name="Picture 1" descr="Không có mô tả ảnh.">
            <a:extLst>
              <a:ext uri="{FF2B5EF4-FFF2-40B4-BE49-F238E27FC236}">
                <a16:creationId xmlns:a16="http://schemas.microsoft.com/office/drawing/2014/main" id="{F5BB7E13-839C-B692-C3CB-11E6531DD443}"/>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4415" b="95791" l="9926" r="89578">
                        <a14:foregroundMark x1="41439" y1="7803" x2="57568" y2="15400"/>
                        <a14:foregroundMark x1="48139" y1="4620" x2="59926" y2="15606"/>
                        <a14:foregroundMark x1="30397" y1="26489" x2="54218" y2="42608"/>
                        <a14:foregroundMark x1="57568" y1="22690" x2="70223" y2="37680"/>
                        <a14:foregroundMark x1="55211" y1="26078" x2="67122" y2="33470"/>
                        <a14:foregroundMark x1="29529" y1="30903" x2="43921" y2="36242"/>
                        <a14:foregroundMark x1="36476" y1="29671" x2="41687" y2="29261"/>
                        <a14:foregroundMark x1="36725" y1="24743" x2="42432" y2="29466"/>
                        <a14:foregroundMark x1="48015" y1="89630" x2="46774" y2="94456"/>
                        <a14:foregroundMark x1="62779" y1="89014" x2="65261" y2="94251"/>
                        <a14:foregroundMark x1="58313" y1="92197" x2="63275" y2="95791"/>
                        <a14:foregroundMark x1="33375" y1="28645" x2="32878" y2="39220"/>
                        <a14:foregroundMark x1="59057" y1="28337" x2="67370" y2="30903"/>
                        <a14:foregroundMark x1="62779" y1="24743" x2="66005" y2="34805"/>
                      </a14:backgroundRemoval>
                    </a14:imgEffect>
                  </a14:imgLayer>
                </a14:imgProps>
              </a:ext>
              <a:ext uri="{28A0092B-C50C-407E-A947-70E740481C1C}">
                <a14:useLocalDpi xmlns:a14="http://schemas.microsoft.com/office/drawing/2010/main" val="0"/>
              </a:ext>
            </a:extLst>
          </a:blip>
          <a:stretch>
            <a:fillRect/>
          </a:stretch>
        </p:blipFill>
        <p:spPr bwMode="auto">
          <a:xfrm>
            <a:off x="3655443" y="3298492"/>
            <a:ext cx="2271134" cy="2744574"/>
          </a:xfrm>
          <a:prstGeom prst="rect">
            <a:avLst/>
          </a:prstGeom>
          <a:noFill/>
          <a:extLst>
            <a:ext uri="{909E8E84-426E-40DD-AFC4-6F175D3DCCD1}">
              <a14:hiddenFill xmlns:a14="http://schemas.microsoft.com/office/drawing/2010/main">
                <a:solidFill>
                  <a:srgbClr val="FFFFFF"/>
                </a:solidFill>
              </a14:hiddenFill>
            </a:ext>
          </a:extLst>
        </p:spPr>
      </p:pic>
      <p:pic>
        <p:nvPicPr>
          <p:cNvPr id="10" name="Am-thanh-phep-thuat-www_nhacchuongvui_com">
            <a:hlinkClick r:id="" action="ppaction://media"/>
            <a:extLst>
              <a:ext uri="{FF2B5EF4-FFF2-40B4-BE49-F238E27FC236}">
                <a16:creationId xmlns:a16="http://schemas.microsoft.com/office/drawing/2014/main" id="{E53CE2AC-3D82-D4E7-3980-33653BD6EA64}"/>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1374506" y="6172201"/>
            <a:ext cx="640291" cy="640291"/>
          </a:xfrm>
          <a:prstGeom prst="rect">
            <a:avLst/>
          </a:prstGeom>
        </p:spPr>
      </p:pic>
      <p:pic>
        <p:nvPicPr>
          <p:cNvPr id="3" name="Picture 2">
            <a:extLst>
              <a:ext uri="{FF2B5EF4-FFF2-40B4-BE49-F238E27FC236}">
                <a16:creationId xmlns:a16="http://schemas.microsoft.com/office/drawing/2014/main" id="{62B613F1-F4EF-C6A4-8005-705555E95618}"/>
              </a:ext>
            </a:extLst>
          </p:cNvPr>
          <p:cNvPicPr>
            <a:picLocks noChangeAspect="1"/>
          </p:cNvPicPr>
          <p:nvPr/>
        </p:nvPicPr>
        <p:blipFill>
          <a:blip r:embed="rId6"/>
          <a:stretch>
            <a:fillRect/>
          </a:stretch>
        </p:blipFill>
        <p:spPr>
          <a:xfrm>
            <a:off x="5968865" y="406132"/>
            <a:ext cx="1805640" cy="1717385"/>
          </a:xfrm>
          <a:prstGeom prst="rect">
            <a:avLst/>
          </a:prstGeom>
        </p:spPr>
      </p:pic>
    </p:spTree>
    <p:extLst>
      <p:ext uri="{BB962C8B-B14F-4D97-AF65-F5344CB8AC3E}">
        <p14:creationId xmlns:p14="http://schemas.microsoft.com/office/powerpoint/2010/main" val="194954780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path" presetSubtype="0" accel="50000" decel="50000" fill="hold" nodeType="clickEffect">
                                  <p:stCondLst>
                                    <p:cond delay="0"/>
                                  </p:stCondLst>
                                  <p:childTnLst>
                                    <p:animMotion origin="layout" path="M 1.25E-6 1.48148E-6 L 0.07279 -0.00509 C 0.08789 -0.00625 0.11081 -0.00671 0.13463 -0.00671 C 0.16185 -0.00671 0.18372 -0.00625 0.19883 -0.00509 L 0.27187 1.48148E-6 " pathEditMode="relative" rAng="0" ptsTypes="AAAAA">
                                      <p:cBhvr>
                                        <p:cTn id="6" dur="2000" fill="hold"/>
                                        <p:tgtEl>
                                          <p:spTgt spid="2"/>
                                        </p:tgtEl>
                                        <p:attrNameLst>
                                          <p:attrName>ppt_x</p:attrName>
                                          <p:attrName>ppt_y</p:attrName>
                                        </p:attrNameLst>
                                      </p:cBhvr>
                                      <p:rCtr x="13594" y="-347"/>
                                    </p:animMotion>
                                  </p:childTnLst>
                                </p:cTn>
                              </p:par>
                              <p:par>
                                <p:cTn id="7" presetID="1" presetClass="mediacall" presetSubtype="0" fill="hold" nodeType="withEffect">
                                  <p:stCondLst>
                                    <p:cond delay="0"/>
                                  </p:stCondLst>
                                  <p:childTnLst>
                                    <p:cmd type="call" cmd="playFrom(0.0)">
                                      <p:cBhvr>
                                        <p:cTn id="8" dur="5193"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9" fill="hold" display="0">
                  <p:stCondLst>
                    <p:cond delay="indefinite"/>
                  </p:stCondLst>
                  <p:endCondLst>
                    <p:cond evt="onStopAudio" delay="0">
                      <p:tgtEl>
                        <p:sldTgt/>
                      </p:tgtEl>
                    </p:cond>
                  </p:endCondLst>
                </p:cTn>
                <p:tgtEl>
                  <p:spTgt spid="10"/>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58">
            <a:extLst>
              <a:ext uri="{FF2B5EF4-FFF2-40B4-BE49-F238E27FC236}">
                <a16:creationId xmlns:a16="http://schemas.microsoft.com/office/drawing/2014/main" id="{B30FCEE5-F870-276E-5803-BEC6CFFD649F}"/>
              </a:ext>
            </a:extLst>
          </p:cNvPr>
          <p:cNvPicPr>
            <a:picLocks noChangeAspect="1"/>
          </p:cNvPicPr>
          <p:nvPr/>
        </p:nvPicPr>
        <p:blipFill>
          <a:blip r:embed="rId2">
            <a:alphaModFix amt="35000"/>
          </a:blip>
          <a:stretch>
            <a:fillRect/>
          </a:stretch>
        </p:blipFill>
        <p:spPr>
          <a:xfrm>
            <a:off x="0" y="-34006"/>
            <a:ext cx="12247464" cy="6926012"/>
          </a:xfrm>
          <a:prstGeom prst="rect">
            <a:avLst/>
          </a:prstGeom>
        </p:spPr>
      </p:pic>
      <p:pic>
        <p:nvPicPr>
          <p:cNvPr id="60" name="Picture 59" descr="A number with butterflies and flowers&#10;&#10;Description automatically generated">
            <a:extLst>
              <a:ext uri="{FF2B5EF4-FFF2-40B4-BE49-F238E27FC236}">
                <a16:creationId xmlns:a16="http://schemas.microsoft.com/office/drawing/2014/main" id="{2E1B82F7-5E66-DA30-20E2-03935895EE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373" y="5064302"/>
            <a:ext cx="1262948" cy="1778926"/>
          </a:xfrm>
          <a:prstGeom prst="rect">
            <a:avLst/>
          </a:prstGeom>
        </p:spPr>
      </p:pic>
      <p:pic>
        <p:nvPicPr>
          <p:cNvPr id="61" name="Picture 60" descr="A cartoon bear holding a yellow number&#10;&#10;Description automatically generated">
            <a:extLst>
              <a:ext uri="{FF2B5EF4-FFF2-40B4-BE49-F238E27FC236}">
                <a16:creationId xmlns:a16="http://schemas.microsoft.com/office/drawing/2014/main" id="{1B615474-3ABD-906A-4615-2ECC1AA0A3D5}"/>
              </a:ext>
            </a:extLst>
          </p:cNvPr>
          <p:cNvPicPr>
            <a:picLocks noChangeAspect="1"/>
          </p:cNvPicPr>
          <p:nvPr/>
        </p:nvPicPr>
        <p:blipFill rotWithShape="1">
          <a:blip r:embed="rId4">
            <a:extLst>
              <a:ext uri="{28A0092B-C50C-407E-A947-70E740481C1C}">
                <a14:useLocalDpi xmlns:a14="http://schemas.microsoft.com/office/drawing/2010/main" val="0"/>
              </a:ext>
            </a:extLst>
          </a:blip>
          <a:srcRect t="16051" b="17037"/>
          <a:stretch/>
        </p:blipFill>
        <p:spPr>
          <a:xfrm>
            <a:off x="8852639" y="4458332"/>
            <a:ext cx="3367645" cy="2470667"/>
          </a:xfrm>
          <a:prstGeom prst="rect">
            <a:avLst/>
          </a:prstGeom>
        </p:spPr>
      </p:pic>
      <p:sp>
        <p:nvSpPr>
          <p:cNvPr id="36" name="Shape 233">
            <a:extLst>
              <a:ext uri="{FF2B5EF4-FFF2-40B4-BE49-F238E27FC236}">
                <a16:creationId xmlns:a16="http://schemas.microsoft.com/office/drawing/2014/main" id="{C0E44DBC-F3E3-9761-22F1-4CA4DB0E6302}"/>
              </a:ext>
            </a:extLst>
          </p:cNvPr>
          <p:cNvSpPr/>
          <p:nvPr/>
        </p:nvSpPr>
        <p:spPr>
          <a:xfrm>
            <a:off x="568961" y="1325318"/>
            <a:ext cx="3946648" cy="616387"/>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a:lnSpc>
                <a:spcPct val="150000"/>
              </a:lnSpc>
              <a:defRPr sz="2600" cap="none">
                <a:solidFill>
                  <a:srgbClr val="717172"/>
                </a:solidFill>
                <a:latin typeface="Lato Regular"/>
                <a:ea typeface="Lato Regular"/>
                <a:cs typeface="Lato Regular"/>
                <a:sym typeface="Lato Regular"/>
              </a:defRPr>
            </a:pPr>
            <a:r>
              <a:rPr lang="en-US" sz="2800" b="1" dirty="0">
                <a:solidFill>
                  <a:srgbClr val="1F2020"/>
                </a:solidFill>
                <a:latin typeface="UTM Neo Sans Intel" pitchFamily="18" charset="0"/>
                <a:ea typeface="字魂17号-萌趣果冻体" panose="02000000000000000000" pitchFamily="2" charset="-122"/>
                <a:sym typeface="Lato Regular"/>
              </a:rPr>
              <a:t>a) </a:t>
            </a:r>
            <a:r>
              <a:rPr lang="en-US" sz="2800" b="1" i="1" dirty="0">
                <a:solidFill>
                  <a:srgbClr val="1F2020"/>
                </a:solidFill>
                <a:latin typeface="Times New Roman" pitchFamily="18" charset="0"/>
                <a:ea typeface="字魂17号-萌趣果冻体" panose="02000000000000000000" pitchFamily="2" charset="-122"/>
                <a:cs typeface="Times New Roman" pitchFamily="18" charset="0"/>
                <a:sym typeface="Lato Regular"/>
              </a:rPr>
              <a:t>x</a:t>
            </a:r>
            <a:r>
              <a:rPr lang="en-US" sz="2800" b="1" dirty="0">
                <a:solidFill>
                  <a:srgbClr val="1F2020"/>
                </a:solidFill>
                <a:latin typeface="UTM Neo Sans Intel" pitchFamily="18" charset="0"/>
                <a:ea typeface="字魂17号-萌趣果冻体" panose="02000000000000000000" pitchFamily="2" charset="-122"/>
                <a:sym typeface="Lato Regular"/>
              </a:rPr>
              <a:t> – 5,2 =</a:t>
            </a:r>
            <a:endParaRPr sz="2800" b="1" dirty="0">
              <a:solidFill>
                <a:srgbClr val="1F2020"/>
              </a:solidFill>
              <a:latin typeface="UTM Neo Sans Intel" pitchFamily="18" charset="0"/>
              <a:ea typeface="字魂17号-萌趣果冻体" panose="02000000000000000000" pitchFamily="2" charset="-122"/>
              <a:sym typeface="Lato Regular"/>
            </a:endParaRPr>
          </a:p>
        </p:txBody>
      </p:sp>
      <p:sp>
        <p:nvSpPr>
          <p:cNvPr id="37" name="Shape 233">
            <a:extLst>
              <a:ext uri="{FF2B5EF4-FFF2-40B4-BE49-F238E27FC236}">
                <a16:creationId xmlns:a16="http://schemas.microsoft.com/office/drawing/2014/main" id="{24A17A91-3E0D-C171-FB88-A611ECFE417F}"/>
              </a:ext>
            </a:extLst>
          </p:cNvPr>
          <p:cNvSpPr/>
          <p:nvPr/>
        </p:nvSpPr>
        <p:spPr>
          <a:xfrm>
            <a:off x="3441998" y="1342957"/>
            <a:ext cx="1966798" cy="599716"/>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nSpc>
                <a:spcPct val="150000"/>
              </a:lnSpc>
              <a:defRPr sz="2600" cap="none">
                <a:solidFill>
                  <a:srgbClr val="717172"/>
                </a:solidFill>
                <a:latin typeface="Lato Regular"/>
                <a:ea typeface="Lato Regular"/>
                <a:cs typeface="Lato Regular"/>
                <a:sym typeface="Lato Regular"/>
              </a:defRPr>
            </a:pPr>
            <a:r>
              <a:rPr lang="en-US" sz="2800" b="1" dirty="0">
                <a:solidFill>
                  <a:srgbClr val="1F2020"/>
                </a:solidFill>
                <a:latin typeface="UTM Neo Sans Intel" pitchFamily="18" charset="0"/>
                <a:ea typeface="字魂17号-萌趣果冻体" panose="02000000000000000000" pitchFamily="2" charset="-122"/>
                <a:sym typeface="Lato Regular"/>
              </a:rPr>
              <a:t>1,9 + 3,8</a:t>
            </a:r>
          </a:p>
        </p:txBody>
      </p:sp>
      <p:sp>
        <p:nvSpPr>
          <p:cNvPr id="38" name="Shape 233">
            <a:extLst>
              <a:ext uri="{FF2B5EF4-FFF2-40B4-BE49-F238E27FC236}">
                <a16:creationId xmlns:a16="http://schemas.microsoft.com/office/drawing/2014/main" id="{91384EA9-CBB1-B5F4-24E7-06CDC2E869FD}"/>
              </a:ext>
            </a:extLst>
          </p:cNvPr>
          <p:cNvSpPr/>
          <p:nvPr/>
        </p:nvSpPr>
        <p:spPr>
          <a:xfrm>
            <a:off x="721361" y="542321"/>
            <a:ext cx="2932217" cy="600421"/>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nSpc>
                <a:spcPct val="150000"/>
              </a:lnSpc>
              <a:defRPr sz="2600" cap="none">
                <a:solidFill>
                  <a:srgbClr val="717172"/>
                </a:solidFill>
                <a:latin typeface="Lato Regular"/>
                <a:ea typeface="Lato Regular"/>
                <a:cs typeface="Lato Regular"/>
                <a:sym typeface="Lato Regular"/>
              </a:defRPr>
            </a:pPr>
            <a:r>
              <a:rPr lang="en-US" sz="2800" b="1" dirty="0" err="1">
                <a:solidFill>
                  <a:srgbClr val="FF0000"/>
                </a:solidFill>
                <a:latin typeface="UTM Guanine" pitchFamily="18" charset="0"/>
                <a:ea typeface="字魂17号-萌趣果冻体" panose="02000000000000000000" pitchFamily="2" charset="-122"/>
                <a:sym typeface="Lato Regular"/>
              </a:rPr>
              <a:t>Bài</a:t>
            </a:r>
            <a:r>
              <a:rPr lang="en-US" sz="2800" b="1" dirty="0">
                <a:solidFill>
                  <a:srgbClr val="FF0000"/>
                </a:solidFill>
                <a:latin typeface="UTM Guanine" pitchFamily="18" charset="0"/>
                <a:ea typeface="字魂17号-萌趣果冻体" panose="02000000000000000000" pitchFamily="2" charset="-122"/>
                <a:sym typeface="Lato Regular"/>
              </a:rPr>
              <a:t> 2: </a:t>
            </a:r>
            <a:r>
              <a:rPr lang="en-US" sz="2800" b="1" dirty="0" err="1">
                <a:solidFill>
                  <a:srgbClr val="FF0000"/>
                </a:solidFill>
                <a:latin typeface="UTM Guanine" pitchFamily="18" charset="0"/>
                <a:ea typeface="字魂17号-萌趣果冻体" panose="02000000000000000000" pitchFamily="2" charset="-122"/>
                <a:sym typeface="Lato Regular"/>
              </a:rPr>
              <a:t>Tìm</a:t>
            </a:r>
            <a:r>
              <a:rPr lang="en-US" sz="2800" b="1" dirty="0">
                <a:solidFill>
                  <a:srgbClr val="FF0000"/>
                </a:solidFill>
                <a:latin typeface="UTM Guanine" pitchFamily="18" charset="0"/>
                <a:ea typeface="字魂17号-萌趣果冻体" panose="02000000000000000000" pitchFamily="2" charset="-122"/>
                <a:sym typeface="Lato Regular"/>
              </a:rPr>
              <a:t> x</a:t>
            </a:r>
            <a:endParaRPr sz="2800" b="1" dirty="0">
              <a:solidFill>
                <a:srgbClr val="FF0000"/>
              </a:solidFill>
              <a:latin typeface="UTM Guanine" pitchFamily="18" charset="0"/>
              <a:ea typeface="字魂17号-萌趣果冻体" panose="02000000000000000000" pitchFamily="2" charset="-122"/>
              <a:sym typeface="Lato Regular"/>
            </a:endParaRPr>
          </a:p>
        </p:txBody>
      </p:sp>
      <p:sp>
        <p:nvSpPr>
          <p:cNvPr id="45" name="Shape 233">
            <a:extLst>
              <a:ext uri="{FF2B5EF4-FFF2-40B4-BE49-F238E27FC236}">
                <a16:creationId xmlns:a16="http://schemas.microsoft.com/office/drawing/2014/main" id="{AB444DE2-F225-9365-2617-0639A3A107C3}"/>
              </a:ext>
            </a:extLst>
          </p:cNvPr>
          <p:cNvSpPr/>
          <p:nvPr/>
        </p:nvSpPr>
        <p:spPr>
          <a:xfrm>
            <a:off x="4515609" y="2623783"/>
            <a:ext cx="983399" cy="599716"/>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nSpc>
                <a:spcPct val="150000"/>
              </a:lnSpc>
              <a:defRPr sz="2600" cap="none">
                <a:solidFill>
                  <a:srgbClr val="717172"/>
                </a:solidFill>
                <a:latin typeface="Lato Regular"/>
                <a:ea typeface="Lato Regular"/>
                <a:cs typeface="Lato Regular"/>
                <a:sym typeface="Lato Regular"/>
              </a:defRPr>
            </a:pPr>
            <a:endParaRPr lang="en-US" sz="2800" b="1" dirty="0">
              <a:latin typeface="UTM Neo Sans Intel" pitchFamily="18" charset="0"/>
              <a:ea typeface="字魂17号-萌趣果冻体" panose="02000000000000000000" pitchFamily="2" charset="-122"/>
              <a:sym typeface="Lato Regular"/>
            </a:endParaRPr>
          </a:p>
        </p:txBody>
      </p:sp>
      <p:sp>
        <p:nvSpPr>
          <p:cNvPr id="48" name="Shape 233">
            <a:extLst>
              <a:ext uri="{FF2B5EF4-FFF2-40B4-BE49-F238E27FC236}">
                <a16:creationId xmlns:a16="http://schemas.microsoft.com/office/drawing/2014/main" id="{77E5BD04-DA56-1827-3670-C23E4ECDBC85}"/>
              </a:ext>
            </a:extLst>
          </p:cNvPr>
          <p:cNvSpPr/>
          <p:nvPr/>
        </p:nvSpPr>
        <p:spPr>
          <a:xfrm>
            <a:off x="5448170" y="1292658"/>
            <a:ext cx="3946648" cy="697627"/>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a:lnSpc>
                <a:spcPct val="150000"/>
              </a:lnSpc>
              <a:defRPr sz="2600" cap="none">
                <a:solidFill>
                  <a:srgbClr val="717172"/>
                </a:solidFill>
                <a:latin typeface="Lato Regular"/>
                <a:ea typeface="Lato Regular"/>
                <a:cs typeface="Lato Regular"/>
                <a:sym typeface="Lato Regular"/>
              </a:defRPr>
            </a:pPr>
            <a:r>
              <a:rPr lang="en-US" sz="2800" b="1" dirty="0">
                <a:solidFill>
                  <a:srgbClr val="1F2020"/>
                </a:solidFill>
                <a:latin typeface="UTM Neo Sans Intel" pitchFamily="18" charset="0"/>
                <a:ea typeface="字魂17号-萌趣果冻体" panose="02000000000000000000" pitchFamily="2" charset="-122"/>
                <a:sym typeface="Lato Regular"/>
              </a:rPr>
              <a:t>b) </a:t>
            </a:r>
            <a:r>
              <a:rPr lang="en-US" sz="2800" b="1" i="1" dirty="0">
                <a:solidFill>
                  <a:srgbClr val="1F2020"/>
                </a:solidFill>
                <a:latin typeface="Times New Roman" pitchFamily="18" charset="0"/>
                <a:ea typeface="字魂17号-萌趣果冻体" panose="02000000000000000000" pitchFamily="2" charset="-122"/>
                <a:cs typeface="Times New Roman" pitchFamily="18" charset="0"/>
                <a:sym typeface="Lato Regular"/>
              </a:rPr>
              <a:t>x</a:t>
            </a:r>
            <a:r>
              <a:rPr lang="en-US" sz="2800" b="1" dirty="0">
                <a:solidFill>
                  <a:srgbClr val="1F2020"/>
                </a:solidFill>
                <a:latin typeface="UTM Neo Sans Intel" pitchFamily="18" charset="0"/>
                <a:ea typeface="字魂17号-萌趣果冻体" panose="02000000000000000000" pitchFamily="2" charset="-122"/>
                <a:sym typeface="Lato Regular"/>
              </a:rPr>
              <a:t> + 2,7 =</a:t>
            </a:r>
            <a:endParaRPr sz="2800" b="1" dirty="0">
              <a:solidFill>
                <a:srgbClr val="1F2020"/>
              </a:solidFill>
              <a:latin typeface="UTM Neo Sans Intel" pitchFamily="18" charset="0"/>
              <a:ea typeface="字魂17号-萌趣果冻体" panose="02000000000000000000" pitchFamily="2" charset="-122"/>
              <a:sym typeface="Lato Regular"/>
            </a:endParaRPr>
          </a:p>
        </p:txBody>
      </p:sp>
      <p:sp>
        <p:nvSpPr>
          <p:cNvPr id="49" name="Shape 233">
            <a:extLst>
              <a:ext uri="{FF2B5EF4-FFF2-40B4-BE49-F238E27FC236}">
                <a16:creationId xmlns:a16="http://schemas.microsoft.com/office/drawing/2014/main" id="{52C65834-6CC8-DEB9-E10C-28A90AE02182}"/>
              </a:ext>
            </a:extLst>
          </p:cNvPr>
          <p:cNvSpPr/>
          <p:nvPr/>
        </p:nvSpPr>
        <p:spPr>
          <a:xfrm>
            <a:off x="8448803" y="1329651"/>
            <a:ext cx="1966798" cy="599716"/>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nSpc>
                <a:spcPct val="150000"/>
              </a:lnSpc>
              <a:defRPr sz="2600" cap="none">
                <a:solidFill>
                  <a:srgbClr val="717172"/>
                </a:solidFill>
                <a:latin typeface="Lato Regular"/>
                <a:ea typeface="Lato Regular"/>
                <a:cs typeface="Lato Regular"/>
                <a:sym typeface="Lato Regular"/>
              </a:defRPr>
            </a:pPr>
            <a:r>
              <a:rPr lang="en-US" sz="2800" b="1" dirty="0">
                <a:solidFill>
                  <a:srgbClr val="1F2020"/>
                </a:solidFill>
                <a:latin typeface="UTM Neo Sans Intel" pitchFamily="18" charset="0"/>
                <a:ea typeface="字魂17号-萌趣果冻体" panose="02000000000000000000" pitchFamily="2" charset="-122"/>
                <a:sym typeface="Lato Regular"/>
              </a:rPr>
              <a:t>8,7 + 4,9</a:t>
            </a:r>
          </a:p>
        </p:txBody>
      </p:sp>
      <p:sp>
        <p:nvSpPr>
          <p:cNvPr id="56" name="Shape 233">
            <a:extLst>
              <a:ext uri="{FF2B5EF4-FFF2-40B4-BE49-F238E27FC236}">
                <a16:creationId xmlns:a16="http://schemas.microsoft.com/office/drawing/2014/main" id="{A3592E13-D68A-11E2-E7F3-93DBA9F00F20}"/>
              </a:ext>
            </a:extLst>
          </p:cNvPr>
          <p:cNvSpPr/>
          <p:nvPr/>
        </p:nvSpPr>
        <p:spPr>
          <a:xfrm>
            <a:off x="9394818" y="2610477"/>
            <a:ext cx="983399" cy="599716"/>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nSpc>
                <a:spcPct val="150000"/>
              </a:lnSpc>
              <a:defRPr sz="2600" cap="none">
                <a:solidFill>
                  <a:srgbClr val="717172"/>
                </a:solidFill>
                <a:latin typeface="Lato Regular"/>
                <a:ea typeface="Lato Regular"/>
                <a:cs typeface="Lato Regular"/>
                <a:sym typeface="Lato Regular"/>
              </a:defRPr>
            </a:pPr>
            <a:endParaRPr lang="en-US" sz="2800" b="1" dirty="0">
              <a:latin typeface="UTM Neo Sans Intel" pitchFamily="18" charset="0"/>
              <a:ea typeface="字魂17号-萌趣果冻体" panose="02000000000000000000" pitchFamily="2" charset="-122"/>
              <a:sym typeface="Lato Regular"/>
            </a:endParaRPr>
          </a:p>
        </p:txBody>
      </p:sp>
      <p:sp>
        <p:nvSpPr>
          <p:cNvPr id="2" name="Speech Bubble: Rectangle with Corners Rounded 1">
            <a:extLst>
              <a:ext uri="{FF2B5EF4-FFF2-40B4-BE49-F238E27FC236}">
                <a16:creationId xmlns:a16="http://schemas.microsoft.com/office/drawing/2014/main" id="{E1DA3743-0579-E082-3B25-832E80B297DE}"/>
              </a:ext>
            </a:extLst>
          </p:cNvPr>
          <p:cNvSpPr/>
          <p:nvPr/>
        </p:nvSpPr>
        <p:spPr>
          <a:xfrm>
            <a:off x="1135673" y="3223500"/>
            <a:ext cx="5905207" cy="1644216"/>
          </a:xfrm>
          <a:custGeom>
            <a:avLst/>
            <a:gdLst>
              <a:gd name="connsiteX0" fmla="*/ 0 w 5905207"/>
              <a:gd name="connsiteY0" fmla="*/ 274041 h 1644216"/>
              <a:gd name="connsiteX1" fmla="*/ 274041 w 5905207"/>
              <a:gd name="connsiteY1" fmla="*/ 0 h 1644216"/>
              <a:gd name="connsiteX2" fmla="*/ 629121 w 5905207"/>
              <a:gd name="connsiteY2" fmla="*/ 0 h 1644216"/>
              <a:gd name="connsiteX3" fmla="*/ 984201 w 5905207"/>
              <a:gd name="connsiteY3" fmla="*/ 0 h 1644216"/>
              <a:gd name="connsiteX4" fmla="*/ 984201 w 5905207"/>
              <a:gd name="connsiteY4" fmla="*/ 0 h 1644216"/>
              <a:gd name="connsiteX5" fmla="*/ 1491065 w 5905207"/>
              <a:gd name="connsiteY5" fmla="*/ 0 h 1644216"/>
              <a:gd name="connsiteX6" fmla="*/ 2012691 w 5905207"/>
              <a:gd name="connsiteY6" fmla="*/ 0 h 1644216"/>
              <a:gd name="connsiteX7" fmla="*/ 2460503 w 5905207"/>
              <a:gd name="connsiteY7" fmla="*/ 0 h 1644216"/>
              <a:gd name="connsiteX8" fmla="*/ 3062929 w 5905207"/>
              <a:gd name="connsiteY8" fmla="*/ 0 h 1644216"/>
              <a:gd name="connsiteX9" fmla="*/ 3633648 w 5905207"/>
              <a:gd name="connsiteY9" fmla="*/ 0 h 1644216"/>
              <a:gd name="connsiteX10" fmla="*/ 4299488 w 5905207"/>
              <a:gd name="connsiteY10" fmla="*/ 0 h 1644216"/>
              <a:gd name="connsiteX11" fmla="*/ 4838500 w 5905207"/>
              <a:gd name="connsiteY11" fmla="*/ 0 h 1644216"/>
              <a:gd name="connsiteX12" fmla="*/ 5631166 w 5905207"/>
              <a:gd name="connsiteY12" fmla="*/ 0 h 1644216"/>
              <a:gd name="connsiteX13" fmla="*/ 5905207 w 5905207"/>
              <a:gd name="connsiteY13" fmla="*/ 274041 h 1644216"/>
              <a:gd name="connsiteX14" fmla="*/ 5905207 w 5905207"/>
              <a:gd name="connsiteY14" fmla="*/ 959126 h 1644216"/>
              <a:gd name="connsiteX15" fmla="*/ 5905207 w 5905207"/>
              <a:gd name="connsiteY15" fmla="*/ 959126 h 1644216"/>
              <a:gd name="connsiteX16" fmla="*/ 5905207 w 5905207"/>
              <a:gd name="connsiteY16" fmla="*/ 1370180 h 1644216"/>
              <a:gd name="connsiteX17" fmla="*/ 5905207 w 5905207"/>
              <a:gd name="connsiteY17" fmla="*/ 1370175 h 1644216"/>
              <a:gd name="connsiteX18" fmla="*/ 5631166 w 5905207"/>
              <a:gd name="connsiteY18" fmla="*/ 1644216 h 1644216"/>
              <a:gd name="connsiteX19" fmla="*/ 5060447 w 5905207"/>
              <a:gd name="connsiteY19" fmla="*/ 1644216 h 1644216"/>
              <a:gd name="connsiteX20" fmla="*/ 4521434 w 5905207"/>
              <a:gd name="connsiteY20" fmla="*/ 1644216 h 1644216"/>
              <a:gd name="connsiteX21" fmla="*/ 3823888 w 5905207"/>
              <a:gd name="connsiteY21" fmla="*/ 1644216 h 1644216"/>
              <a:gd name="connsiteX22" fmla="*/ 3126342 w 5905207"/>
              <a:gd name="connsiteY22" fmla="*/ 1644216 h 1644216"/>
              <a:gd name="connsiteX23" fmla="*/ 2460503 w 5905207"/>
              <a:gd name="connsiteY23" fmla="*/ 1644216 h 1644216"/>
              <a:gd name="connsiteX24" fmla="*/ 1823239 w 5905207"/>
              <a:gd name="connsiteY24" fmla="*/ 1720332 h 1644216"/>
              <a:gd name="connsiteX25" fmla="*/ 1147740 w 5905207"/>
              <a:gd name="connsiteY25" fmla="*/ 1801016 h 1644216"/>
              <a:gd name="connsiteX26" fmla="*/ 548712 w 5905207"/>
              <a:gd name="connsiteY26" fmla="*/ 1872565 h 1644216"/>
              <a:gd name="connsiteX27" fmla="*/ 984201 w 5905207"/>
              <a:gd name="connsiteY27" fmla="*/ 1644216 h 1644216"/>
              <a:gd name="connsiteX28" fmla="*/ 643324 w 5905207"/>
              <a:gd name="connsiteY28" fmla="*/ 1644216 h 1644216"/>
              <a:gd name="connsiteX29" fmla="*/ 274041 w 5905207"/>
              <a:gd name="connsiteY29" fmla="*/ 1644216 h 1644216"/>
              <a:gd name="connsiteX30" fmla="*/ 0 w 5905207"/>
              <a:gd name="connsiteY30" fmla="*/ 1370175 h 1644216"/>
              <a:gd name="connsiteX31" fmla="*/ 0 w 5905207"/>
              <a:gd name="connsiteY31" fmla="*/ 1370180 h 1644216"/>
              <a:gd name="connsiteX32" fmla="*/ 0 w 5905207"/>
              <a:gd name="connsiteY32" fmla="*/ 959126 h 1644216"/>
              <a:gd name="connsiteX33" fmla="*/ 0 w 5905207"/>
              <a:gd name="connsiteY33" fmla="*/ 959126 h 1644216"/>
              <a:gd name="connsiteX34" fmla="*/ 0 w 5905207"/>
              <a:gd name="connsiteY34" fmla="*/ 274041 h 164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905207" h="1644216" fill="none" extrusionOk="0">
                <a:moveTo>
                  <a:pt x="0" y="274041"/>
                </a:moveTo>
                <a:cubicBezTo>
                  <a:pt x="27074" y="117798"/>
                  <a:pt x="146666" y="-21097"/>
                  <a:pt x="274041" y="0"/>
                </a:cubicBezTo>
                <a:cubicBezTo>
                  <a:pt x="437858" y="-6339"/>
                  <a:pt x="476608" y="-3102"/>
                  <a:pt x="629121" y="0"/>
                </a:cubicBezTo>
                <a:cubicBezTo>
                  <a:pt x="781634" y="3102"/>
                  <a:pt x="908008" y="2086"/>
                  <a:pt x="984201" y="0"/>
                </a:cubicBezTo>
                <a:lnTo>
                  <a:pt x="984201" y="0"/>
                </a:lnTo>
                <a:cubicBezTo>
                  <a:pt x="1182606" y="-19671"/>
                  <a:pt x="1371785" y="-14243"/>
                  <a:pt x="1491065" y="0"/>
                </a:cubicBezTo>
                <a:cubicBezTo>
                  <a:pt x="1610345" y="14243"/>
                  <a:pt x="1850196" y="15889"/>
                  <a:pt x="2012691" y="0"/>
                </a:cubicBezTo>
                <a:cubicBezTo>
                  <a:pt x="2175186" y="-15889"/>
                  <a:pt x="2306343" y="17447"/>
                  <a:pt x="2460503" y="0"/>
                </a:cubicBezTo>
                <a:cubicBezTo>
                  <a:pt x="2604106" y="-6450"/>
                  <a:pt x="2777386" y="-1151"/>
                  <a:pt x="3062929" y="0"/>
                </a:cubicBezTo>
                <a:cubicBezTo>
                  <a:pt x="3348472" y="1151"/>
                  <a:pt x="3481782" y="8520"/>
                  <a:pt x="3633648" y="0"/>
                </a:cubicBezTo>
                <a:cubicBezTo>
                  <a:pt x="3785514" y="-8520"/>
                  <a:pt x="4058214" y="-21449"/>
                  <a:pt x="4299488" y="0"/>
                </a:cubicBezTo>
                <a:cubicBezTo>
                  <a:pt x="4540762" y="21449"/>
                  <a:pt x="4597882" y="17912"/>
                  <a:pt x="4838500" y="0"/>
                </a:cubicBezTo>
                <a:cubicBezTo>
                  <a:pt x="5079118" y="-17912"/>
                  <a:pt x="5411096" y="32416"/>
                  <a:pt x="5631166" y="0"/>
                </a:cubicBezTo>
                <a:cubicBezTo>
                  <a:pt x="5784717" y="-4756"/>
                  <a:pt x="5895770" y="135369"/>
                  <a:pt x="5905207" y="274041"/>
                </a:cubicBezTo>
                <a:cubicBezTo>
                  <a:pt x="5892438" y="610137"/>
                  <a:pt x="5939240" y="696667"/>
                  <a:pt x="5905207" y="959126"/>
                </a:cubicBezTo>
                <a:lnTo>
                  <a:pt x="5905207" y="959126"/>
                </a:lnTo>
                <a:cubicBezTo>
                  <a:pt x="5899797" y="1126935"/>
                  <a:pt x="5892409" y="1213887"/>
                  <a:pt x="5905207" y="1370180"/>
                </a:cubicBezTo>
                <a:lnTo>
                  <a:pt x="5905207" y="1370175"/>
                </a:lnTo>
                <a:cubicBezTo>
                  <a:pt x="5898870" y="1539063"/>
                  <a:pt x="5780954" y="1650761"/>
                  <a:pt x="5631166" y="1644216"/>
                </a:cubicBezTo>
                <a:cubicBezTo>
                  <a:pt x="5449774" y="1616989"/>
                  <a:pt x="5333885" y="1625591"/>
                  <a:pt x="5060447" y="1644216"/>
                </a:cubicBezTo>
                <a:cubicBezTo>
                  <a:pt x="4787009" y="1662841"/>
                  <a:pt x="4729564" y="1625440"/>
                  <a:pt x="4521434" y="1644216"/>
                </a:cubicBezTo>
                <a:cubicBezTo>
                  <a:pt x="4313304" y="1662992"/>
                  <a:pt x="3966281" y="1668469"/>
                  <a:pt x="3823888" y="1644216"/>
                </a:cubicBezTo>
                <a:cubicBezTo>
                  <a:pt x="3681495" y="1619963"/>
                  <a:pt x="3421003" y="1629964"/>
                  <a:pt x="3126342" y="1644216"/>
                </a:cubicBezTo>
                <a:cubicBezTo>
                  <a:pt x="2831681" y="1658468"/>
                  <a:pt x="2782766" y="1619959"/>
                  <a:pt x="2460503" y="1644216"/>
                </a:cubicBezTo>
                <a:cubicBezTo>
                  <a:pt x="2256084" y="1657446"/>
                  <a:pt x="2049611" y="1664159"/>
                  <a:pt x="1823239" y="1720332"/>
                </a:cubicBezTo>
                <a:cubicBezTo>
                  <a:pt x="1596867" y="1776505"/>
                  <a:pt x="1475478" y="1761010"/>
                  <a:pt x="1147740" y="1801016"/>
                </a:cubicBezTo>
                <a:cubicBezTo>
                  <a:pt x="820002" y="1841021"/>
                  <a:pt x="819266" y="1827442"/>
                  <a:pt x="548712" y="1872565"/>
                </a:cubicBezTo>
                <a:cubicBezTo>
                  <a:pt x="655282" y="1799409"/>
                  <a:pt x="767000" y="1758742"/>
                  <a:pt x="984201" y="1644216"/>
                </a:cubicBezTo>
                <a:cubicBezTo>
                  <a:pt x="859213" y="1632205"/>
                  <a:pt x="755291" y="1647962"/>
                  <a:pt x="643324" y="1644216"/>
                </a:cubicBezTo>
                <a:cubicBezTo>
                  <a:pt x="531357" y="1640470"/>
                  <a:pt x="434230" y="1646808"/>
                  <a:pt x="274041" y="1644216"/>
                </a:cubicBezTo>
                <a:cubicBezTo>
                  <a:pt x="99399" y="1623721"/>
                  <a:pt x="-14223" y="1513915"/>
                  <a:pt x="0" y="1370175"/>
                </a:cubicBezTo>
                <a:lnTo>
                  <a:pt x="0" y="1370180"/>
                </a:lnTo>
                <a:cubicBezTo>
                  <a:pt x="14982" y="1244029"/>
                  <a:pt x="3629" y="1132142"/>
                  <a:pt x="0" y="959126"/>
                </a:cubicBezTo>
                <a:lnTo>
                  <a:pt x="0" y="959126"/>
                </a:lnTo>
                <a:cubicBezTo>
                  <a:pt x="23593" y="739090"/>
                  <a:pt x="25744" y="486635"/>
                  <a:pt x="0" y="274041"/>
                </a:cubicBezTo>
                <a:close/>
              </a:path>
              <a:path w="5905207" h="1644216" stroke="0" extrusionOk="0">
                <a:moveTo>
                  <a:pt x="0" y="274041"/>
                </a:moveTo>
                <a:cubicBezTo>
                  <a:pt x="4651" y="145428"/>
                  <a:pt x="131607" y="-12321"/>
                  <a:pt x="274041" y="0"/>
                </a:cubicBezTo>
                <a:cubicBezTo>
                  <a:pt x="381214" y="-16593"/>
                  <a:pt x="529768" y="-15138"/>
                  <a:pt x="614918" y="0"/>
                </a:cubicBezTo>
                <a:cubicBezTo>
                  <a:pt x="700068" y="15138"/>
                  <a:pt x="852631" y="12853"/>
                  <a:pt x="984201" y="0"/>
                </a:cubicBezTo>
                <a:lnTo>
                  <a:pt x="984201" y="0"/>
                </a:lnTo>
                <a:cubicBezTo>
                  <a:pt x="1175757" y="-14822"/>
                  <a:pt x="1252427" y="-9163"/>
                  <a:pt x="1432013" y="0"/>
                </a:cubicBezTo>
                <a:cubicBezTo>
                  <a:pt x="1611599" y="9163"/>
                  <a:pt x="1811329" y="3257"/>
                  <a:pt x="1953639" y="0"/>
                </a:cubicBezTo>
                <a:cubicBezTo>
                  <a:pt x="2095949" y="-3257"/>
                  <a:pt x="2273285" y="18700"/>
                  <a:pt x="2460503" y="0"/>
                </a:cubicBezTo>
                <a:cubicBezTo>
                  <a:pt x="2640698" y="-8299"/>
                  <a:pt x="2928518" y="20420"/>
                  <a:pt x="3126342" y="0"/>
                </a:cubicBezTo>
                <a:cubicBezTo>
                  <a:pt x="3324166" y="-20420"/>
                  <a:pt x="3513092" y="5756"/>
                  <a:pt x="3792181" y="0"/>
                </a:cubicBezTo>
                <a:cubicBezTo>
                  <a:pt x="4071270" y="-5756"/>
                  <a:pt x="4191770" y="1213"/>
                  <a:pt x="4489727" y="0"/>
                </a:cubicBezTo>
                <a:cubicBezTo>
                  <a:pt x="4787684" y="-1213"/>
                  <a:pt x="5076952" y="-42036"/>
                  <a:pt x="5631166" y="0"/>
                </a:cubicBezTo>
                <a:cubicBezTo>
                  <a:pt x="5804534" y="-3773"/>
                  <a:pt x="5904114" y="138171"/>
                  <a:pt x="5905207" y="274041"/>
                </a:cubicBezTo>
                <a:cubicBezTo>
                  <a:pt x="5872801" y="523133"/>
                  <a:pt x="5899440" y="632826"/>
                  <a:pt x="5905207" y="959126"/>
                </a:cubicBezTo>
                <a:lnTo>
                  <a:pt x="5905207" y="959126"/>
                </a:lnTo>
                <a:cubicBezTo>
                  <a:pt x="5906165" y="1085339"/>
                  <a:pt x="5915616" y="1256220"/>
                  <a:pt x="5905207" y="1370180"/>
                </a:cubicBezTo>
                <a:lnTo>
                  <a:pt x="5905207" y="1370175"/>
                </a:lnTo>
                <a:cubicBezTo>
                  <a:pt x="5903911" y="1529223"/>
                  <a:pt x="5773830" y="1632298"/>
                  <a:pt x="5631166" y="1644216"/>
                </a:cubicBezTo>
                <a:cubicBezTo>
                  <a:pt x="5438114" y="1662539"/>
                  <a:pt x="5260295" y="1654563"/>
                  <a:pt x="5092153" y="1644216"/>
                </a:cubicBezTo>
                <a:cubicBezTo>
                  <a:pt x="4924011" y="1633869"/>
                  <a:pt x="4642148" y="1646019"/>
                  <a:pt x="4426314" y="1644216"/>
                </a:cubicBezTo>
                <a:cubicBezTo>
                  <a:pt x="4210480" y="1642413"/>
                  <a:pt x="4006349" y="1666254"/>
                  <a:pt x="3728768" y="1644216"/>
                </a:cubicBezTo>
                <a:cubicBezTo>
                  <a:pt x="3451187" y="1622178"/>
                  <a:pt x="3357486" y="1664799"/>
                  <a:pt x="3126342" y="1644216"/>
                </a:cubicBezTo>
                <a:cubicBezTo>
                  <a:pt x="2895198" y="1623633"/>
                  <a:pt x="2742617" y="1626526"/>
                  <a:pt x="2460503" y="1644216"/>
                </a:cubicBezTo>
                <a:cubicBezTo>
                  <a:pt x="2194301" y="1665724"/>
                  <a:pt x="2093749" y="1669558"/>
                  <a:pt x="1880593" y="1713482"/>
                </a:cubicBezTo>
                <a:cubicBezTo>
                  <a:pt x="1667437" y="1757406"/>
                  <a:pt x="1508349" y="1770189"/>
                  <a:pt x="1300683" y="1782748"/>
                </a:cubicBezTo>
                <a:cubicBezTo>
                  <a:pt x="1093017" y="1795307"/>
                  <a:pt x="743759" y="1875915"/>
                  <a:pt x="548712" y="1872565"/>
                </a:cubicBezTo>
                <a:cubicBezTo>
                  <a:pt x="662157" y="1840238"/>
                  <a:pt x="839011" y="1744984"/>
                  <a:pt x="984201" y="1644216"/>
                </a:cubicBezTo>
                <a:cubicBezTo>
                  <a:pt x="899825" y="1634697"/>
                  <a:pt x="778799" y="1627717"/>
                  <a:pt x="643324" y="1644216"/>
                </a:cubicBezTo>
                <a:cubicBezTo>
                  <a:pt x="507849" y="1660715"/>
                  <a:pt x="361627" y="1633543"/>
                  <a:pt x="274041" y="1644216"/>
                </a:cubicBezTo>
                <a:cubicBezTo>
                  <a:pt x="151582" y="1654181"/>
                  <a:pt x="-5850" y="1529440"/>
                  <a:pt x="0" y="1370175"/>
                </a:cubicBezTo>
                <a:lnTo>
                  <a:pt x="0" y="1370180"/>
                </a:lnTo>
                <a:cubicBezTo>
                  <a:pt x="3197" y="1185000"/>
                  <a:pt x="-6048" y="1124021"/>
                  <a:pt x="0" y="959126"/>
                </a:cubicBezTo>
                <a:lnTo>
                  <a:pt x="0" y="959126"/>
                </a:lnTo>
                <a:cubicBezTo>
                  <a:pt x="-15549" y="668781"/>
                  <a:pt x="-23320" y="563576"/>
                  <a:pt x="0" y="274041"/>
                </a:cubicBezTo>
                <a:close/>
              </a:path>
            </a:pathLst>
          </a:custGeom>
          <a:ln w="38100">
            <a:solidFill>
              <a:srgbClr val="E70D4B"/>
            </a:solidFill>
            <a:extLst>
              <a:ext uri="{C807C97D-BFC1-408E-A445-0C87EB9F89A2}">
                <ask:lineSketchStyleProps xmlns:ask="http://schemas.microsoft.com/office/drawing/2018/sketchyshapes" sd="1152152427">
                  <a:prstGeom prst="wedgeRoundRectCallout">
                    <a:avLst>
                      <a:gd name="adj1" fmla="val -40708"/>
                      <a:gd name="adj2" fmla="val 63888"/>
                      <a:gd name="adj3" fmla="val 16667"/>
                    </a:avLst>
                  </a:prstGeom>
                  <ask:type>
                    <ask:lineSketchFreehand/>
                  </ask:type>
                </ask:lineSketchStyleProps>
              </a:ext>
            </a:extLst>
          </a:ln>
        </p:spPr>
        <p:style>
          <a:lnRef idx="2">
            <a:schemeClr val="accent6"/>
          </a:lnRef>
          <a:fillRef idx="1">
            <a:schemeClr val="lt1"/>
          </a:fillRef>
          <a:effectRef idx="0">
            <a:schemeClr val="accent6"/>
          </a:effectRef>
          <a:fontRef idx="minor">
            <a:schemeClr val="dk1"/>
          </a:fontRef>
        </p:style>
        <p:txBody>
          <a:bodyPr rtlCol="0" anchor="ctr"/>
          <a:lstStyle/>
          <a:p>
            <a:pPr algn="just"/>
            <a:r>
              <a:rPr lang="nb-NO" sz="3600" b="1">
                <a:solidFill>
                  <a:srgbClr val="FF0000"/>
                </a:solidFill>
              </a:rPr>
              <a:t>- Tìm số bị trừ ch­ưa biết làm thế nào?</a:t>
            </a:r>
            <a:endParaRPr lang="en-US" sz="3600" b="1">
              <a:solidFill>
                <a:srgbClr val="FF0000"/>
              </a:solidFill>
            </a:endParaRPr>
          </a:p>
        </p:txBody>
      </p:sp>
      <p:sp>
        <p:nvSpPr>
          <p:cNvPr id="3" name="Speech Bubble: Rectangle with Corners Rounded 2">
            <a:extLst>
              <a:ext uri="{FF2B5EF4-FFF2-40B4-BE49-F238E27FC236}">
                <a16:creationId xmlns:a16="http://schemas.microsoft.com/office/drawing/2014/main" id="{5D171007-7B33-102B-F887-B90A6E67F40A}"/>
              </a:ext>
            </a:extLst>
          </p:cNvPr>
          <p:cNvSpPr/>
          <p:nvPr/>
        </p:nvSpPr>
        <p:spPr>
          <a:xfrm>
            <a:off x="1149263" y="3191207"/>
            <a:ext cx="5905207" cy="1644216"/>
          </a:xfrm>
          <a:custGeom>
            <a:avLst/>
            <a:gdLst>
              <a:gd name="connsiteX0" fmla="*/ 0 w 5905207"/>
              <a:gd name="connsiteY0" fmla="*/ 274041 h 1644216"/>
              <a:gd name="connsiteX1" fmla="*/ 274041 w 5905207"/>
              <a:gd name="connsiteY1" fmla="*/ 0 h 1644216"/>
              <a:gd name="connsiteX2" fmla="*/ 629121 w 5905207"/>
              <a:gd name="connsiteY2" fmla="*/ 0 h 1644216"/>
              <a:gd name="connsiteX3" fmla="*/ 984201 w 5905207"/>
              <a:gd name="connsiteY3" fmla="*/ 0 h 1644216"/>
              <a:gd name="connsiteX4" fmla="*/ 984201 w 5905207"/>
              <a:gd name="connsiteY4" fmla="*/ 0 h 1644216"/>
              <a:gd name="connsiteX5" fmla="*/ 1491065 w 5905207"/>
              <a:gd name="connsiteY5" fmla="*/ 0 h 1644216"/>
              <a:gd name="connsiteX6" fmla="*/ 2012691 w 5905207"/>
              <a:gd name="connsiteY6" fmla="*/ 0 h 1644216"/>
              <a:gd name="connsiteX7" fmla="*/ 2460503 w 5905207"/>
              <a:gd name="connsiteY7" fmla="*/ 0 h 1644216"/>
              <a:gd name="connsiteX8" fmla="*/ 3062929 w 5905207"/>
              <a:gd name="connsiteY8" fmla="*/ 0 h 1644216"/>
              <a:gd name="connsiteX9" fmla="*/ 3633648 w 5905207"/>
              <a:gd name="connsiteY9" fmla="*/ 0 h 1644216"/>
              <a:gd name="connsiteX10" fmla="*/ 4299488 w 5905207"/>
              <a:gd name="connsiteY10" fmla="*/ 0 h 1644216"/>
              <a:gd name="connsiteX11" fmla="*/ 4838500 w 5905207"/>
              <a:gd name="connsiteY11" fmla="*/ 0 h 1644216"/>
              <a:gd name="connsiteX12" fmla="*/ 5631166 w 5905207"/>
              <a:gd name="connsiteY12" fmla="*/ 0 h 1644216"/>
              <a:gd name="connsiteX13" fmla="*/ 5905207 w 5905207"/>
              <a:gd name="connsiteY13" fmla="*/ 274041 h 1644216"/>
              <a:gd name="connsiteX14" fmla="*/ 5905207 w 5905207"/>
              <a:gd name="connsiteY14" fmla="*/ 959126 h 1644216"/>
              <a:gd name="connsiteX15" fmla="*/ 5905207 w 5905207"/>
              <a:gd name="connsiteY15" fmla="*/ 959126 h 1644216"/>
              <a:gd name="connsiteX16" fmla="*/ 5905207 w 5905207"/>
              <a:gd name="connsiteY16" fmla="*/ 1370180 h 1644216"/>
              <a:gd name="connsiteX17" fmla="*/ 5905207 w 5905207"/>
              <a:gd name="connsiteY17" fmla="*/ 1370175 h 1644216"/>
              <a:gd name="connsiteX18" fmla="*/ 5631166 w 5905207"/>
              <a:gd name="connsiteY18" fmla="*/ 1644216 h 1644216"/>
              <a:gd name="connsiteX19" fmla="*/ 5060447 w 5905207"/>
              <a:gd name="connsiteY19" fmla="*/ 1644216 h 1644216"/>
              <a:gd name="connsiteX20" fmla="*/ 4521434 w 5905207"/>
              <a:gd name="connsiteY20" fmla="*/ 1644216 h 1644216"/>
              <a:gd name="connsiteX21" fmla="*/ 3823888 w 5905207"/>
              <a:gd name="connsiteY21" fmla="*/ 1644216 h 1644216"/>
              <a:gd name="connsiteX22" fmla="*/ 3126342 w 5905207"/>
              <a:gd name="connsiteY22" fmla="*/ 1644216 h 1644216"/>
              <a:gd name="connsiteX23" fmla="*/ 2460503 w 5905207"/>
              <a:gd name="connsiteY23" fmla="*/ 1644216 h 1644216"/>
              <a:gd name="connsiteX24" fmla="*/ 1823239 w 5905207"/>
              <a:gd name="connsiteY24" fmla="*/ 1720332 h 1644216"/>
              <a:gd name="connsiteX25" fmla="*/ 1147740 w 5905207"/>
              <a:gd name="connsiteY25" fmla="*/ 1801016 h 1644216"/>
              <a:gd name="connsiteX26" fmla="*/ 548712 w 5905207"/>
              <a:gd name="connsiteY26" fmla="*/ 1872565 h 1644216"/>
              <a:gd name="connsiteX27" fmla="*/ 984201 w 5905207"/>
              <a:gd name="connsiteY27" fmla="*/ 1644216 h 1644216"/>
              <a:gd name="connsiteX28" fmla="*/ 643324 w 5905207"/>
              <a:gd name="connsiteY28" fmla="*/ 1644216 h 1644216"/>
              <a:gd name="connsiteX29" fmla="*/ 274041 w 5905207"/>
              <a:gd name="connsiteY29" fmla="*/ 1644216 h 1644216"/>
              <a:gd name="connsiteX30" fmla="*/ 0 w 5905207"/>
              <a:gd name="connsiteY30" fmla="*/ 1370175 h 1644216"/>
              <a:gd name="connsiteX31" fmla="*/ 0 w 5905207"/>
              <a:gd name="connsiteY31" fmla="*/ 1370180 h 1644216"/>
              <a:gd name="connsiteX32" fmla="*/ 0 w 5905207"/>
              <a:gd name="connsiteY32" fmla="*/ 959126 h 1644216"/>
              <a:gd name="connsiteX33" fmla="*/ 0 w 5905207"/>
              <a:gd name="connsiteY33" fmla="*/ 959126 h 1644216"/>
              <a:gd name="connsiteX34" fmla="*/ 0 w 5905207"/>
              <a:gd name="connsiteY34" fmla="*/ 274041 h 164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905207" h="1644216" fill="none" extrusionOk="0">
                <a:moveTo>
                  <a:pt x="0" y="274041"/>
                </a:moveTo>
                <a:cubicBezTo>
                  <a:pt x="27074" y="117798"/>
                  <a:pt x="146666" y="-21097"/>
                  <a:pt x="274041" y="0"/>
                </a:cubicBezTo>
                <a:cubicBezTo>
                  <a:pt x="437858" y="-6339"/>
                  <a:pt x="476608" y="-3102"/>
                  <a:pt x="629121" y="0"/>
                </a:cubicBezTo>
                <a:cubicBezTo>
                  <a:pt x="781634" y="3102"/>
                  <a:pt x="908008" y="2086"/>
                  <a:pt x="984201" y="0"/>
                </a:cubicBezTo>
                <a:lnTo>
                  <a:pt x="984201" y="0"/>
                </a:lnTo>
                <a:cubicBezTo>
                  <a:pt x="1182606" y="-19671"/>
                  <a:pt x="1371785" y="-14243"/>
                  <a:pt x="1491065" y="0"/>
                </a:cubicBezTo>
                <a:cubicBezTo>
                  <a:pt x="1610345" y="14243"/>
                  <a:pt x="1850196" y="15889"/>
                  <a:pt x="2012691" y="0"/>
                </a:cubicBezTo>
                <a:cubicBezTo>
                  <a:pt x="2175186" y="-15889"/>
                  <a:pt x="2306343" y="17447"/>
                  <a:pt x="2460503" y="0"/>
                </a:cubicBezTo>
                <a:cubicBezTo>
                  <a:pt x="2604106" y="-6450"/>
                  <a:pt x="2777386" y="-1151"/>
                  <a:pt x="3062929" y="0"/>
                </a:cubicBezTo>
                <a:cubicBezTo>
                  <a:pt x="3348472" y="1151"/>
                  <a:pt x="3481782" y="8520"/>
                  <a:pt x="3633648" y="0"/>
                </a:cubicBezTo>
                <a:cubicBezTo>
                  <a:pt x="3785514" y="-8520"/>
                  <a:pt x="4058214" y="-21449"/>
                  <a:pt x="4299488" y="0"/>
                </a:cubicBezTo>
                <a:cubicBezTo>
                  <a:pt x="4540762" y="21449"/>
                  <a:pt x="4597882" y="17912"/>
                  <a:pt x="4838500" y="0"/>
                </a:cubicBezTo>
                <a:cubicBezTo>
                  <a:pt x="5079118" y="-17912"/>
                  <a:pt x="5411096" y="32416"/>
                  <a:pt x="5631166" y="0"/>
                </a:cubicBezTo>
                <a:cubicBezTo>
                  <a:pt x="5784717" y="-4756"/>
                  <a:pt x="5895770" y="135369"/>
                  <a:pt x="5905207" y="274041"/>
                </a:cubicBezTo>
                <a:cubicBezTo>
                  <a:pt x="5892438" y="610137"/>
                  <a:pt x="5939240" y="696667"/>
                  <a:pt x="5905207" y="959126"/>
                </a:cubicBezTo>
                <a:lnTo>
                  <a:pt x="5905207" y="959126"/>
                </a:lnTo>
                <a:cubicBezTo>
                  <a:pt x="5899797" y="1126935"/>
                  <a:pt x="5892409" y="1213887"/>
                  <a:pt x="5905207" y="1370180"/>
                </a:cubicBezTo>
                <a:lnTo>
                  <a:pt x="5905207" y="1370175"/>
                </a:lnTo>
                <a:cubicBezTo>
                  <a:pt x="5898870" y="1539063"/>
                  <a:pt x="5780954" y="1650761"/>
                  <a:pt x="5631166" y="1644216"/>
                </a:cubicBezTo>
                <a:cubicBezTo>
                  <a:pt x="5449774" y="1616989"/>
                  <a:pt x="5333885" y="1625591"/>
                  <a:pt x="5060447" y="1644216"/>
                </a:cubicBezTo>
                <a:cubicBezTo>
                  <a:pt x="4787009" y="1662841"/>
                  <a:pt x="4729564" y="1625440"/>
                  <a:pt x="4521434" y="1644216"/>
                </a:cubicBezTo>
                <a:cubicBezTo>
                  <a:pt x="4313304" y="1662992"/>
                  <a:pt x="3966281" y="1668469"/>
                  <a:pt x="3823888" y="1644216"/>
                </a:cubicBezTo>
                <a:cubicBezTo>
                  <a:pt x="3681495" y="1619963"/>
                  <a:pt x="3421003" y="1629964"/>
                  <a:pt x="3126342" y="1644216"/>
                </a:cubicBezTo>
                <a:cubicBezTo>
                  <a:pt x="2831681" y="1658468"/>
                  <a:pt x="2782766" y="1619959"/>
                  <a:pt x="2460503" y="1644216"/>
                </a:cubicBezTo>
                <a:cubicBezTo>
                  <a:pt x="2256084" y="1657446"/>
                  <a:pt x="2049611" y="1664159"/>
                  <a:pt x="1823239" y="1720332"/>
                </a:cubicBezTo>
                <a:cubicBezTo>
                  <a:pt x="1596867" y="1776505"/>
                  <a:pt x="1475478" y="1761010"/>
                  <a:pt x="1147740" y="1801016"/>
                </a:cubicBezTo>
                <a:cubicBezTo>
                  <a:pt x="820002" y="1841021"/>
                  <a:pt x="819266" y="1827442"/>
                  <a:pt x="548712" y="1872565"/>
                </a:cubicBezTo>
                <a:cubicBezTo>
                  <a:pt x="655282" y="1799409"/>
                  <a:pt x="767000" y="1758742"/>
                  <a:pt x="984201" y="1644216"/>
                </a:cubicBezTo>
                <a:cubicBezTo>
                  <a:pt x="859213" y="1632205"/>
                  <a:pt x="755291" y="1647962"/>
                  <a:pt x="643324" y="1644216"/>
                </a:cubicBezTo>
                <a:cubicBezTo>
                  <a:pt x="531357" y="1640470"/>
                  <a:pt x="434230" y="1646808"/>
                  <a:pt x="274041" y="1644216"/>
                </a:cubicBezTo>
                <a:cubicBezTo>
                  <a:pt x="99399" y="1623721"/>
                  <a:pt x="-14223" y="1513915"/>
                  <a:pt x="0" y="1370175"/>
                </a:cubicBezTo>
                <a:lnTo>
                  <a:pt x="0" y="1370180"/>
                </a:lnTo>
                <a:cubicBezTo>
                  <a:pt x="14982" y="1244029"/>
                  <a:pt x="3629" y="1132142"/>
                  <a:pt x="0" y="959126"/>
                </a:cubicBezTo>
                <a:lnTo>
                  <a:pt x="0" y="959126"/>
                </a:lnTo>
                <a:cubicBezTo>
                  <a:pt x="23593" y="739090"/>
                  <a:pt x="25744" y="486635"/>
                  <a:pt x="0" y="274041"/>
                </a:cubicBezTo>
                <a:close/>
              </a:path>
              <a:path w="5905207" h="1644216" stroke="0" extrusionOk="0">
                <a:moveTo>
                  <a:pt x="0" y="274041"/>
                </a:moveTo>
                <a:cubicBezTo>
                  <a:pt x="4651" y="145428"/>
                  <a:pt x="131607" y="-12321"/>
                  <a:pt x="274041" y="0"/>
                </a:cubicBezTo>
                <a:cubicBezTo>
                  <a:pt x="381214" y="-16593"/>
                  <a:pt x="529768" y="-15138"/>
                  <a:pt x="614918" y="0"/>
                </a:cubicBezTo>
                <a:cubicBezTo>
                  <a:pt x="700068" y="15138"/>
                  <a:pt x="852631" y="12853"/>
                  <a:pt x="984201" y="0"/>
                </a:cubicBezTo>
                <a:lnTo>
                  <a:pt x="984201" y="0"/>
                </a:lnTo>
                <a:cubicBezTo>
                  <a:pt x="1175757" y="-14822"/>
                  <a:pt x="1252427" y="-9163"/>
                  <a:pt x="1432013" y="0"/>
                </a:cubicBezTo>
                <a:cubicBezTo>
                  <a:pt x="1611599" y="9163"/>
                  <a:pt x="1811329" y="3257"/>
                  <a:pt x="1953639" y="0"/>
                </a:cubicBezTo>
                <a:cubicBezTo>
                  <a:pt x="2095949" y="-3257"/>
                  <a:pt x="2273285" y="18700"/>
                  <a:pt x="2460503" y="0"/>
                </a:cubicBezTo>
                <a:cubicBezTo>
                  <a:pt x="2640698" y="-8299"/>
                  <a:pt x="2928518" y="20420"/>
                  <a:pt x="3126342" y="0"/>
                </a:cubicBezTo>
                <a:cubicBezTo>
                  <a:pt x="3324166" y="-20420"/>
                  <a:pt x="3513092" y="5756"/>
                  <a:pt x="3792181" y="0"/>
                </a:cubicBezTo>
                <a:cubicBezTo>
                  <a:pt x="4071270" y="-5756"/>
                  <a:pt x="4191770" y="1213"/>
                  <a:pt x="4489727" y="0"/>
                </a:cubicBezTo>
                <a:cubicBezTo>
                  <a:pt x="4787684" y="-1213"/>
                  <a:pt x="5076952" y="-42036"/>
                  <a:pt x="5631166" y="0"/>
                </a:cubicBezTo>
                <a:cubicBezTo>
                  <a:pt x="5804534" y="-3773"/>
                  <a:pt x="5904114" y="138171"/>
                  <a:pt x="5905207" y="274041"/>
                </a:cubicBezTo>
                <a:cubicBezTo>
                  <a:pt x="5872801" y="523133"/>
                  <a:pt x="5899440" y="632826"/>
                  <a:pt x="5905207" y="959126"/>
                </a:cubicBezTo>
                <a:lnTo>
                  <a:pt x="5905207" y="959126"/>
                </a:lnTo>
                <a:cubicBezTo>
                  <a:pt x="5906165" y="1085339"/>
                  <a:pt x="5915616" y="1256220"/>
                  <a:pt x="5905207" y="1370180"/>
                </a:cubicBezTo>
                <a:lnTo>
                  <a:pt x="5905207" y="1370175"/>
                </a:lnTo>
                <a:cubicBezTo>
                  <a:pt x="5903911" y="1529223"/>
                  <a:pt x="5773830" y="1632298"/>
                  <a:pt x="5631166" y="1644216"/>
                </a:cubicBezTo>
                <a:cubicBezTo>
                  <a:pt x="5438114" y="1662539"/>
                  <a:pt x="5260295" y="1654563"/>
                  <a:pt x="5092153" y="1644216"/>
                </a:cubicBezTo>
                <a:cubicBezTo>
                  <a:pt x="4924011" y="1633869"/>
                  <a:pt x="4642148" y="1646019"/>
                  <a:pt x="4426314" y="1644216"/>
                </a:cubicBezTo>
                <a:cubicBezTo>
                  <a:pt x="4210480" y="1642413"/>
                  <a:pt x="4006349" y="1666254"/>
                  <a:pt x="3728768" y="1644216"/>
                </a:cubicBezTo>
                <a:cubicBezTo>
                  <a:pt x="3451187" y="1622178"/>
                  <a:pt x="3357486" y="1664799"/>
                  <a:pt x="3126342" y="1644216"/>
                </a:cubicBezTo>
                <a:cubicBezTo>
                  <a:pt x="2895198" y="1623633"/>
                  <a:pt x="2742617" y="1626526"/>
                  <a:pt x="2460503" y="1644216"/>
                </a:cubicBezTo>
                <a:cubicBezTo>
                  <a:pt x="2194301" y="1665724"/>
                  <a:pt x="2093749" y="1669558"/>
                  <a:pt x="1880593" y="1713482"/>
                </a:cubicBezTo>
                <a:cubicBezTo>
                  <a:pt x="1667437" y="1757406"/>
                  <a:pt x="1508349" y="1770189"/>
                  <a:pt x="1300683" y="1782748"/>
                </a:cubicBezTo>
                <a:cubicBezTo>
                  <a:pt x="1093017" y="1795307"/>
                  <a:pt x="743759" y="1875915"/>
                  <a:pt x="548712" y="1872565"/>
                </a:cubicBezTo>
                <a:cubicBezTo>
                  <a:pt x="662157" y="1840238"/>
                  <a:pt x="839011" y="1744984"/>
                  <a:pt x="984201" y="1644216"/>
                </a:cubicBezTo>
                <a:cubicBezTo>
                  <a:pt x="899825" y="1634697"/>
                  <a:pt x="778799" y="1627717"/>
                  <a:pt x="643324" y="1644216"/>
                </a:cubicBezTo>
                <a:cubicBezTo>
                  <a:pt x="507849" y="1660715"/>
                  <a:pt x="361627" y="1633543"/>
                  <a:pt x="274041" y="1644216"/>
                </a:cubicBezTo>
                <a:cubicBezTo>
                  <a:pt x="151582" y="1654181"/>
                  <a:pt x="-5850" y="1529440"/>
                  <a:pt x="0" y="1370175"/>
                </a:cubicBezTo>
                <a:lnTo>
                  <a:pt x="0" y="1370180"/>
                </a:lnTo>
                <a:cubicBezTo>
                  <a:pt x="3197" y="1185000"/>
                  <a:pt x="-6048" y="1124021"/>
                  <a:pt x="0" y="959126"/>
                </a:cubicBezTo>
                <a:lnTo>
                  <a:pt x="0" y="959126"/>
                </a:lnTo>
                <a:cubicBezTo>
                  <a:pt x="-15549" y="668781"/>
                  <a:pt x="-23320" y="563576"/>
                  <a:pt x="0" y="274041"/>
                </a:cubicBezTo>
                <a:close/>
              </a:path>
            </a:pathLst>
          </a:custGeom>
          <a:ln w="38100">
            <a:solidFill>
              <a:srgbClr val="E70D4B"/>
            </a:solidFill>
            <a:extLst>
              <a:ext uri="{C807C97D-BFC1-408E-A445-0C87EB9F89A2}">
                <ask:lineSketchStyleProps xmlns:ask="http://schemas.microsoft.com/office/drawing/2018/sketchyshapes" sd="1152152427">
                  <a:prstGeom prst="wedgeRoundRectCallout">
                    <a:avLst>
                      <a:gd name="adj1" fmla="val -40708"/>
                      <a:gd name="adj2" fmla="val 63888"/>
                      <a:gd name="adj3" fmla="val 16667"/>
                    </a:avLst>
                  </a:prstGeom>
                  <ask:type>
                    <ask:lineSketchFreehand/>
                  </ask:type>
                </ask:lineSketchStyleProps>
              </a:ext>
            </a:extLst>
          </a:ln>
        </p:spPr>
        <p:style>
          <a:lnRef idx="2">
            <a:schemeClr val="accent6"/>
          </a:lnRef>
          <a:fillRef idx="1">
            <a:schemeClr val="lt1"/>
          </a:fillRef>
          <a:effectRef idx="0">
            <a:schemeClr val="accent6"/>
          </a:effectRef>
          <a:fontRef idx="minor">
            <a:schemeClr val="dk1"/>
          </a:fontRef>
        </p:style>
        <p:txBody>
          <a:bodyPr rtlCol="0" anchor="ctr"/>
          <a:lstStyle/>
          <a:p>
            <a:pPr algn="just"/>
            <a:r>
              <a:rPr lang="nb-NO" sz="3600" b="1">
                <a:solidFill>
                  <a:srgbClr val="FF0000"/>
                </a:solidFill>
              </a:rPr>
              <a:t>- Tìm số trừ ch­ưa biết làm thế nào?</a:t>
            </a:r>
            <a:endParaRPr lang="en-US" sz="3600" b="1">
              <a:solidFill>
                <a:srgbClr val="FF0000"/>
              </a:solidFill>
            </a:endParaRPr>
          </a:p>
        </p:txBody>
      </p:sp>
    </p:spTree>
    <p:extLst>
      <p:ext uri="{BB962C8B-B14F-4D97-AF65-F5344CB8AC3E}">
        <p14:creationId xmlns:p14="http://schemas.microsoft.com/office/powerpoint/2010/main" val="125533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1000"/>
                                        <p:tgtEl>
                                          <p:spTgt spid="38"/>
                                        </p:tgtEl>
                                      </p:cBhvr>
                                    </p:animEffect>
                                    <p:anim calcmode="lin" valueType="num">
                                      <p:cBhvr>
                                        <p:cTn id="8" dur="1000" fill="hold"/>
                                        <p:tgtEl>
                                          <p:spTgt spid="38"/>
                                        </p:tgtEl>
                                        <p:attrNameLst>
                                          <p:attrName>ppt_x</p:attrName>
                                        </p:attrNameLst>
                                      </p:cBhvr>
                                      <p:tavLst>
                                        <p:tav tm="0">
                                          <p:val>
                                            <p:strVal val="#ppt_x"/>
                                          </p:val>
                                        </p:tav>
                                        <p:tav tm="100000">
                                          <p:val>
                                            <p:strVal val="#ppt_x"/>
                                          </p:val>
                                        </p:tav>
                                      </p:tavLst>
                                    </p:anim>
                                    <p:anim calcmode="lin" valueType="num">
                                      <p:cBhvr>
                                        <p:cTn id="9"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grpId="0" nodeType="clickEffect">
                                  <p:stCondLst>
                                    <p:cond delay="0"/>
                                  </p:stCondLst>
                                  <p:childTnLst>
                                    <p:set>
                                      <p:cBhvr>
                                        <p:cTn id="13" dur="1" fill="hold">
                                          <p:stCondLst>
                                            <p:cond delay="0"/>
                                          </p:stCondLst>
                                        </p:cTn>
                                        <p:tgtEl>
                                          <p:spTgt spid="36"/>
                                        </p:tgtEl>
                                        <p:attrNameLst>
                                          <p:attrName>style.visibility</p:attrName>
                                        </p:attrNameLst>
                                      </p:cBhvr>
                                      <p:to>
                                        <p:strVal val="visible"/>
                                      </p:to>
                                    </p:set>
                                    <p:animEffect transition="in" filter="barn(inVertical)">
                                      <p:cBhvr>
                                        <p:cTn id="14" dur="500"/>
                                        <p:tgtEl>
                                          <p:spTgt spid="36"/>
                                        </p:tgtEl>
                                      </p:cBhvr>
                                    </p:animEffect>
                                  </p:childTnLst>
                                </p:cTn>
                              </p:par>
                              <p:par>
                                <p:cTn id="15" presetID="16" presetClass="entr" presetSubtype="21" fill="hold" grpId="0" nodeType="with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barn(inVertical)">
                                      <p:cBhvr>
                                        <p:cTn id="17" dur="500"/>
                                        <p:tgtEl>
                                          <p:spTgt spid="3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wipe(left)">
                                      <p:cBhvr>
                                        <p:cTn id="22" dur="500"/>
                                        <p:tgtEl>
                                          <p:spTgt spid="45"/>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barn(inVertical)">
                                      <p:cBhvr>
                                        <p:cTn id="27" dur="500"/>
                                        <p:tgtEl>
                                          <p:spTgt spid="48"/>
                                        </p:tgtEl>
                                      </p:cBhvr>
                                    </p:animEffect>
                                  </p:childTnLst>
                                </p:cTn>
                              </p:par>
                              <p:par>
                                <p:cTn id="28" presetID="16" presetClass="entr" presetSubtype="21" fill="hold" grpId="0" nodeType="with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barn(inVertical)">
                                      <p:cBhvr>
                                        <p:cTn id="30" dur="500"/>
                                        <p:tgtEl>
                                          <p:spTgt spid="49"/>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56"/>
                                        </p:tgtEl>
                                        <p:attrNameLst>
                                          <p:attrName>style.visibility</p:attrName>
                                        </p:attrNameLst>
                                      </p:cBhvr>
                                      <p:to>
                                        <p:strVal val="visible"/>
                                      </p:to>
                                    </p:set>
                                    <p:animEffect transition="in" filter="wipe(left)">
                                      <p:cBhvr>
                                        <p:cTn id="35" dur="500"/>
                                        <p:tgtEl>
                                          <p:spTgt spid="56"/>
                                        </p:tgtEl>
                                      </p:cBhvr>
                                    </p:animEffect>
                                  </p:childTnLst>
                                </p:cTn>
                              </p:par>
                            </p:childTnLst>
                          </p:cTn>
                        </p:par>
                      </p:childTnLst>
                    </p:cTn>
                  </p:par>
                  <p:par>
                    <p:cTn id="36" fill="hold">
                      <p:stCondLst>
                        <p:cond delay="indefinite"/>
                      </p:stCondLst>
                      <p:childTnLst>
                        <p:par>
                          <p:cTn id="37" fill="hold">
                            <p:stCondLst>
                              <p:cond delay="0"/>
                            </p:stCondLst>
                            <p:childTnLst>
                              <p:par>
                                <p:cTn id="38" presetID="16" presetClass="entr" presetSubtype="21" fill="hold" grpId="0" nodeType="clickEffect">
                                  <p:stCondLst>
                                    <p:cond delay="0"/>
                                  </p:stCondLst>
                                  <p:childTnLst>
                                    <p:set>
                                      <p:cBhvr>
                                        <p:cTn id="39" dur="1" fill="hold">
                                          <p:stCondLst>
                                            <p:cond delay="0"/>
                                          </p:stCondLst>
                                        </p:cTn>
                                        <p:tgtEl>
                                          <p:spTgt spid="2"/>
                                        </p:tgtEl>
                                        <p:attrNameLst>
                                          <p:attrName>style.visibility</p:attrName>
                                        </p:attrNameLst>
                                      </p:cBhvr>
                                      <p:to>
                                        <p:strVal val="visible"/>
                                      </p:to>
                                    </p:set>
                                    <p:animEffect transition="in" filter="barn(inVertical)">
                                      <p:cBhvr>
                                        <p:cTn id="40" dur="500"/>
                                        <p:tgtEl>
                                          <p:spTgt spid="2"/>
                                        </p:tgtEl>
                                      </p:cBhvr>
                                    </p:animEffect>
                                  </p:childTnLst>
                                </p:cTn>
                              </p:par>
                            </p:childTnLst>
                          </p:cTn>
                        </p:par>
                      </p:childTnLst>
                    </p:cTn>
                  </p:par>
                  <p:par>
                    <p:cTn id="41" fill="hold">
                      <p:stCondLst>
                        <p:cond delay="indefinite"/>
                      </p:stCondLst>
                      <p:childTnLst>
                        <p:par>
                          <p:cTn id="42" fill="hold">
                            <p:stCondLst>
                              <p:cond delay="0"/>
                            </p:stCondLst>
                            <p:childTnLst>
                              <p:par>
                                <p:cTn id="43" presetID="16" presetClass="entr" presetSubtype="21" fill="hold" grpId="0" nodeType="clickEffect">
                                  <p:stCondLst>
                                    <p:cond delay="0"/>
                                  </p:stCondLst>
                                  <p:childTnLst>
                                    <p:set>
                                      <p:cBhvr>
                                        <p:cTn id="44" dur="1" fill="hold">
                                          <p:stCondLst>
                                            <p:cond delay="0"/>
                                          </p:stCondLst>
                                        </p:cTn>
                                        <p:tgtEl>
                                          <p:spTgt spid="3"/>
                                        </p:tgtEl>
                                        <p:attrNameLst>
                                          <p:attrName>style.visibility</p:attrName>
                                        </p:attrNameLst>
                                      </p:cBhvr>
                                      <p:to>
                                        <p:strVal val="visible"/>
                                      </p:to>
                                    </p:set>
                                    <p:animEffect transition="in" filter="barn(inVertical)">
                                      <p:cBhvr>
                                        <p:cTn id="4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38" grpId="0" animBg="1"/>
      <p:bldP spid="45" grpId="0" animBg="1"/>
      <p:bldP spid="48" grpId="0" animBg="1"/>
      <p:bldP spid="49" grpId="0" animBg="1"/>
      <p:bldP spid="56" grpId="0" animBg="1"/>
      <p:bldP spid="2" grpId="0" animBg="1"/>
      <p:bldP spid="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58">
            <a:extLst>
              <a:ext uri="{FF2B5EF4-FFF2-40B4-BE49-F238E27FC236}">
                <a16:creationId xmlns:a16="http://schemas.microsoft.com/office/drawing/2014/main" id="{B30FCEE5-F870-276E-5803-BEC6CFFD649F}"/>
              </a:ext>
            </a:extLst>
          </p:cNvPr>
          <p:cNvPicPr>
            <a:picLocks noChangeAspect="1"/>
          </p:cNvPicPr>
          <p:nvPr/>
        </p:nvPicPr>
        <p:blipFill>
          <a:blip r:embed="rId2">
            <a:alphaModFix amt="35000"/>
          </a:blip>
          <a:stretch>
            <a:fillRect/>
          </a:stretch>
        </p:blipFill>
        <p:spPr>
          <a:xfrm>
            <a:off x="0" y="-34006"/>
            <a:ext cx="12247464" cy="6926012"/>
          </a:xfrm>
          <a:prstGeom prst="rect">
            <a:avLst/>
          </a:prstGeom>
        </p:spPr>
      </p:pic>
      <p:pic>
        <p:nvPicPr>
          <p:cNvPr id="60" name="Picture 59" descr="A number with butterflies and flowers&#10;&#10;Description automatically generated">
            <a:extLst>
              <a:ext uri="{FF2B5EF4-FFF2-40B4-BE49-F238E27FC236}">
                <a16:creationId xmlns:a16="http://schemas.microsoft.com/office/drawing/2014/main" id="{2E1B82F7-5E66-DA30-20E2-03935895EE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372" y="3800622"/>
            <a:ext cx="2160097" cy="3042606"/>
          </a:xfrm>
          <a:prstGeom prst="rect">
            <a:avLst/>
          </a:prstGeom>
        </p:spPr>
      </p:pic>
      <p:pic>
        <p:nvPicPr>
          <p:cNvPr id="61" name="Picture 60" descr="A cartoon bear holding a yellow number&#10;&#10;Description automatically generated">
            <a:extLst>
              <a:ext uri="{FF2B5EF4-FFF2-40B4-BE49-F238E27FC236}">
                <a16:creationId xmlns:a16="http://schemas.microsoft.com/office/drawing/2014/main" id="{1B615474-3ABD-906A-4615-2ECC1AA0A3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43236" y="2936240"/>
            <a:ext cx="4043289" cy="4433208"/>
          </a:xfrm>
          <a:prstGeom prst="rect">
            <a:avLst/>
          </a:prstGeom>
        </p:spPr>
      </p:pic>
      <p:sp>
        <p:nvSpPr>
          <p:cNvPr id="36" name="Shape 233">
            <a:extLst>
              <a:ext uri="{FF2B5EF4-FFF2-40B4-BE49-F238E27FC236}">
                <a16:creationId xmlns:a16="http://schemas.microsoft.com/office/drawing/2014/main" id="{C0E44DBC-F3E3-9761-22F1-4CA4DB0E6302}"/>
              </a:ext>
            </a:extLst>
          </p:cNvPr>
          <p:cNvSpPr/>
          <p:nvPr/>
        </p:nvSpPr>
        <p:spPr>
          <a:xfrm>
            <a:off x="568961" y="1325318"/>
            <a:ext cx="3946648" cy="616387"/>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gn="ctr">
              <a:lnSpc>
                <a:spcPct val="150000"/>
              </a:lnSpc>
              <a:defRPr sz="2600" cap="none">
                <a:solidFill>
                  <a:srgbClr val="717172"/>
                </a:solidFill>
                <a:latin typeface="Lato Regular"/>
                <a:ea typeface="Lato Regular"/>
                <a:cs typeface="Lato Regular"/>
                <a:sym typeface="Lato Regular"/>
              </a:defRPr>
            </a:pPr>
            <a:r>
              <a:rPr lang="en-US" sz="2800" b="1" dirty="0">
                <a:solidFill>
                  <a:srgbClr val="1F2020"/>
                </a:solidFill>
                <a:latin typeface="UTM Neo Sans Intel" pitchFamily="18" charset="0"/>
                <a:ea typeface="字魂17号-萌趣果冻体" panose="02000000000000000000" pitchFamily="2" charset="-122"/>
                <a:sym typeface="Lato Regular"/>
              </a:rPr>
              <a:t>a) </a:t>
            </a:r>
            <a:r>
              <a:rPr lang="en-US" sz="2800" b="1" i="1" dirty="0">
                <a:solidFill>
                  <a:srgbClr val="1F2020"/>
                </a:solidFill>
                <a:latin typeface="Times New Roman" pitchFamily="18" charset="0"/>
                <a:ea typeface="字魂17号-萌趣果冻体" panose="02000000000000000000" pitchFamily="2" charset="-122"/>
                <a:cs typeface="Times New Roman" pitchFamily="18" charset="0"/>
                <a:sym typeface="Lato Regular"/>
              </a:rPr>
              <a:t>x</a:t>
            </a:r>
            <a:r>
              <a:rPr lang="en-US" sz="2800" b="1" dirty="0">
                <a:solidFill>
                  <a:srgbClr val="1F2020"/>
                </a:solidFill>
                <a:latin typeface="UTM Neo Sans Intel" pitchFamily="18" charset="0"/>
                <a:ea typeface="字魂17号-萌趣果冻体" panose="02000000000000000000" pitchFamily="2" charset="-122"/>
                <a:sym typeface="Lato Regular"/>
              </a:rPr>
              <a:t> – 5,2 =</a:t>
            </a:r>
            <a:endParaRPr sz="2800" b="1" dirty="0">
              <a:solidFill>
                <a:srgbClr val="1F2020"/>
              </a:solidFill>
              <a:latin typeface="UTM Neo Sans Intel" pitchFamily="18" charset="0"/>
              <a:ea typeface="字魂17号-萌趣果冻体" panose="02000000000000000000" pitchFamily="2" charset="-122"/>
              <a:sym typeface="Lato Regular"/>
            </a:endParaRPr>
          </a:p>
        </p:txBody>
      </p:sp>
      <p:sp>
        <p:nvSpPr>
          <p:cNvPr id="37" name="Shape 233">
            <a:extLst>
              <a:ext uri="{FF2B5EF4-FFF2-40B4-BE49-F238E27FC236}">
                <a16:creationId xmlns:a16="http://schemas.microsoft.com/office/drawing/2014/main" id="{24A17A91-3E0D-C171-FB88-A611ECFE417F}"/>
              </a:ext>
            </a:extLst>
          </p:cNvPr>
          <p:cNvSpPr/>
          <p:nvPr/>
        </p:nvSpPr>
        <p:spPr>
          <a:xfrm>
            <a:off x="3441998" y="1342957"/>
            <a:ext cx="1966798" cy="599716"/>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nSpc>
                <a:spcPct val="150000"/>
              </a:lnSpc>
              <a:defRPr sz="2600" cap="none">
                <a:solidFill>
                  <a:srgbClr val="717172"/>
                </a:solidFill>
                <a:latin typeface="Lato Regular"/>
                <a:ea typeface="Lato Regular"/>
                <a:cs typeface="Lato Regular"/>
                <a:sym typeface="Lato Regular"/>
              </a:defRPr>
            </a:pPr>
            <a:r>
              <a:rPr lang="en-US" sz="2800" b="1" dirty="0">
                <a:solidFill>
                  <a:srgbClr val="1F2020"/>
                </a:solidFill>
                <a:latin typeface="UTM Neo Sans Intel" pitchFamily="18" charset="0"/>
                <a:ea typeface="字魂17号-萌趣果冻体" panose="02000000000000000000" pitchFamily="2" charset="-122"/>
                <a:sym typeface="Lato Regular"/>
              </a:rPr>
              <a:t>1,9 + 3,8</a:t>
            </a:r>
          </a:p>
        </p:txBody>
      </p:sp>
      <p:sp>
        <p:nvSpPr>
          <p:cNvPr id="38" name="Shape 233">
            <a:extLst>
              <a:ext uri="{FF2B5EF4-FFF2-40B4-BE49-F238E27FC236}">
                <a16:creationId xmlns:a16="http://schemas.microsoft.com/office/drawing/2014/main" id="{91384EA9-CBB1-B5F4-24E7-06CDC2E869FD}"/>
              </a:ext>
            </a:extLst>
          </p:cNvPr>
          <p:cNvSpPr/>
          <p:nvPr/>
        </p:nvSpPr>
        <p:spPr>
          <a:xfrm>
            <a:off x="721361" y="542321"/>
            <a:ext cx="2932217" cy="600421"/>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nSpc>
                <a:spcPct val="150000"/>
              </a:lnSpc>
              <a:defRPr sz="2600" cap="none">
                <a:solidFill>
                  <a:srgbClr val="717172"/>
                </a:solidFill>
                <a:latin typeface="Lato Regular"/>
                <a:ea typeface="Lato Regular"/>
                <a:cs typeface="Lato Regular"/>
                <a:sym typeface="Lato Regular"/>
              </a:defRPr>
            </a:pPr>
            <a:r>
              <a:rPr lang="en-US" sz="2800" b="1" dirty="0" err="1">
                <a:solidFill>
                  <a:srgbClr val="FF0000"/>
                </a:solidFill>
                <a:latin typeface="UTM Guanine" pitchFamily="18" charset="0"/>
                <a:ea typeface="字魂17号-萌趣果冻体" panose="02000000000000000000" pitchFamily="2" charset="-122"/>
                <a:sym typeface="Lato Regular"/>
              </a:rPr>
              <a:t>Bài</a:t>
            </a:r>
            <a:r>
              <a:rPr lang="en-US" sz="2800" b="1" dirty="0">
                <a:solidFill>
                  <a:srgbClr val="FF0000"/>
                </a:solidFill>
                <a:latin typeface="UTM Guanine" pitchFamily="18" charset="0"/>
                <a:ea typeface="字魂17号-萌趣果冻体" panose="02000000000000000000" pitchFamily="2" charset="-122"/>
                <a:sym typeface="Lato Regular"/>
              </a:rPr>
              <a:t> 2: </a:t>
            </a:r>
            <a:r>
              <a:rPr lang="en-US" sz="2800" b="1" dirty="0" err="1">
                <a:solidFill>
                  <a:srgbClr val="FF0000"/>
                </a:solidFill>
                <a:latin typeface="UTM Guanine" pitchFamily="18" charset="0"/>
                <a:ea typeface="字魂17号-萌趣果冻体" panose="02000000000000000000" pitchFamily="2" charset="-122"/>
                <a:sym typeface="Lato Regular"/>
              </a:rPr>
              <a:t>Tìm</a:t>
            </a:r>
            <a:r>
              <a:rPr lang="en-US" sz="2800" b="1" dirty="0">
                <a:solidFill>
                  <a:srgbClr val="FF0000"/>
                </a:solidFill>
                <a:latin typeface="UTM Guanine" pitchFamily="18" charset="0"/>
                <a:ea typeface="字魂17号-萌趣果冻体" panose="02000000000000000000" pitchFamily="2" charset="-122"/>
                <a:sym typeface="Lato Regular"/>
              </a:rPr>
              <a:t> x</a:t>
            </a:r>
            <a:endParaRPr sz="2800" b="1" dirty="0">
              <a:solidFill>
                <a:srgbClr val="FF0000"/>
              </a:solidFill>
              <a:latin typeface="UTM Guanine" pitchFamily="18" charset="0"/>
              <a:ea typeface="字魂17号-萌趣果冻体" panose="02000000000000000000" pitchFamily="2" charset="-122"/>
              <a:sym typeface="Lato Regular"/>
            </a:endParaRPr>
          </a:p>
        </p:txBody>
      </p:sp>
      <p:sp>
        <p:nvSpPr>
          <p:cNvPr id="39" name="Shape 233">
            <a:extLst>
              <a:ext uri="{FF2B5EF4-FFF2-40B4-BE49-F238E27FC236}">
                <a16:creationId xmlns:a16="http://schemas.microsoft.com/office/drawing/2014/main" id="{0C0C98D3-C992-B884-BF25-0BB1FAF53974}"/>
              </a:ext>
            </a:extLst>
          </p:cNvPr>
          <p:cNvSpPr/>
          <p:nvPr/>
        </p:nvSpPr>
        <p:spPr>
          <a:xfrm>
            <a:off x="3441998" y="1342956"/>
            <a:ext cx="1966798" cy="599716"/>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nSpc>
                <a:spcPct val="150000"/>
              </a:lnSpc>
              <a:defRPr sz="2600" cap="none">
                <a:solidFill>
                  <a:srgbClr val="717172"/>
                </a:solidFill>
                <a:latin typeface="Lato Regular"/>
                <a:ea typeface="Lato Regular"/>
                <a:cs typeface="Lato Regular"/>
                <a:sym typeface="Lato Regular"/>
              </a:defRPr>
            </a:pPr>
            <a:r>
              <a:rPr lang="en-US" sz="2800" b="1" dirty="0">
                <a:solidFill>
                  <a:srgbClr val="FF0000"/>
                </a:solidFill>
                <a:latin typeface="UTM Neo Sans Intel" pitchFamily="18" charset="0"/>
                <a:ea typeface="字魂17号-萌趣果冻体" panose="02000000000000000000" pitchFamily="2" charset="-122"/>
                <a:sym typeface="Lato Regular"/>
              </a:rPr>
              <a:t>1,9 + 3,8</a:t>
            </a:r>
          </a:p>
        </p:txBody>
      </p:sp>
      <p:sp>
        <p:nvSpPr>
          <p:cNvPr id="40" name="Shape 233">
            <a:extLst>
              <a:ext uri="{FF2B5EF4-FFF2-40B4-BE49-F238E27FC236}">
                <a16:creationId xmlns:a16="http://schemas.microsoft.com/office/drawing/2014/main" id="{55F9BD0E-D737-66E1-FEC0-A06B290CF9EC}"/>
              </a:ext>
            </a:extLst>
          </p:cNvPr>
          <p:cNvSpPr/>
          <p:nvPr/>
        </p:nvSpPr>
        <p:spPr>
          <a:xfrm>
            <a:off x="721361" y="2539065"/>
            <a:ext cx="3946648" cy="697627"/>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gn="ctr">
              <a:lnSpc>
                <a:spcPct val="150000"/>
              </a:lnSpc>
              <a:defRPr sz="2600" cap="none">
                <a:solidFill>
                  <a:srgbClr val="717172"/>
                </a:solidFill>
                <a:latin typeface="Lato Regular"/>
                <a:ea typeface="Lato Regular"/>
                <a:cs typeface="Lato Regular"/>
                <a:sym typeface="Lato Regular"/>
              </a:defRPr>
            </a:pPr>
            <a:r>
              <a:rPr lang="en-US" sz="2800" b="1" dirty="0">
                <a:solidFill>
                  <a:srgbClr val="1F2020"/>
                </a:solidFill>
                <a:latin typeface="UTM Neo Sans Intel" pitchFamily="18" charset="0"/>
                <a:ea typeface="字魂17号-萌趣果冻体" panose="02000000000000000000" pitchFamily="2" charset="-122"/>
                <a:sym typeface="Lato Regular"/>
              </a:rPr>
              <a:t> </a:t>
            </a:r>
            <a:r>
              <a:rPr lang="en-US" sz="2800" b="1" i="1" dirty="0">
                <a:solidFill>
                  <a:srgbClr val="1F2020"/>
                </a:solidFill>
                <a:latin typeface="Times New Roman" pitchFamily="18" charset="0"/>
                <a:ea typeface="字魂17号-萌趣果冻体" panose="02000000000000000000" pitchFamily="2" charset="-122"/>
                <a:cs typeface="Times New Roman" pitchFamily="18" charset="0"/>
                <a:sym typeface="Lato Regular"/>
              </a:rPr>
              <a:t>x</a:t>
            </a:r>
            <a:r>
              <a:rPr lang="en-US" sz="2800" b="1" dirty="0">
                <a:solidFill>
                  <a:srgbClr val="1F2020"/>
                </a:solidFill>
                <a:latin typeface="UTM Neo Sans Intel" pitchFamily="18" charset="0"/>
                <a:ea typeface="字魂17号-萌趣果冻体" panose="02000000000000000000" pitchFamily="2" charset="-122"/>
                <a:sym typeface="Lato Regular"/>
              </a:rPr>
              <a:t>           =</a:t>
            </a:r>
            <a:endParaRPr sz="2800" b="1" dirty="0">
              <a:solidFill>
                <a:srgbClr val="1F2020"/>
              </a:solidFill>
              <a:latin typeface="UTM Neo Sans Intel" pitchFamily="18" charset="0"/>
              <a:ea typeface="字魂17号-萌趣果冻体" panose="02000000000000000000" pitchFamily="2" charset="-122"/>
              <a:sym typeface="Lato Regular"/>
            </a:endParaRPr>
          </a:p>
        </p:txBody>
      </p:sp>
      <p:sp>
        <p:nvSpPr>
          <p:cNvPr id="41" name="Shape 233">
            <a:extLst>
              <a:ext uri="{FF2B5EF4-FFF2-40B4-BE49-F238E27FC236}">
                <a16:creationId xmlns:a16="http://schemas.microsoft.com/office/drawing/2014/main" id="{0BD3A3EE-D41F-D6C3-F37A-35A2E2199F89}"/>
              </a:ext>
            </a:extLst>
          </p:cNvPr>
          <p:cNvSpPr/>
          <p:nvPr/>
        </p:nvSpPr>
        <p:spPr>
          <a:xfrm>
            <a:off x="721361" y="3249330"/>
            <a:ext cx="3946648" cy="697627"/>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gn="ctr">
              <a:lnSpc>
                <a:spcPct val="150000"/>
              </a:lnSpc>
              <a:defRPr sz="2600" cap="none">
                <a:solidFill>
                  <a:srgbClr val="717172"/>
                </a:solidFill>
                <a:latin typeface="Lato Regular"/>
                <a:ea typeface="Lato Regular"/>
                <a:cs typeface="Lato Regular"/>
                <a:sym typeface="Lato Regular"/>
              </a:defRPr>
            </a:pPr>
            <a:r>
              <a:rPr lang="en-US" sz="2800" b="1" dirty="0">
                <a:solidFill>
                  <a:srgbClr val="1F2020"/>
                </a:solidFill>
                <a:latin typeface="UTM Neo Sans Intel" pitchFamily="18" charset="0"/>
                <a:ea typeface="字魂17号-萌趣果冻体" panose="02000000000000000000" pitchFamily="2" charset="-122"/>
                <a:sym typeface="Lato Regular"/>
              </a:rPr>
              <a:t> </a:t>
            </a:r>
            <a:r>
              <a:rPr lang="en-US" sz="2800" b="1" i="1" dirty="0">
                <a:solidFill>
                  <a:srgbClr val="1F2020"/>
                </a:solidFill>
                <a:latin typeface="Times New Roman" pitchFamily="18" charset="0"/>
                <a:ea typeface="字魂17号-萌趣果冻体" panose="02000000000000000000" pitchFamily="2" charset="-122"/>
                <a:cs typeface="Times New Roman" pitchFamily="18" charset="0"/>
                <a:sym typeface="Lato Regular"/>
              </a:rPr>
              <a:t>x</a:t>
            </a:r>
            <a:r>
              <a:rPr lang="en-US" sz="2800" b="1" dirty="0">
                <a:solidFill>
                  <a:srgbClr val="1F2020"/>
                </a:solidFill>
                <a:latin typeface="UTM Neo Sans Intel" pitchFamily="18" charset="0"/>
                <a:ea typeface="字魂17号-萌趣果冻体" panose="02000000000000000000" pitchFamily="2" charset="-122"/>
                <a:sym typeface="Lato Regular"/>
              </a:rPr>
              <a:t>           =</a:t>
            </a:r>
            <a:endParaRPr sz="2800" b="1" dirty="0">
              <a:solidFill>
                <a:srgbClr val="1F2020"/>
              </a:solidFill>
              <a:latin typeface="UTM Neo Sans Intel" pitchFamily="18" charset="0"/>
              <a:ea typeface="字魂17号-萌趣果冻体" panose="02000000000000000000" pitchFamily="2" charset="-122"/>
              <a:sym typeface="Lato Regular"/>
            </a:endParaRPr>
          </a:p>
        </p:txBody>
      </p:sp>
      <p:sp>
        <p:nvSpPr>
          <p:cNvPr id="42" name="Shape 233">
            <a:extLst>
              <a:ext uri="{FF2B5EF4-FFF2-40B4-BE49-F238E27FC236}">
                <a16:creationId xmlns:a16="http://schemas.microsoft.com/office/drawing/2014/main" id="{5B2F7CAE-86C1-37DD-DC44-32F36B0884BF}"/>
              </a:ext>
            </a:extLst>
          </p:cNvPr>
          <p:cNvSpPr/>
          <p:nvPr/>
        </p:nvSpPr>
        <p:spPr>
          <a:xfrm>
            <a:off x="3675902" y="1924590"/>
            <a:ext cx="983399" cy="599716"/>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gn="ctr">
              <a:lnSpc>
                <a:spcPct val="150000"/>
              </a:lnSpc>
              <a:defRPr sz="2600" cap="none">
                <a:solidFill>
                  <a:srgbClr val="717172"/>
                </a:solidFill>
                <a:latin typeface="Lato Regular"/>
                <a:ea typeface="Lato Regular"/>
                <a:cs typeface="Lato Regular"/>
                <a:sym typeface="Lato Regular"/>
              </a:defRPr>
            </a:pPr>
            <a:r>
              <a:rPr lang="en-US" sz="2800" b="1" dirty="0">
                <a:solidFill>
                  <a:srgbClr val="FF0000"/>
                </a:solidFill>
                <a:latin typeface="UTM Neo Sans Intel" pitchFamily="18" charset="0"/>
                <a:ea typeface="字魂17号-萌趣果冻体" panose="02000000000000000000" pitchFamily="2" charset="-122"/>
                <a:sym typeface="Lato Regular"/>
              </a:rPr>
              <a:t>5,7</a:t>
            </a:r>
          </a:p>
        </p:txBody>
      </p:sp>
      <p:sp>
        <p:nvSpPr>
          <p:cNvPr id="43" name="Shape 233">
            <a:extLst>
              <a:ext uri="{FF2B5EF4-FFF2-40B4-BE49-F238E27FC236}">
                <a16:creationId xmlns:a16="http://schemas.microsoft.com/office/drawing/2014/main" id="{EDAC56E0-3E40-117B-F2F8-3E3893971C9B}"/>
              </a:ext>
            </a:extLst>
          </p:cNvPr>
          <p:cNvSpPr/>
          <p:nvPr/>
        </p:nvSpPr>
        <p:spPr>
          <a:xfrm>
            <a:off x="568961" y="1882058"/>
            <a:ext cx="3946648" cy="697627"/>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gn="ctr">
              <a:lnSpc>
                <a:spcPct val="150000"/>
              </a:lnSpc>
              <a:defRPr sz="2600" cap="none">
                <a:solidFill>
                  <a:srgbClr val="717172"/>
                </a:solidFill>
                <a:latin typeface="Lato Regular"/>
                <a:ea typeface="Lato Regular"/>
                <a:cs typeface="Lato Regular"/>
                <a:sym typeface="Lato Regular"/>
              </a:defRPr>
            </a:pPr>
            <a:r>
              <a:rPr lang="en-US" sz="2800" b="1" dirty="0">
                <a:solidFill>
                  <a:srgbClr val="1F2020"/>
                </a:solidFill>
                <a:latin typeface="UTM Neo Sans Intel" pitchFamily="18" charset="0"/>
                <a:ea typeface="字魂17号-萌趣果冻体" panose="02000000000000000000" pitchFamily="2" charset="-122"/>
                <a:sym typeface="Lato Regular"/>
              </a:rPr>
              <a:t>    </a:t>
            </a:r>
            <a:r>
              <a:rPr lang="en-US" sz="2800" b="1" i="1" dirty="0">
                <a:solidFill>
                  <a:srgbClr val="1F2020"/>
                </a:solidFill>
                <a:latin typeface="Times New Roman" pitchFamily="18" charset="0"/>
                <a:ea typeface="字魂17号-萌趣果冻体" panose="02000000000000000000" pitchFamily="2" charset="-122"/>
                <a:cs typeface="Times New Roman" pitchFamily="18" charset="0"/>
                <a:sym typeface="Lato Regular"/>
              </a:rPr>
              <a:t>x</a:t>
            </a:r>
            <a:r>
              <a:rPr lang="en-US" sz="2800" b="1" dirty="0">
                <a:solidFill>
                  <a:srgbClr val="1F2020"/>
                </a:solidFill>
                <a:latin typeface="UTM Neo Sans Intel" pitchFamily="18" charset="0"/>
                <a:ea typeface="字魂17号-萌趣果冻体" panose="02000000000000000000" pitchFamily="2" charset="-122"/>
                <a:sym typeface="Lato Regular"/>
              </a:rPr>
              <a:t> – 5,2 =</a:t>
            </a:r>
            <a:endParaRPr sz="2800" b="1" dirty="0">
              <a:solidFill>
                <a:srgbClr val="1F2020"/>
              </a:solidFill>
              <a:latin typeface="UTM Neo Sans Intel" pitchFamily="18" charset="0"/>
              <a:ea typeface="字魂17号-萌趣果冻体" panose="02000000000000000000" pitchFamily="2" charset="-122"/>
              <a:sym typeface="Lato Regular"/>
            </a:endParaRPr>
          </a:p>
        </p:txBody>
      </p:sp>
      <p:sp>
        <p:nvSpPr>
          <p:cNvPr id="44" name="Shape 233">
            <a:extLst>
              <a:ext uri="{FF2B5EF4-FFF2-40B4-BE49-F238E27FC236}">
                <a16:creationId xmlns:a16="http://schemas.microsoft.com/office/drawing/2014/main" id="{3E3E9C49-FB5B-3314-E689-7629876A3BE5}"/>
              </a:ext>
            </a:extLst>
          </p:cNvPr>
          <p:cNvSpPr/>
          <p:nvPr/>
        </p:nvSpPr>
        <p:spPr>
          <a:xfrm>
            <a:off x="3681072" y="2609111"/>
            <a:ext cx="983399" cy="599716"/>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nSpc>
                <a:spcPct val="150000"/>
              </a:lnSpc>
              <a:defRPr sz="2600" cap="none">
                <a:solidFill>
                  <a:srgbClr val="717172"/>
                </a:solidFill>
                <a:latin typeface="Lato Regular"/>
                <a:ea typeface="Lato Regular"/>
                <a:cs typeface="Lato Regular"/>
                <a:sym typeface="Lato Regular"/>
              </a:defRPr>
            </a:pPr>
            <a:r>
              <a:rPr lang="en-US" sz="2800" b="1" dirty="0">
                <a:solidFill>
                  <a:srgbClr val="FF0000"/>
                </a:solidFill>
                <a:latin typeface="UTM Neo Sans Intel" pitchFamily="18" charset="0"/>
                <a:ea typeface="字魂17号-萌趣果冻体" panose="02000000000000000000" pitchFamily="2" charset="-122"/>
                <a:sym typeface="Lato Regular"/>
              </a:rPr>
              <a:t>5,7</a:t>
            </a:r>
          </a:p>
        </p:txBody>
      </p:sp>
      <p:sp>
        <p:nvSpPr>
          <p:cNvPr id="45" name="Shape 233">
            <a:extLst>
              <a:ext uri="{FF2B5EF4-FFF2-40B4-BE49-F238E27FC236}">
                <a16:creationId xmlns:a16="http://schemas.microsoft.com/office/drawing/2014/main" id="{AB444DE2-F225-9365-2617-0639A3A107C3}"/>
              </a:ext>
            </a:extLst>
          </p:cNvPr>
          <p:cNvSpPr/>
          <p:nvPr/>
        </p:nvSpPr>
        <p:spPr>
          <a:xfrm>
            <a:off x="4515609" y="2623783"/>
            <a:ext cx="983399" cy="599716"/>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nSpc>
                <a:spcPct val="150000"/>
              </a:lnSpc>
              <a:defRPr sz="2600" cap="none">
                <a:solidFill>
                  <a:srgbClr val="717172"/>
                </a:solidFill>
                <a:latin typeface="Lato Regular"/>
                <a:ea typeface="Lato Regular"/>
                <a:cs typeface="Lato Regular"/>
                <a:sym typeface="Lato Regular"/>
              </a:defRPr>
            </a:pPr>
            <a:endParaRPr lang="en-US" sz="2800" b="1" dirty="0">
              <a:latin typeface="UTM Neo Sans Intel" pitchFamily="18" charset="0"/>
              <a:ea typeface="字魂17号-萌趣果冻体" panose="02000000000000000000" pitchFamily="2" charset="-122"/>
              <a:sym typeface="Lato Regular"/>
            </a:endParaRPr>
          </a:p>
        </p:txBody>
      </p:sp>
      <p:sp>
        <p:nvSpPr>
          <p:cNvPr id="46" name="TextBox 45">
            <a:extLst>
              <a:ext uri="{FF2B5EF4-FFF2-40B4-BE49-F238E27FC236}">
                <a16:creationId xmlns:a16="http://schemas.microsoft.com/office/drawing/2014/main" id="{59099449-EDA9-2EC1-D130-207CDD1CC913}"/>
              </a:ext>
            </a:extLst>
          </p:cNvPr>
          <p:cNvSpPr txBox="1"/>
          <p:nvPr/>
        </p:nvSpPr>
        <p:spPr>
          <a:xfrm>
            <a:off x="4217424" y="2668800"/>
            <a:ext cx="1114408" cy="523220"/>
          </a:xfrm>
          <a:prstGeom prst="rect">
            <a:avLst/>
          </a:prstGeom>
          <a:noFill/>
        </p:spPr>
        <p:txBody>
          <a:bodyPr wrap="none" rtlCol="0">
            <a:spAutoFit/>
          </a:bodyPr>
          <a:lstStyle/>
          <a:p>
            <a:r>
              <a:rPr lang="en-US" sz="2800" b="1" dirty="0">
                <a:latin typeface="UTM Neo Sans Intel" pitchFamily="18" charset="0"/>
              </a:rPr>
              <a:t>+ 5,2 </a:t>
            </a:r>
          </a:p>
        </p:txBody>
      </p:sp>
      <p:sp>
        <p:nvSpPr>
          <p:cNvPr id="47" name="TextBox 46">
            <a:extLst>
              <a:ext uri="{FF2B5EF4-FFF2-40B4-BE49-F238E27FC236}">
                <a16:creationId xmlns:a16="http://schemas.microsoft.com/office/drawing/2014/main" id="{15FCA50F-08E7-CDE9-6960-063A83E9D32E}"/>
              </a:ext>
            </a:extLst>
          </p:cNvPr>
          <p:cNvSpPr txBox="1"/>
          <p:nvPr/>
        </p:nvSpPr>
        <p:spPr>
          <a:xfrm>
            <a:off x="3865785" y="3332389"/>
            <a:ext cx="1027845" cy="523220"/>
          </a:xfrm>
          <a:prstGeom prst="rect">
            <a:avLst/>
          </a:prstGeom>
          <a:noFill/>
        </p:spPr>
        <p:txBody>
          <a:bodyPr wrap="none" rtlCol="0">
            <a:spAutoFit/>
          </a:bodyPr>
          <a:lstStyle/>
          <a:p>
            <a:r>
              <a:rPr lang="en-US" sz="2800" b="1" dirty="0">
                <a:latin typeface="UTM Neo Sans Intel" pitchFamily="18" charset="0"/>
              </a:rPr>
              <a:t>10,9 </a:t>
            </a:r>
          </a:p>
        </p:txBody>
      </p:sp>
      <p:sp>
        <p:nvSpPr>
          <p:cNvPr id="48" name="Shape 233">
            <a:extLst>
              <a:ext uri="{FF2B5EF4-FFF2-40B4-BE49-F238E27FC236}">
                <a16:creationId xmlns:a16="http://schemas.microsoft.com/office/drawing/2014/main" id="{77E5BD04-DA56-1827-3670-C23E4ECDBC85}"/>
              </a:ext>
            </a:extLst>
          </p:cNvPr>
          <p:cNvSpPr/>
          <p:nvPr/>
        </p:nvSpPr>
        <p:spPr>
          <a:xfrm>
            <a:off x="5448170" y="1292658"/>
            <a:ext cx="3946648" cy="697627"/>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gn="ctr">
              <a:lnSpc>
                <a:spcPct val="150000"/>
              </a:lnSpc>
              <a:defRPr sz="2600" cap="none">
                <a:solidFill>
                  <a:srgbClr val="717172"/>
                </a:solidFill>
                <a:latin typeface="Lato Regular"/>
                <a:ea typeface="Lato Regular"/>
                <a:cs typeface="Lato Regular"/>
                <a:sym typeface="Lato Regular"/>
              </a:defRPr>
            </a:pPr>
            <a:r>
              <a:rPr lang="en-US" sz="2800" b="1" dirty="0">
                <a:solidFill>
                  <a:srgbClr val="1F2020"/>
                </a:solidFill>
                <a:latin typeface="UTM Neo Sans Intel" pitchFamily="18" charset="0"/>
                <a:ea typeface="字魂17号-萌趣果冻体" panose="02000000000000000000" pitchFamily="2" charset="-122"/>
                <a:sym typeface="Lato Regular"/>
              </a:rPr>
              <a:t>b) </a:t>
            </a:r>
            <a:r>
              <a:rPr lang="en-US" sz="2800" b="1" i="1" dirty="0">
                <a:solidFill>
                  <a:srgbClr val="1F2020"/>
                </a:solidFill>
                <a:latin typeface="Times New Roman" pitchFamily="18" charset="0"/>
                <a:ea typeface="字魂17号-萌趣果冻体" panose="02000000000000000000" pitchFamily="2" charset="-122"/>
                <a:cs typeface="Times New Roman" pitchFamily="18" charset="0"/>
                <a:sym typeface="Lato Regular"/>
              </a:rPr>
              <a:t>x</a:t>
            </a:r>
            <a:r>
              <a:rPr lang="en-US" sz="2800" b="1" dirty="0">
                <a:solidFill>
                  <a:srgbClr val="1F2020"/>
                </a:solidFill>
                <a:latin typeface="UTM Neo Sans Intel" pitchFamily="18" charset="0"/>
                <a:ea typeface="字魂17号-萌趣果冻体" panose="02000000000000000000" pitchFamily="2" charset="-122"/>
                <a:sym typeface="Lato Regular"/>
              </a:rPr>
              <a:t> + 2,7 =</a:t>
            </a:r>
            <a:endParaRPr sz="2800" b="1" dirty="0">
              <a:solidFill>
                <a:srgbClr val="1F2020"/>
              </a:solidFill>
              <a:latin typeface="UTM Neo Sans Intel" pitchFamily="18" charset="0"/>
              <a:ea typeface="字魂17号-萌趣果冻体" panose="02000000000000000000" pitchFamily="2" charset="-122"/>
              <a:sym typeface="Lato Regular"/>
            </a:endParaRPr>
          </a:p>
        </p:txBody>
      </p:sp>
      <p:sp>
        <p:nvSpPr>
          <p:cNvPr id="49" name="Shape 233">
            <a:extLst>
              <a:ext uri="{FF2B5EF4-FFF2-40B4-BE49-F238E27FC236}">
                <a16:creationId xmlns:a16="http://schemas.microsoft.com/office/drawing/2014/main" id="{52C65834-6CC8-DEB9-E10C-28A90AE02182}"/>
              </a:ext>
            </a:extLst>
          </p:cNvPr>
          <p:cNvSpPr/>
          <p:nvPr/>
        </p:nvSpPr>
        <p:spPr>
          <a:xfrm>
            <a:off x="8448803" y="1329651"/>
            <a:ext cx="1966798" cy="599716"/>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nSpc>
                <a:spcPct val="150000"/>
              </a:lnSpc>
              <a:defRPr sz="2600" cap="none">
                <a:solidFill>
                  <a:srgbClr val="717172"/>
                </a:solidFill>
                <a:latin typeface="Lato Regular"/>
                <a:ea typeface="Lato Regular"/>
                <a:cs typeface="Lato Regular"/>
                <a:sym typeface="Lato Regular"/>
              </a:defRPr>
            </a:pPr>
            <a:r>
              <a:rPr lang="en-US" sz="2800" b="1" dirty="0">
                <a:solidFill>
                  <a:srgbClr val="1F2020"/>
                </a:solidFill>
                <a:latin typeface="UTM Neo Sans Intel" pitchFamily="18" charset="0"/>
                <a:ea typeface="字魂17号-萌趣果冻体" panose="02000000000000000000" pitchFamily="2" charset="-122"/>
                <a:sym typeface="Lato Regular"/>
              </a:rPr>
              <a:t>8,7 + 4,9</a:t>
            </a:r>
          </a:p>
        </p:txBody>
      </p:sp>
      <p:sp>
        <p:nvSpPr>
          <p:cNvPr id="50" name="Shape 233">
            <a:extLst>
              <a:ext uri="{FF2B5EF4-FFF2-40B4-BE49-F238E27FC236}">
                <a16:creationId xmlns:a16="http://schemas.microsoft.com/office/drawing/2014/main" id="{CC707273-E5D6-657C-B08F-061A179D11E2}"/>
              </a:ext>
            </a:extLst>
          </p:cNvPr>
          <p:cNvSpPr/>
          <p:nvPr/>
        </p:nvSpPr>
        <p:spPr>
          <a:xfrm>
            <a:off x="8457835" y="1334392"/>
            <a:ext cx="1966798" cy="599716"/>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nSpc>
                <a:spcPct val="150000"/>
              </a:lnSpc>
              <a:defRPr sz="2600" cap="none">
                <a:solidFill>
                  <a:srgbClr val="717172"/>
                </a:solidFill>
                <a:latin typeface="Lato Regular"/>
                <a:ea typeface="Lato Regular"/>
                <a:cs typeface="Lato Regular"/>
                <a:sym typeface="Lato Regular"/>
              </a:defRPr>
            </a:pPr>
            <a:r>
              <a:rPr lang="en-US" sz="2800" b="1" dirty="0">
                <a:solidFill>
                  <a:srgbClr val="FF0000"/>
                </a:solidFill>
                <a:latin typeface="UTM Neo Sans Intel" pitchFamily="18" charset="0"/>
                <a:ea typeface="字魂17号-萌趣果冻体" panose="02000000000000000000" pitchFamily="2" charset="-122"/>
                <a:sym typeface="Lato Regular"/>
              </a:rPr>
              <a:t>8,7 + 4,9</a:t>
            </a:r>
          </a:p>
        </p:txBody>
      </p:sp>
      <p:sp>
        <p:nvSpPr>
          <p:cNvPr id="51" name="Shape 233">
            <a:extLst>
              <a:ext uri="{FF2B5EF4-FFF2-40B4-BE49-F238E27FC236}">
                <a16:creationId xmlns:a16="http://schemas.microsoft.com/office/drawing/2014/main" id="{3938E35D-E281-B986-0ACE-55451953A4FA}"/>
              </a:ext>
            </a:extLst>
          </p:cNvPr>
          <p:cNvSpPr/>
          <p:nvPr/>
        </p:nvSpPr>
        <p:spPr>
          <a:xfrm>
            <a:off x="5600570" y="2525759"/>
            <a:ext cx="3946648" cy="697627"/>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gn="ctr">
              <a:lnSpc>
                <a:spcPct val="150000"/>
              </a:lnSpc>
              <a:defRPr sz="2600" cap="none">
                <a:solidFill>
                  <a:srgbClr val="717172"/>
                </a:solidFill>
                <a:latin typeface="Lato Regular"/>
                <a:ea typeface="Lato Regular"/>
                <a:cs typeface="Lato Regular"/>
                <a:sym typeface="Lato Regular"/>
              </a:defRPr>
            </a:pPr>
            <a:r>
              <a:rPr lang="en-US" sz="2800" b="1" dirty="0">
                <a:solidFill>
                  <a:srgbClr val="1F2020"/>
                </a:solidFill>
                <a:latin typeface="UTM Neo Sans Intel" pitchFamily="18" charset="0"/>
                <a:ea typeface="字魂17号-萌趣果冻体" panose="02000000000000000000" pitchFamily="2" charset="-122"/>
                <a:sym typeface="Lato Regular"/>
              </a:rPr>
              <a:t> </a:t>
            </a:r>
            <a:r>
              <a:rPr lang="en-US" sz="2800" b="1" i="1" dirty="0">
                <a:solidFill>
                  <a:srgbClr val="1F2020"/>
                </a:solidFill>
                <a:latin typeface="Times New Roman" pitchFamily="18" charset="0"/>
                <a:ea typeface="字魂17号-萌趣果冻体" panose="02000000000000000000" pitchFamily="2" charset="-122"/>
                <a:cs typeface="Times New Roman" pitchFamily="18" charset="0"/>
                <a:sym typeface="Lato Regular"/>
              </a:rPr>
              <a:t>x</a:t>
            </a:r>
            <a:r>
              <a:rPr lang="en-US" sz="2800" b="1" dirty="0">
                <a:solidFill>
                  <a:srgbClr val="1F2020"/>
                </a:solidFill>
                <a:latin typeface="UTM Neo Sans Intel" pitchFamily="18" charset="0"/>
                <a:ea typeface="字魂17号-萌趣果冻体" panose="02000000000000000000" pitchFamily="2" charset="-122"/>
                <a:sym typeface="Lato Regular"/>
              </a:rPr>
              <a:t>           =</a:t>
            </a:r>
            <a:endParaRPr sz="2800" b="1" dirty="0">
              <a:solidFill>
                <a:srgbClr val="1F2020"/>
              </a:solidFill>
              <a:latin typeface="UTM Neo Sans Intel" pitchFamily="18" charset="0"/>
              <a:ea typeface="字魂17号-萌趣果冻体" panose="02000000000000000000" pitchFamily="2" charset="-122"/>
              <a:sym typeface="Lato Regular"/>
            </a:endParaRPr>
          </a:p>
        </p:txBody>
      </p:sp>
      <p:sp>
        <p:nvSpPr>
          <p:cNvPr id="52" name="Shape 233">
            <a:extLst>
              <a:ext uri="{FF2B5EF4-FFF2-40B4-BE49-F238E27FC236}">
                <a16:creationId xmlns:a16="http://schemas.microsoft.com/office/drawing/2014/main" id="{ED6D2D53-7F59-B84E-D678-6F307F9CA149}"/>
              </a:ext>
            </a:extLst>
          </p:cNvPr>
          <p:cNvSpPr/>
          <p:nvPr/>
        </p:nvSpPr>
        <p:spPr>
          <a:xfrm>
            <a:off x="5600570" y="3236024"/>
            <a:ext cx="3946648" cy="697627"/>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gn="ctr">
              <a:lnSpc>
                <a:spcPct val="150000"/>
              </a:lnSpc>
              <a:defRPr sz="2600" cap="none">
                <a:solidFill>
                  <a:srgbClr val="717172"/>
                </a:solidFill>
                <a:latin typeface="Lato Regular"/>
                <a:ea typeface="Lato Regular"/>
                <a:cs typeface="Lato Regular"/>
                <a:sym typeface="Lato Regular"/>
              </a:defRPr>
            </a:pPr>
            <a:r>
              <a:rPr lang="en-US" sz="2800" b="1" dirty="0">
                <a:solidFill>
                  <a:srgbClr val="1F2020"/>
                </a:solidFill>
                <a:latin typeface="UTM Neo Sans Intel" pitchFamily="18" charset="0"/>
                <a:ea typeface="字魂17号-萌趣果冻体" panose="02000000000000000000" pitchFamily="2" charset="-122"/>
                <a:sym typeface="Lato Regular"/>
              </a:rPr>
              <a:t> </a:t>
            </a:r>
            <a:r>
              <a:rPr lang="en-US" sz="2800" b="1" i="1" dirty="0">
                <a:solidFill>
                  <a:srgbClr val="1F2020"/>
                </a:solidFill>
                <a:latin typeface="Times New Roman" pitchFamily="18" charset="0"/>
                <a:ea typeface="字魂17号-萌趣果冻体" panose="02000000000000000000" pitchFamily="2" charset="-122"/>
                <a:cs typeface="Times New Roman" pitchFamily="18" charset="0"/>
                <a:sym typeface="Lato Regular"/>
              </a:rPr>
              <a:t>x</a:t>
            </a:r>
            <a:r>
              <a:rPr lang="en-US" sz="2800" b="1" dirty="0">
                <a:solidFill>
                  <a:srgbClr val="1F2020"/>
                </a:solidFill>
                <a:latin typeface="UTM Neo Sans Intel" pitchFamily="18" charset="0"/>
                <a:ea typeface="字魂17号-萌趣果冻体" panose="02000000000000000000" pitchFamily="2" charset="-122"/>
                <a:sym typeface="Lato Regular"/>
              </a:rPr>
              <a:t>           =</a:t>
            </a:r>
            <a:endParaRPr sz="2800" b="1" dirty="0">
              <a:solidFill>
                <a:srgbClr val="1F2020"/>
              </a:solidFill>
              <a:latin typeface="UTM Neo Sans Intel" pitchFamily="18" charset="0"/>
              <a:ea typeface="字魂17号-萌趣果冻体" panose="02000000000000000000" pitchFamily="2" charset="-122"/>
              <a:sym typeface="Lato Regular"/>
            </a:endParaRPr>
          </a:p>
        </p:txBody>
      </p:sp>
      <p:sp>
        <p:nvSpPr>
          <p:cNvPr id="53" name="Shape 233">
            <a:extLst>
              <a:ext uri="{FF2B5EF4-FFF2-40B4-BE49-F238E27FC236}">
                <a16:creationId xmlns:a16="http://schemas.microsoft.com/office/drawing/2014/main" id="{368684A8-88A3-EC49-6C40-D5CCFF1E505E}"/>
              </a:ext>
            </a:extLst>
          </p:cNvPr>
          <p:cNvSpPr/>
          <p:nvPr/>
        </p:nvSpPr>
        <p:spPr>
          <a:xfrm>
            <a:off x="8353084" y="1964449"/>
            <a:ext cx="983399" cy="599716"/>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nSpc>
                <a:spcPct val="150000"/>
              </a:lnSpc>
              <a:defRPr sz="2600" cap="none">
                <a:solidFill>
                  <a:srgbClr val="717172"/>
                </a:solidFill>
                <a:latin typeface="Lato Regular"/>
                <a:ea typeface="Lato Regular"/>
                <a:cs typeface="Lato Regular"/>
                <a:sym typeface="Lato Regular"/>
              </a:defRPr>
            </a:pPr>
            <a:r>
              <a:rPr lang="en-US" sz="2800" b="1" dirty="0">
                <a:solidFill>
                  <a:srgbClr val="FF0000"/>
                </a:solidFill>
                <a:latin typeface="UTM Neo Sans Intel" pitchFamily="18" charset="0"/>
                <a:ea typeface="字魂17号-萌趣果冻体" panose="02000000000000000000" pitchFamily="2" charset="-122"/>
                <a:sym typeface="Lato Regular"/>
              </a:rPr>
              <a:t>13,6</a:t>
            </a:r>
          </a:p>
        </p:txBody>
      </p:sp>
      <p:sp>
        <p:nvSpPr>
          <p:cNvPr id="54" name="Shape 233">
            <a:extLst>
              <a:ext uri="{FF2B5EF4-FFF2-40B4-BE49-F238E27FC236}">
                <a16:creationId xmlns:a16="http://schemas.microsoft.com/office/drawing/2014/main" id="{27AB7B4E-D3D9-DEE7-5E3C-89FA675CB9D0}"/>
              </a:ext>
            </a:extLst>
          </p:cNvPr>
          <p:cNvSpPr/>
          <p:nvPr/>
        </p:nvSpPr>
        <p:spPr>
          <a:xfrm>
            <a:off x="5448170" y="1951904"/>
            <a:ext cx="3946648" cy="616387"/>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gn="ctr">
              <a:lnSpc>
                <a:spcPct val="150000"/>
              </a:lnSpc>
              <a:defRPr sz="2600" cap="none">
                <a:solidFill>
                  <a:srgbClr val="717172"/>
                </a:solidFill>
                <a:latin typeface="Lato Regular"/>
                <a:ea typeface="Lato Regular"/>
                <a:cs typeface="Lato Regular"/>
                <a:sym typeface="Lato Regular"/>
              </a:defRPr>
            </a:pPr>
            <a:r>
              <a:rPr lang="en-US" sz="2800" b="1" dirty="0">
                <a:solidFill>
                  <a:srgbClr val="1F2020"/>
                </a:solidFill>
                <a:latin typeface="UTM Neo Sans Intel" pitchFamily="18" charset="0"/>
                <a:ea typeface="字魂17号-萌趣果冻体" panose="02000000000000000000" pitchFamily="2" charset="-122"/>
                <a:sym typeface="Lato Regular"/>
              </a:rPr>
              <a:t>    </a:t>
            </a:r>
            <a:r>
              <a:rPr lang="en-US" sz="2800" b="1" i="1" dirty="0">
                <a:solidFill>
                  <a:srgbClr val="1F2020"/>
                </a:solidFill>
                <a:latin typeface="Times New Roman" pitchFamily="18" charset="0"/>
                <a:ea typeface="字魂17号-萌趣果冻体" panose="02000000000000000000" pitchFamily="2" charset="-122"/>
                <a:cs typeface="Times New Roman" pitchFamily="18" charset="0"/>
                <a:sym typeface="Lato Regular"/>
              </a:rPr>
              <a:t>x </a:t>
            </a:r>
            <a:r>
              <a:rPr lang="en-US" sz="2800" b="1" dirty="0">
                <a:solidFill>
                  <a:srgbClr val="1F2020"/>
                </a:solidFill>
                <a:latin typeface="UTM Neo Sans Intel" pitchFamily="18" charset="0"/>
                <a:ea typeface="字魂17号-萌趣果冻体" panose="02000000000000000000" pitchFamily="2" charset="-122"/>
                <a:sym typeface="Lato Regular"/>
              </a:rPr>
              <a:t>+ 2,7 =</a:t>
            </a:r>
            <a:endParaRPr sz="2800" b="1" dirty="0">
              <a:solidFill>
                <a:srgbClr val="1F2020"/>
              </a:solidFill>
              <a:latin typeface="UTM Neo Sans Intel" pitchFamily="18" charset="0"/>
              <a:ea typeface="字魂17号-萌趣果冻体" panose="02000000000000000000" pitchFamily="2" charset="-122"/>
              <a:sym typeface="Lato Regular"/>
            </a:endParaRPr>
          </a:p>
        </p:txBody>
      </p:sp>
      <p:sp>
        <p:nvSpPr>
          <p:cNvPr id="55" name="Shape 233">
            <a:extLst>
              <a:ext uri="{FF2B5EF4-FFF2-40B4-BE49-F238E27FC236}">
                <a16:creationId xmlns:a16="http://schemas.microsoft.com/office/drawing/2014/main" id="{5B7726B5-087A-048D-DE93-090ACF7CA3EE}"/>
              </a:ext>
            </a:extLst>
          </p:cNvPr>
          <p:cNvSpPr/>
          <p:nvPr/>
        </p:nvSpPr>
        <p:spPr>
          <a:xfrm>
            <a:off x="8347621" y="2595805"/>
            <a:ext cx="1093556" cy="599716"/>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nSpc>
                <a:spcPct val="150000"/>
              </a:lnSpc>
              <a:defRPr sz="2600" cap="none">
                <a:solidFill>
                  <a:srgbClr val="717172"/>
                </a:solidFill>
                <a:latin typeface="Lato Regular"/>
                <a:ea typeface="Lato Regular"/>
                <a:cs typeface="Lato Regular"/>
                <a:sym typeface="Lato Regular"/>
              </a:defRPr>
            </a:pPr>
            <a:r>
              <a:rPr lang="en-US" sz="2800" b="1" dirty="0">
                <a:solidFill>
                  <a:srgbClr val="FF0000"/>
                </a:solidFill>
                <a:latin typeface="UTM Neo Sans Intel" pitchFamily="18" charset="0"/>
                <a:ea typeface="字魂17号-萌趣果冻体" panose="02000000000000000000" pitchFamily="2" charset="-122"/>
                <a:sym typeface="Lato Regular"/>
              </a:rPr>
              <a:t>13,6</a:t>
            </a:r>
          </a:p>
        </p:txBody>
      </p:sp>
      <p:sp>
        <p:nvSpPr>
          <p:cNvPr id="56" name="Shape 233">
            <a:extLst>
              <a:ext uri="{FF2B5EF4-FFF2-40B4-BE49-F238E27FC236}">
                <a16:creationId xmlns:a16="http://schemas.microsoft.com/office/drawing/2014/main" id="{A3592E13-D68A-11E2-E7F3-93DBA9F00F20}"/>
              </a:ext>
            </a:extLst>
          </p:cNvPr>
          <p:cNvSpPr/>
          <p:nvPr/>
        </p:nvSpPr>
        <p:spPr>
          <a:xfrm>
            <a:off x="9394818" y="2610477"/>
            <a:ext cx="983399" cy="599716"/>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nSpc>
                <a:spcPct val="150000"/>
              </a:lnSpc>
              <a:defRPr sz="2600" cap="none">
                <a:solidFill>
                  <a:srgbClr val="717172"/>
                </a:solidFill>
                <a:latin typeface="Lato Regular"/>
                <a:ea typeface="Lato Regular"/>
                <a:cs typeface="Lato Regular"/>
                <a:sym typeface="Lato Regular"/>
              </a:defRPr>
            </a:pPr>
            <a:endParaRPr lang="en-US" sz="2800" b="1" dirty="0">
              <a:latin typeface="UTM Neo Sans Intel" pitchFamily="18" charset="0"/>
              <a:ea typeface="字魂17号-萌趣果冻体" panose="02000000000000000000" pitchFamily="2" charset="-122"/>
              <a:sym typeface="Lato Regular"/>
            </a:endParaRPr>
          </a:p>
        </p:txBody>
      </p:sp>
      <p:sp>
        <p:nvSpPr>
          <p:cNvPr id="57" name="TextBox 56">
            <a:extLst>
              <a:ext uri="{FF2B5EF4-FFF2-40B4-BE49-F238E27FC236}">
                <a16:creationId xmlns:a16="http://schemas.microsoft.com/office/drawing/2014/main" id="{2495BD2A-FC8A-ABBA-A825-4E34F9EF1259}"/>
              </a:ext>
            </a:extLst>
          </p:cNvPr>
          <p:cNvSpPr txBox="1"/>
          <p:nvPr/>
        </p:nvSpPr>
        <p:spPr>
          <a:xfrm>
            <a:off x="9096633" y="2655494"/>
            <a:ext cx="1114408" cy="523220"/>
          </a:xfrm>
          <a:prstGeom prst="rect">
            <a:avLst/>
          </a:prstGeom>
          <a:noFill/>
        </p:spPr>
        <p:txBody>
          <a:bodyPr wrap="none" rtlCol="0">
            <a:spAutoFit/>
          </a:bodyPr>
          <a:lstStyle/>
          <a:p>
            <a:r>
              <a:rPr lang="en-US" sz="2800" b="1" dirty="0">
                <a:solidFill>
                  <a:srgbClr val="1F2020"/>
                </a:solidFill>
                <a:latin typeface="UTM Neo Sans Intel" pitchFamily="18" charset="0"/>
                <a:ea typeface="字魂17号-萌趣果冻体" panose="02000000000000000000" pitchFamily="2" charset="-122"/>
                <a:sym typeface="Lato Regular"/>
              </a:rPr>
              <a:t>–</a:t>
            </a:r>
            <a:r>
              <a:rPr lang="en-US" sz="2800" b="1" dirty="0">
                <a:latin typeface="UTM Neo Sans Intel" pitchFamily="18" charset="0"/>
              </a:rPr>
              <a:t> 2,7 </a:t>
            </a:r>
          </a:p>
        </p:txBody>
      </p:sp>
      <p:sp>
        <p:nvSpPr>
          <p:cNvPr id="58" name="TextBox 57">
            <a:extLst>
              <a:ext uri="{FF2B5EF4-FFF2-40B4-BE49-F238E27FC236}">
                <a16:creationId xmlns:a16="http://schemas.microsoft.com/office/drawing/2014/main" id="{9934C4EF-33FB-F73A-51D2-72FAAA35FD23}"/>
              </a:ext>
            </a:extLst>
          </p:cNvPr>
          <p:cNvSpPr txBox="1"/>
          <p:nvPr/>
        </p:nvSpPr>
        <p:spPr>
          <a:xfrm>
            <a:off x="8744994" y="3319083"/>
            <a:ext cx="1027845" cy="523220"/>
          </a:xfrm>
          <a:prstGeom prst="rect">
            <a:avLst/>
          </a:prstGeom>
          <a:noFill/>
        </p:spPr>
        <p:txBody>
          <a:bodyPr wrap="none" rtlCol="0">
            <a:spAutoFit/>
          </a:bodyPr>
          <a:lstStyle/>
          <a:p>
            <a:r>
              <a:rPr lang="en-US" sz="2800" b="1" dirty="0">
                <a:latin typeface="UTM Neo Sans Intel" pitchFamily="18" charset="0"/>
              </a:rPr>
              <a:t>10,9 </a:t>
            </a:r>
          </a:p>
        </p:txBody>
      </p:sp>
    </p:spTree>
    <p:extLst>
      <p:ext uri="{BB962C8B-B14F-4D97-AF65-F5344CB8AC3E}">
        <p14:creationId xmlns:p14="http://schemas.microsoft.com/office/powerpoint/2010/main" val="2231849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1000"/>
                                        <p:tgtEl>
                                          <p:spTgt spid="38"/>
                                        </p:tgtEl>
                                      </p:cBhvr>
                                    </p:animEffect>
                                    <p:anim calcmode="lin" valueType="num">
                                      <p:cBhvr>
                                        <p:cTn id="8" dur="1000" fill="hold"/>
                                        <p:tgtEl>
                                          <p:spTgt spid="38"/>
                                        </p:tgtEl>
                                        <p:attrNameLst>
                                          <p:attrName>ppt_x</p:attrName>
                                        </p:attrNameLst>
                                      </p:cBhvr>
                                      <p:tavLst>
                                        <p:tav tm="0">
                                          <p:val>
                                            <p:strVal val="#ppt_x"/>
                                          </p:val>
                                        </p:tav>
                                        <p:tav tm="100000">
                                          <p:val>
                                            <p:strVal val="#ppt_x"/>
                                          </p:val>
                                        </p:tav>
                                      </p:tavLst>
                                    </p:anim>
                                    <p:anim calcmode="lin" valueType="num">
                                      <p:cBhvr>
                                        <p:cTn id="9"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36"/>
                                        </p:tgtEl>
                                        <p:attrNameLst>
                                          <p:attrName>style.visibility</p:attrName>
                                        </p:attrNameLst>
                                      </p:cBhvr>
                                      <p:to>
                                        <p:strVal val="visible"/>
                                      </p:to>
                                    </p:set>
                                    <p:animEffect transition="in" filter="wipe(left)">
                                      <p:cBhvr>
                                        <p:cTn id="14" dur="500"/>
                                        <p:tgtEl>
                                          <p:spTgt spid="36"/>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wipe(left)">
                                      <p:cBhvr>
                                        <p:cTn id="19" dur="500"/>
                                        <p:tgtEl>
                                          <p:spTgt spid="37"/>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wipe(left)">
                                      <p:cBhvr>
                                        <p:cTn id="24" dur="500"/>
                                        <p:tgtEl>
                                          <p:spTgt spid="3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42"/>
                                        </p:tgtEl>
                                        <p:attrNameLst>
                                          <p:attrName>style.visibility</p:attrName>
                                        </p:attrNameLst>
                                      </p:cBhvr>
                                      <p:to>
                                        <p:strVal val="visible"/>
                                      </p:to>
                                    </p:set>
                                    <p:animEffect transition="in" filter="wipe(left)">
                                      <p:cBhvr>
                                        <p:cTn id="29" dur="500"/>
                                        <p:tgtEl>
                                          <p:spTgt spid="42"/>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43"/>
                                        </p:tgtEl>
                                        <p:attrNameLst>
                                          <p:attrName>style.visibility</p:attrName>
                                        </p:attrNameLst>
                                      </p:cBhvr>
                                      <p:to>
                                        <p:strVal val="visible"/>
                                      </p:to>
                                    </p:set>
                                    <p:animEffect transition="in" filter="wipe(left)">
                                      <p:cBhvr>
                                        <p:cTn id="34" dur="500"/>
                                        <p:tgtEl>
                                          <p:spTgt spid="43"/>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40"/>
                                        </p:tgtEl>
                                        <p:attrNameLst>
                                          <p:attrName>style.visibility</p:attrName>
                                        </p:attrNameLst>
                                      </p:cBhvr>
                                      <p:to>
                                        <p:strVal val="visible"/>
                                      </p:to>
                                    </p:set>
                                    <p:animEffect transition="in" filter="wipe(left)">
                                      <p:cBhvr>
                                        <p:cTn id="39" dur="500"/>
                                        <p:tgtEl>
                                          <p:spTgt spid="40"/>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8" fill="hold" grpId="0" nodeType="click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wipe(left)">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grpId="0" nodeType="click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wipe(left)">
                                      <p:cBhvr>
                                        <p:cTn id="49" dur="500"/>
                                        <p:tgtEl>
                                          <p:spTgt spid="46"/>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45"/>
                                        </p:tgtEl>
                                        <p:attrNameLst>
                                          <p:attrName>style.visibility</p:attrName>
                                        </p:attrNameLst>
                                      </p:cBhvr>
                                      <p:to>
                                        <p:strVal val="visible"/>
                                      </p:to>
                                    </p:set>
                                    <p:animEffect transition="in" filter="wipe(left)">
                                      <p:cBhvr>
                                        <p:cTn id="54" dur="500"/>
                                        <p:tgtEl>
                                          <p:spTgt spid="45"/>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8" fill="hold" grpId="0" nodeType="clickEffect">
                                  <p:stCondLst>
                                    <p:cond delay="0"/>
                                  </p:stCondLst>
                                  <p:childTnLst>
                                    <p:set>
                                      <p:cBhvr>
                                        <p:cTn id="58" dur="1" fill="hold">
                                          <p:stCondLst>
                                            <p:cond delay="0"/>
                                          </p:stCondLst>
                                        </p:cTn>
                                        <p:tgtEl>
                                          <p:spTgt spid="41"/>
                                        </p:tgtEl>
                                        <p:attrNameLst>
                                          <p:attrName>style.visibility</p:attrName>
                                        </p:attrNameLst>
                                      </p:cBhvr>
                                      <p:to>
                                        <p:strVal val="visible"/>
                                      </p:to>
                                    </p:set>
                                    <p:animEffect transition="in" filter="wipe(left)">
                                      <p:cBhvr>
                                        <p:cTn id="59" dur="500"/>
                                        <p:tgtEl>
                                          <p:spTgt spid="41"/>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8" fill="hold" grpId="0" nodeType="clickEffect">
                                  <p:stCondLst>
                                    <p:cond delay="0"/>
                                  </p:stCondLst>
                                  <p:childTnLst>
                                    <p:set>
                                      <p:cBhvr>
                                        <p:cTn id="63" dur="1" fill="hold">
                                          <p:stCondLst>
                                            <p:cond delay="0"/>
                                          </p:stCondLst>
                                        </p:cTn>
                                        <p:tgtEl>
                                          <p:spTgt spid="47"/>
                                        </p:tgtEl>
                                        <p:attrNameLst>
                                          <p:attrName>style.visibility</p:attrName>
                                        </p:attrNameLst>
                                      </p:cBhvr>
                                      <p:to>
                                        <p:strVal val="visible"/>
                                      </p:to>
                                    </p:set>
                                    <p:animEffect transition="in" filter="wipe(left)">
                                      <p:cBhvr>
                                        <p:cTn id="64" dur="500"/>
                                        <p:tgtEl>
                                          <p:spTgt spid="47"/>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8" fill="hold" grpId="0" nodeType="clickEffect">
                                  <p:stCondLst>
                                    <p:cond delay="0"/>
                                  </p:stCondLst>
                                  <p:childTnLst>
                                    <p:set>
                                      <p:cBhvr>
                                        <p:cTn id="68" dur="1" fill="hold">
                                          <p:stCondLst>
                                            <p:cond delay="0"/>
                                          </p:stCondLst>
                                        </p:cTn>
                                        <p:tgtEl>
                                          <p:spTgt spid="48"/>
                                        </p:tgtEl>
                                        <p:attrNameLst>
                                          <p:attrName>style.visibility</p:attrName>
                                        </p:attrNameLst>
                                      </p:cBhvr>
                                      <p:to>
                                        <p:strVal val="visible"/>
                                      </p:to>
                                    </p:set>
                                    <p:animEffect transition="in" filter="wipe(left)">
                                      <p:cBhvr>
                                        <p:cTn id="69" dur="500"/>
                                        <p:tgtEl>
                                          <p:spTgt spid="48"/>
                                        </p:tgtEl>
                                      </p:cBhvr>
                                    </p:animEffect>
                                  </p:childTnLst>
                                </p:cTn>
                              </p:par>
                            </p:childTnLst>
                          </p:cTn>
                        </p:par>
                      </p:childTnLst>
                    </p:cTn>
                  </p:par>
                  <p:par>
                    <p:cTn id="70" fill="hold">
                      <p:stCondLst>
                        <p:cond delay="indefinite"/>
                      </p:stCondLst>
                      <p:childTnLst>
                        <p:par>
                          <p:cTn id="71" fill="hold">
                            <p:stCondLst>
                              <p:cond delay="0"/>
                            </p:stCondLst>
                            <p:childTnLst>
                              <p:par>
                                <p:cTn id="72" presetID="22" presetClass="entr" presetSubtype="8" fill="hold" grpId="0" nodeType="clickEffect">
                                  <p:stCondLst>
                                    <p:cond delay="0"/>
                                  </p:stCondLst>
                                  <p:childTnLst>
                                    <p:set>
                                      <p:cBhvr>
                                        <p:cTn id="73" dur="1" fill="hold">
                                          <p:stCondLst>
                                            <p:cond delay="0"/>
                                          </p:stCondLst>
                                        </p:cTn>
                                        <p:tgtEl>
                                          <p:spTgt spid="49"/>
                                        </p:tgtEl>
                                        <p:attrNameLst>
                                          <p:attrName>style.visibility</p:attrName>
                                        </p:attrNameLst>
                                      </p:cBhvr>
                                      <p:to>
                                        <p:strVal val="visible"/>
                                      </p:to>
                                    </p:set>
                                    <p:animEffect transition="in" filter="wipe(left)">
                                      <p:cBhvr>
                                        <p:cTn id="74" dur="500"/>
                                        <p:tgtEl>
                                          <p:spTgt spid="49"/>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8" fill="hold" grpId="0" nodeType="clickEffect">
                                  <p:stCondLst>
                                    <p:cond delay="0"/>
                                  </p:stCondLst>
                                  <p:childTnLst>
                                    <p:set>
                                      <p:cBhvr>
                                        <p:cTn id="78" dur="1" fill="hold">
                                          <p:stCondLst>
                                            <p:cond delay="0"/>
                                          </p:stCondLst>
                                        </p:cTn>
                                        <p:tgtEl>
                                          <p:spTgt spid="50"/>
                                        </p:tgtEl>
                                        <p:attrNameLst>
                                          <p:attrName>style.visibility</p:attrName>
                                        </p:attrNameLst>
                                      </p:cBhvr>
                                      <p:to>
                                        <p:strVal val="visible"/>
                                      </p:to>
                                    </p:set>
                                    <p:animEffect transition="in" filter="wipe(left)">
                                      <p:cBhvr>
                                        <p:cTn id="79" dur="500"/>
                                        <p:tgtEl>
                                          <p:spTgt spid="50"/>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grpId="0" nodeType="clickEffect">
                                  <p:stCondLst>
                                    <p:cond delay="0"/>
                                  </p:stCondLst>
                                  <p:childTnLst>
                                    <p:set>
                                      <p:cBhvr>
                                        <p:cTn id="83" dur="1" fill="hold">
                                          <p:stCondLst>
                                            <p:cond delay="0"/>
                                          </p:stCondLst>
                                        </p:cTn>
                                        <p:tgtEl>
                                          <p:spTgt spid="53"/>
                                        </p:tgtEl>
                                        <p:attrNameLst>
                                          <p:attrName>style.visibility</p:attrName>
                                        </p:attrNameLst>
                                      </p:cBhvr>
                                      <p:to>
                                        <p:strVal val="visible"/>
                                      </p:to>
                                    </p:set>
                                    <p:animEffect transition="in" filter="wipe(left)">
                                      <p:cBhvr>
                                        <p:cTn id="84" dur="500"/>
                                        <p:tgtEl>
                                          <p:spTgt spid="53"/>
                                        </p:tgtEl>
                                      </p:cBhvr>
                                    </p:animEffect>
                                  </p:childTnLst>
                                </p:cTn>
                              </p:par>
                            </p:childTnLst>
                          </p:cTn>
                        </p:par>
                      </p:childTnLst>
                    </p:cTn>
                  </p:par>
                  <p:par>
                    <p:cTn id="85" fill="hold">
                      <p:stCondLst>
                        <p:cond delay="indefinite"/>
                      </p:stCondLst>
                      <p:childTnLst>
                        <p:par>
                          <p:cTn id="86" fill="hold">
                            <p:stCondLst>
                              <p:cond delay="0"/>
                            </p:stCondLst>
                            <p:childTnLst>
                              <p:par>
                                <p:cTn id="87" presetID="22" presetClass="entr" presetSubtype="8" fill="hold" grpId="0" nodeType="clickEffect">
                                  <p:stCondLst>
                                    <p:cond delay="0"/>
                                  </p:stCondLst>
                                  <p:childTnLst>
                                    <p:set>
                                      <p:cBhvr>
                                        <p:cTn id="88" dur="1" fill="hold">
                                          <p:stCondLst>
                                            <p:cond delay="0"/>
                                          </p:stCondLst>
                                        </p:cTn>
                                        <p:tgtEl>
                                          <p:spTgt spid="54"/>
                                        </p:tgtEl>
                                        <p:attrNameLst>
                                          <p:attrName>style.visibility</p:attrName>
                                        </p:attrNameLst>
                                      </p:cBhvr>
                                      <p:to>
                                        <p:strVal val="visible"/>
                                      </p:to>
                                    </p:set>
                                    <p:animEffect transition="in" filter="wipe(left)">
                                      <p:cBhvr>
                                        <p:cTn id="89" dur="500"/>
                                        <p:tgtEl>
                                          <p:spTgt spid="54"/>
                                        </p:tgtEl>
                                      </p:cBhvr>
                                    </p:animEffect>
                                  </p:childTnLst>
                                </p:cTn>
                              </p:par>
                            </p:childTnLst>
                          </p:cTn>
                        </p:par>
                      </p:childTnLst>
                    </p:cTn>
                  </p:par>
                  <p:par>
                    <p:cTn id="90" fill="hold">
                      <p:stCondLst>
                        <p:cond delay="indefinite"/>
                      </p:stCondLst>
                      <p:childTnLst>
                        <p:par>
                          <p:cTn id="91" fill="hold">
                            <p:stCondLst>
                              <p:cond delay="0"/>
                            </p:stCondLst>
                            <p:childTnLst>
                              <p:par>
                                <p:cTn id="92" presetID="22" presetClass="entr" presetSubtype="8" fill="hold" grpId="0" nodeType="clickEffect">
                                  <p:stCondLst>
                                    <p:cond delay="0"/>
                                  </p:stCondLst>
                                  <p:childTnLst>
                                    <p:set>
                                      <p:cBhvr>
                                        <p:cTn id="93" dur="1" fill="hold">
                                          <p:stCondLst>
                                            <p:cond delay="0"/>
                                          </p:stCondLst>
                                        </p:cTn>
                                        <p:tgtEl>
                                          <p:spTgt spid="51"/>
                                        </p:tgtEl>
                                        <p:attrNameLst>
                                          <p:attrName>style.visibility</p:attrName>
                                        </p:attrNameLst>
                                      </p:cBhvr>
                                      <p:to>
                                        <p:strVal val="visible"/>
                                      </p:to>
                                    </p:set>
                                    <p:animEffect transition="in" filter="wipe(left)">
                                      <p:cBhvr>
                                        <p:cTn id="94" dur="500"/>
                                        <p:tgtEl>
                                          <p:spTgt spid="51"/>
                                        </p:tgtEl>
                                      </p:cBhvr>
                                    </p:animEffect>
                                  </p:childTnLst>
                                </p:cTn>
                              </p:par>
                            </p:childTnLst>
                          </p:cTn>
                        </p:par>
                      </p:childTnLst>
                    </p:cTn>
                  </p:par>
                  <p:par>
                    <p:cTn id="95" fill="hold">
                      <p:stCondLst>
                        <p:cond delay="indefinite"/>
                      </p:stCondLst>
                      <p:childTnLst>
                        <p:par>
                          <p:cTn id="96" fill="hold">
                            <p:stCondLst>
                              <p:cond delay="0"/>
                            </p:stCondLst>
                            <p:childTnLst>
                              <p:par>
                                <p:cTn id="97" presetID="22" presetClass="entr" presetSubtype="8" fill="hold" grpId="0" nodeType="clickEffect">
                                  <p:stCondLst>
                                    <p:cond delay="0"/>
                                  </p:stCondLst>
                                  <p:childTnLst>
                                    <p:set>
                                      <p:cBhvr>
                                        <p:cTn id="98" dur="1" fill="hold">
                                          <p:stCondLst>
                                            <p:cond delay="0"/>
                                          </p:stCondLst>
                                        </p:cTn>
                                        <p:tgtEl>
                                          <p:spTgt spid="55"/>
                                        </p:tgtEl>
                                        <p:attrNameLst>
                                          <p:attrName>style.visibility</p:attrName>
                                        </p:attrNameLst>
                                      </p:cBhvr>
                                      <p:to>
                                        <p:strVal val="visible"/>
                                      </p:to>
                                    </p:set>
                                    <p:animEffect transition="in" filter="wipe(left)">
                                      <p:cBhvr>
                                        <p:cTn id="99" dur="500"/>
                                        <p:tgtEl>
                                          <p:spTgt spid="55"/>
                                        </p:tgtEl>
                                      </p:cBhvr>
                                    </p:animEffect>
                                  </p:childTnLst>
                                </p:cTn>
                              </p:par>
                            </p:childTnLst>
                          </p:cTn>
                        </p:par>
                      </p:childTnLst>
                    </p:cTn>
                  </p:par>
                  <p:par>
                    <p:cTn id="100" fill="hold">
                      <p:stCondLst>
                        <p:cond delay="indefinite"/>
                      </p:stCondLst>
                      <p:childTnLst>
                        <p:par>
                          <p:cTn id="101" fill="hold">
                            <p:stCondLst>
                              <p:cond delay="0"/>
                            </p:stCondLst>
                            <p:childTnLst>
                              <p:par>
                                <p:cTn id="102" presetID="22" presetClass="entr" presetSubtype="8" fill="hold" grpId="0" nodeType="clickEffect">
                                  <p:stCondLst>
                                    <p:cond delay="0"/>
                                  </p:stCondLst>
                                  <p:childTnLst>
                                    <p:set>
                                      <p:cBhvr>
                                        <p:cTn id="103" dur="1" fill="hold">
                                          <p:stCondLst>
                                            <p:cond delay="0"/>
                                          </p:stCondLst>
                                        </p:cTn>
                                        <p:tgtEl>
                                          <p:spTgt spid="57"/>
                                        </p:tgtEl>
                                        <p:attrNameLst>
                                          <p:attrName>style.visibility</p:attrName>
                                        </p:attrNameLst>
                                      </p:cBhvr>
                                      <p:to>
                                        <p:strVal val="visible"/>
                                      </p:to>
                                    </p:set>
                                    <p:animEffect transition="in" filter="wipe(left)">
                                      <p:cBhvr>
                                        <p:cTn id="104" dur="500"/>
                                        <p:tgtEl>
                                          <p:spTgt spid="57"/>
                                        </p:tgtEl>
                                      </p:cBhvr>
                                    </p:animEffect>
                                  </p:childTnLst>
                                </p:cTn>
                              </p:par>
                            </p:childTnLst>
                          </p:cTn>
                        </p:par>
                      </p:childTnLst>
                    </p:cTn>
                  </p:par>
                  <p:par>
                    <p:cTn id="105" fill="hold">
                      <p:stCondLst>
                        <p:cond delay="indefinite"/>
                      </p:stCondLst>
                      <p:childTnLst>
                        <p:par>
                          <p:cTn id="106" fill="hold">
                            <p:stCondLst>
                              <p:cond delay="0"/>
                            </p:stCondLst>
                            <p:childTnLst>
                              <p:par>
                                <p:cTn id="107" presetID="22" presetClass="entr" presetSubtype="8" fill="hold" grpId="0" nodeType="clickEffect">
                                  <p:stCondLst>
                                    <p:cond delay="0"/>
                                  </p:stCondLst>
                                  <p:childTnLst>
                                    <p:set>
                                      <p:cBhvr>
                                        <p:cTn id="108" dur="1" fill="hold">
                                          <p:stCondLst>
                                            <p:cond delay="0"/>
                                          </p:stCondLst>
                                        </p:cTn>
                                        <p:tgtEl>
                                          <p:spTgt spid="52"/>
                                        </p:tgtEl>
                                        <p:attrNameLst>
                                          <p:attrName>style.visibility</p:attrName>
                                        </p:attrNameLst>
                                      </p:cBhvr>
                                      <p:to>
                                        <p:strVal val="visible"/>
                                      </p:to>
                                    </p:set>
                                    <p:animEffect transition="in" filter="wipe(left)">
                                      <p:cBhvr>
                                        <p:cTn id="109" dur="500"/>
                                        <p:tgtEl>
                                          <p:spTgt spid="52"/>
                                        </p:tgtEl>
                                      </p:cBhvr>
                                    </p:animEffect>
                                  </p:childTnLst>
                                </p:cTn>
                              </p:par>
                            </p:childTnLst>
                          </p:cTn>
                        </p:par>
                      </p:childTnLst>
                    </p:cTn>
                  </p:par>
                  <p:par>
                    <p:cTn id="110" fill="hold">
                      <p:stCondLst>
                        <p:cond delay="indefinite"/>
                      </p:stCondLst>
                      <p:childTnLst>
                        <p:par>
                          <p:cTn id="111" fill="hold">
                            <p:stCondLst>
                              <p:cond delay="0"/>
                            </p:stCondLst>
                            <p:childTnLst>
                              <p:par>
                                <p:cTn id="112" presetID="22" presetClass="entr" presetSubtype="8" fill="hold" grpId="0" nodeType="clickEffect">
                                  <p:stCondLst>
                                    <p:cond delay="0"/>
                                  </p:stCondLst>
                                  <p:childTnLst>
                                    <p:set>
                                      <p:cBhvr>
                                        <p:cTn id="113" dur="1" fill="hold">
                                          <p:stCondLst>
                                            <p:cond delay="0"/>
                                          </p:stCondLst>
                                        </p:cTn>
                                        <p:tgtEl>
                                          <p:spTgt spid="56"/>
                                        </p:tgtEl>
                                        <p:attrNameLst>
                                          <p:attrName>style.visibility</p:attrName>
                                        </p:attrNameLst>
                                      </p:cBhvr>
                                      <p:to>
                                        <p:strVal val="visible"/>
                                      </p:to>
                                    </p:set>
                                    <p:animEffect transition="in" filter="wipe(left)">
                                      <p:cBhvr>
                                        <p:cTn id="114" dur="500"/>
                                        <p:tgtEl>
                                          <p:spTgt spid="56"/>
                                        </p:tgtEl>
                                      </p:cBhvr>
                                    </p:animEffect>
                                  </p:childTnLst>
                                </p:cTn>
                              </p:par>
                            </p:childTnLst>
                          </p:cTn>
                        </p:par>
                      </p:childTnLst>
                    </p:cTn>
                  </p:par>
                  <p:par>
                    <p:cTn id="115" fill="hold">
                      <p:stCondLst>
                        <p:cond delay="indefinite"/>
                      </p:stCondLst>
                      <p:childTnLst>
                        <p:par>
                          <p:cTn id="116" fill="hold">
                            <p:stCondLst>
                              <p:cond delay="0"/>
                            </p:stCondLst>
                            <p:childTnLst>
                              <p:par>
                                <p:cTn id="117" presetID="22" presetClass="entr" presetSubtype="8" fill="hold" grpId="0" nodeType="clickEffect">
                                  <p:stCondLst>
                                    <p:cond delay="0"/>
                                  </p:stCondLst>
                                  <p:childTnLst>
                                    <p:set>
                                      <p:cBhvr>
                                        <p:cTn id="118" dur="1" fill="hold">
                                          <p:stCondLst>
                                            <p:cond delay="0"/>
                                          </p:stCondLst>
                                        </p:cTn>
                                        <p:tgtEl>
                                          <p:spTgt spid="58"/>
                                        </p:tgtEl>
                                        <p:attrNameLst>
                                          <p:attrName>style.visibility</p:attrName>
                                        </p:attrNameLst>
                                      </p:cBhvr>
                                      <p:to>
                                        <p:strVal val="visible"/>
                                      </p:to>
                                    </p:set>
                                    <p:animEffect transition="in" filter="wipe(left)">
                                      <p:cBhvr>
                                        <p:cTn id="119"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p:bldP spid="47" grpId="0"/>
      <p:bldP spid="48" grpId="0" animBg="1"/>
      <p:bldP spid="49" grpId="0" animBg="1"/>
      <p:bldP spid="50" grpId="0" animBg="1"/>
      <p:bldP spid="51" grpId="0" animBg="1"/>
      <p:bldP spid="52" grpId="0" animBg="1"/>
      <p:bldP spid="53" grpId="0" animBg="1"/>
      <p:bldP spid="54" grpId="0" animBg="1"/>
      <p:bldP spid="55" grpId="0" animBg="1"/>
      <p:bldP spid="56" grpId="0" animBg="1"/>
      <p:bldP spid="57" grpId="0"/>
      <p:bldP spid="58"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7" name="Rectangle 5126">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4D58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129" name="Rectangle 5128">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2C1AFD93-50F1-8C54-1CF0-F374191C4AA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3784" b="96892" l="2000" r="97556">
                        <a14:foregroundMark x1="25222" y1="3784" x2="77444" y2="11216"/>
                        <a14:foregroundMark x1="20667" y1="12027" x2="93556" y2="14730"/>
                        <a14:foregroundMark x1="63000" y1="2432" x2="89333" y2="4324"/>
                        <a14:foregroundMark x1="89333" y1="4324" x2="97222" y2="12568"/>
                        <a14:foregroundMark x1="97222" y1="12568" x2="97556" y2="13784"/>
                        <a14:foregroundMark x1="92333" y1="3784" x2="94222" y2="5676"/>
                        <a14:foregroundMark x1="21556" y1="10946" x2="21778" y2="35000"/>
                        <a14:foregroundMark x1="18000" y1="22027" x2="19778" y2="34054"/>
                        <a14:foregroundMark x1="19778" y1="34054" x2="25667" y2="48378"/>
                        <a14:foregroundMark x1="25667" y1="48378" x2="27111" y2="49865"/>
                        <a14:foregroundMark x1="14556" y1="33514" x2="44556" y2="52703"/>
                        <a14:foregroundMark x1="44556" y1="52703" x2="78222" y2="57838"/>
                        <a14:foregroundMark x1="19444" y1="40135" x2="21667" y2="45811"/>
                        <a14:foregroundMark x1="28000" y1="8243" x2="35000" y2="10676"/>
                        <a14:foregroundMark x1="72000" y1="49595" x2="78556" y2="57838"/>
                        <a14:foregroundMark x1="80667" y1="55946" x2="84556" y2="76757"/>
                        <a14:foregroundMark x1="84556" y1="76757" x2="80667" y2="84595"/>
                        <a14:foregroundMark x1="80667" y1="84595" x2="2000" y2="89324"/>
                        <a14:foregroundMark x1="3000" y1="92162" x2="48556" y2="96892"/>
                        <a14:foregroundMark x1="48556" y1="96892" x2="69556" y2="92568"/>
                        <a14:backgroundMark x1="4111" y1="4865" x2="5667" y2="36622"/>
                        <a14:backgroundMark x1="32889" y1="20946" x2="75333" y2="25135"/>
                      </a14:backgroundRemoval>
                    </a14:imgEffect>
                  </a14:imgLayer>
                </a14:imgProps>
              </a:ext>
            </a:extLst>
          </a:blip>
          <a:stretch>
            <a:fillRect/>
          </a:stretch>
        </p:blipFill>
        <p:spPr>
          <a:xfrm>
            <a:off x="2369422" y="979265"/>
            <a:ext cx="6889064" cy="4771327"/>
          </a:xfrm>
          <a:prstGeom prst="rect">
            <a:avLst/>
          </a:prstGeom>
        </p:spPr>
      </p:pic>
      <p:pic>
        <p:nvPicPr>
          <p:cNvPr id="6" name="Picture 5">
            <a:extLst>
              <a:ext uri="{FF2B5EF4-FFF2-40B4-BE49-F238E27FC236}">
                <a16:creationId xmlns:a16="http://schemas.microsoft.com/office/drawing/2014/main" id="{931BA2A6-39B5-6A73-C79C-6983110C2660}"/>
              </a:ext>
            </a:extLst>
          </p:cNvPr>
          <p:cNvPicPr>
            <a:picLocks noChangeAspect="1"/>
          </p:cNvPicPr>
          <p:nvPr/>
        </p:nvPicPr>
        <p:blipFill>
          <a:blip r:embed="rId6"/>
          <a:stretch>
            <a:fillRect/>
          </a:stretch>
        </p:blipFill>
        <p:spPr>
          <a:xfrm>
            <a:off x="3888190" y="4355462"/>
            <a:ext cx="1805640" cy="1717385"/>
          </a:xfrm>
          <a:prstGeom prst="rect">
            <a:avLst/>
          </a:prstGeom>
        </p:spPr>
      </p:pic>
      <p:pic>
        <p:nvPicPr>
          <p:cNvPr id="7" name="Picture 6">
            <a:extLst>
              <a:ext uri="{FF2B5EF4-FFF2-40B4-BE49-F238E27FC236}">
                <a16:creationId xmlns:a16="http://schemas.microsoft.com/office/drawing/2014/main" id="{A0FC4AFF-E147-52FC-A993-6EBFC3287350}"/>
              </a:ext>
            </a:extLst>
          </p:cNvPr>
          <p:cNvPicPr>
            <a:picLocks noChangeAspect="1"/>
          </p:cNvPicPr>
          <p:nvPr/>
        </p:nvPicPr>
        <p:blipFill>
          <a:blip r:embed="rId6"/>
          <a:stretch>
            <a:fillRect/>
          </a:stretch>
        </p:blipFill>
        <p:spPr>
          <a:xfrm>
            <a:off x="7490472" y="3801863"/>
            <a:ext cx="1805640" cy="1717385"/>
          </a:xfrm>
          <a:prstGeom prst="rect">
            <a:avLst/>
          </a:prstGeom>
        </p:spPr>
      </p:pic>
      <p:pic>
        <p:nvPicPr>
          <p:cNvPr id="8" name="Picture 7">
            <a:extLst>
              <a:ext uri="{FF2B5EF4-FFF2-40B4-BE49-F238E27FC236}">
                <a16:creationId xmlns:a16="http://schemas.microsoft.com/office/drawing/2014/main" id="{F953B314-7198-6DC0-4729-18174EC107D3}"/>
              </a:ext>
            </a:extLst>
          </p:cNvPr>
          <p:cNvPicPr>
            <a:picLocks noChangeAspect="1"/>
          </p:cNvPicPr>
          <p:nvPr/>
        </p:nvPicPr>
        <p:blipFill>
          <a:blip r:embed="rId6"/>
          <a:stretch>
            <a:fillRect/>
          </a:stretch>
        </p:blipFill>
        <p:spPr>
          <a:xfrm>
            <a:off x="3552303" y="2084478"/>
            <a:ext cx="1805640" cy="1717385"/>
          </a:xfrm>
          <a:prstGeom prst="rect">
            <a:avLst/>
          </a:prstGeom>
        </p:spPr>
      </p:pic>
      <p:pic>
        <p:nvPicPr>
          <p:cNvPr id="4" name="Picture 3">
            <a:extLst>
              <a:ext uri="{FF2B5EF4-FFF2-40B4-BE49-F238E27FC236}">
                <a16:creationId xmlns:a16="http://schemas.microsoft.com/office/drawing/2014/main" id="{58F8B7A4-1C8F-5946-6655-522263223583}"/>
              </a:ext>
            </a:extLst>
          </p:cNvPr>
          <p:cNvPicPr>
            <a:picLocks noChangeAspect="1"/>
          </p:cNvPicPr>
          <p:nvPr/>
        </p:nvPicPr>
        <p:blipFill>
          <a:blip r:embed="rId7"/>
          <a:stretch>
            <a:fillRect/>
          </a:stretch>
        </p:blipFill>
        <p:spPr>
          <a:xfrm>
            <a:off x="9296112" y="480060"/>
            <a:ext cx="2381250" cy="2381250"/>
          </a:xfrm>
          <a:prstGeom prst="rect">
            <a:avLst/>
          </a:prstGeom>
        </p:spPr>
      </p:pic>
      <p:pic>
        <p:nvPicPr>
          <p:cNvPr id="2" name="Picture 1" descr="Không có mô tả ảnh.">
            <a:extLst>
              <a:ext uri="{FF2B5EF4-FFF2-40B4-BE49-F238E27FC236}">
                <a16:creationId xmlns:a16="http://schemas.microsoft.com/office/drawing/2014/main" id="{F5BB7E13-839C-B692-C3CB-11E6531DD443}"/>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4415" b="95791" l="9926" r="89578">
                        <a14:foregroundMark x1="41439" y1="7803" x2="57568" y2="15400"/>
                        <a14:foregroundMark x1="48139" y1="4620" x2="59926" y2="15606"/>
                        <a14:foregroundMark x1="30397" y1="26489" x2="54218" y2="42608"/>
                        <a14:foregroundMark x1="57568" y1="22690" x2="70223" y2="37680"/>
                        <a14:foregroundMark x1="55211" y1="26078" x2="67122" y2="33470"/>
                        <a14:foregroundMark x1="29529" y1="30903" x2="43921" y2="36242"/>
                        <a14:foregroundMark x1="36476" y1="29671" x2="41687" y2="29261"/>
                        <a14:foregroundMark x1="36725" y1="24743" x2="42432" y2="29466"/>
                        <a14:foregroundMark x1="48015" y1="89630" x2="46774" y2="94456"/>
                        <a14:foregroundMark x1="62779" y1="89014" x2="65261" y2="94251"/>
                        <a14:foregroundMark x1="58313" y1="92197" x2="63275" y2="95791"/>
                        <a14:foregroundMark x1="33375" y1="28645" x2="32878" y2="39220"/>
                        <a14:foregroundMark x1="59057" y1="28337" x2="67370" y2="30903"/>
                        <a14:foregroundMark x1="62779" y1="24743" x2="66005" y2="34805"/>
                      </a14:backgroundRemoval>
                    </a14:imgEffect>
                  </a14:imgLayer>
                </a14:imgProps>
              </a:ext>
              <a:ext uri="{28A0092B-C50C-407E-A947-70E740481C1C}">
                <a14:useLocalDpi xmlns:a14="http://schemas.microsoft.com/office/drawing/2010/main" val="0"/>
              </a:ext>
            </a:extLst>
          </a:blip>
          <a:stretch>
            <a:fillRect/>
          </a:stretch>
        </p:blipFill>
        <p:spPr bwMode="auto">
          <a:xfrm>
            <a:off x="7265097" y="1875051"/>
            <a:ext cx="2271134" cy="2744574"/>
          </a:xfrm>
          <a:prstGeom prst="rect">
            <a:avLst/>
          </a:prstGeom>
          <a:noFill/>
          <a:extLst>
            <a:ext uri="{909E8E84-426E-40DD-AFC4-6F175D3DCCD1}">
              <a14:hiddenFill xmlns:a14="http://schemas.microsoft.com/office/drawing/2010/main">
                <a:solidFill>
                  <a:srgbClr val="FFFFFF"/>
                </a:solidFill>
              </a14:hiddenFill>
            </a:ext>
          </a:extLst>
        </p:spPr>
      </p:pic>
      <p:pic>
        <p:nvPicPr>
          <p:cNvPr id="10" name="Am-thanh-phep-thuat-www_nhacchuongvui_com">
            <a:hlinkClick r:id="" action="ppaction://media"/>
            <a:extLst>
              <a:ext uri="{FF2B5EF4-FFF2-40B4-BE49-F238E27FC236}">
                <a16:creationId xmlns:a16="http://schemas.microsoft.com/office/drawing/2014/main" id="{E53CE2AC-3D82-D4E7-3980-33653BD6EA64}"/>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1374506" y="6172201"/>
            <a:ext cx="640291" cy="640291"/>
          </a:xfrm>
          <a:prstGeom prst="rect">
            <a:avLst/>
          </a:prstGeom>
        </p:spPr>
      </p:pic>
      <p:pic>
        <p:nvPicPr>
          <p:cNvPr id="3" name="Picture 2">
            <a:extLst>
              <a:ext uri="{FF2B5EF4-FFF2-40B4-BE49-F238E27FC236}">
                <a16:creationId xmlns:a16="http://schemas.microsoft.com/office/drawing/2014/main" id="{62B613F1-F4EF-C6A4-8005-705555E95618}"/>
              </a:ext>
            </a:extLst>
          </p:cNvPr>
          <p:cNvPicPr>
            <a:picLocks noChangeAspect="1"/>
          </p:cNvPicPr>
          <p:nvPr/>
        </p:nvPicPr>
        <p:blipFill>
          <a:blip r:embed="rId6"/>
          <a:stretch>
            <a:fillRect/>
          </a:stretch>
        </p:blipFill>
        <p:spPr>
          <a:xfrm>
            <a:off x="5968865" y="406132"/>
            <a:ext cx="1805640" cy="1717385"/>
          </a:xfrm>
          <a:prstGeom prst="rect">
            <a:avLst/>
          </a:prstGeom>
        </p:spPr>
      </p:pic>
    </p:spTree>
    <p:extLst>
      <p:ext uri="{BB962C8B-B14F-4D97-AF65-F5344CB8AC3E}">
        <p14:creationId xmlns:p14="http://schemas.microsoft.com/office/powerpoint/2010/main" val="405822108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path" presetSubtype="0" accel="50000" decel="50000" fill="hold" nodeType="clickEffect">
                                  <p:stCondLst>
                                    <p:cond delay="0"/>
                                  </p:stCondLst>
                                  <p:childTnLst>
                                    <p:animMotion origin="layout" path="M 1.04167E-6 -1.11111E-6 L -0.09154 -0.00532 C -0.11042 -0.00648 -0.13893 -0.00694 -0.16914 -0.00694 C -0.20274 -0.00694 -0.23034 -0.00648 -0.24935 -0.00532 L -0.33984 -1.11111E-6 " pathEditMode="relative" rAng="0" ptsTypes="AAAAA">
                                      <p:cBhvr>
                                        <p:cTn id="6" dur="2000" fill="hold"/>
                                        <p:tgtEl>
                                          <p:spTgt spid="2"/>
                                        </p:tgtEl>
                                        <p:attrNameLst>
                                          <p:attrName>ppt_x</p:attrName>
                                          <p:attrName>ppt_y</p:attrName>
                                        </p:attrNameLst>
                                      </p:cBhvr>
                                      <p:rCtr x="-16992" y="-347"/>
                                    </p:animMotion>
                                  </p:childTnLst>
                                </p:cTn>
                              </p:par>
                              <p:par>
                                <p:cTn id="7" presetID="1" presetClass="mediacall" presetSubtype="0" fill="hold" nodeType="withEffect">
                                  <p:stCondLst>
                                    <p:cond delay="0"/>
                                  </p:stCondLst>
                                  <p:childTnLst>
                                    <p:cmd type="call" cmd="playFrom(0.0)">
                                      <p:cBhvr>
                                        <p:cTn id="8" dur="5193"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9" fill="hold" display="0">
                  <p:stCondLst>
                    <p:cond delay="indefinite"/>
                  </p:stCondLst>
                  <p:endCondLst>
                    <p:cond evt="onStopAudio" delay="0">
                      <p:tgtEl>
                        <p:sldTgt/>
                      </p:tgtEl>
                    </p:cond>
                  </p:endCondLst>
                </p:cTn>
                <p:tgtEl>
                  <p:spTgt spid="10"/>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01B27662-BD40-44DC-99F5-516479EF16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nsolas"/>
              <a:ea typeface="+mn-ea"/>
              <a:cs typeface="+mn-cs"/>
            </a:endParaRPr>
          </a:p>
        </p:txBody>
      </p:sp>
      <p:sp>
        <p:nvSpPr>
          <p:cNvPr id="15" name="Freeform: Shape 14">
            <a:extLst>
              <a:ext uri="{FF2B5EF4-FFF2-40B4-BE49-F238E27FC236}">
                <a16:creationId xmlns:a16="http://schemas.microsoft.com/office/drawing/2014/main" id="{03D3F3CB-F0EE-4573-876B-6F76CC7709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467534"/>
            <a:ext cx="12192000" cy="2390466"/>
          </a:xfrm>
          <a:custGeom>
            <a:avLst/>
            <a:gdLst>
              <a:gd name="connsiteX0" fmla="*/ 10801045 w 12192000"/>
              <a:gd name="connsiteY0" fmla="*/ 201 h 2390466"/>
              <a:gd name="connsiteX1" fmla="*/ 10821038 w 12192000"/>
              <a:gd name="connsiteY1" fmla="*/ 2915 h 2390466"/>
              <a:gd name="connsiteX2" fmla="*/ 10835633 w 12192000"/>
              <a:gd name="connsiteY2" fmla="*/ 5460 h 2390466"/>
              <a:gd name="connsiteX3" fmla="*/ 10912235 w 12192000"/>
              <a:gd name="connsiteY3" fmla="*/ 11275 h 2390466"/>
              <a:gd name="connsiteX4" fmla="*/ 10996653 w 12192000"/>
              <a:gd name="connsiteY4" fmla="*/ 29720 h 2390466"/>
              <a:gd name="connsiteX5" fmla="*/ 11221749 w 12192000"/>
              <a:gd name="connsiteY5" fmla="*/ 20463 h 2390466"/>
              <a:gd name="connsiteX6" fmla="*/ 11379086 w 12192000"/>
              <a:gd name="connsiteY6" fmla="*/ 32130 h 2390466"/>
              <a:gd name="connsiteX7" fmla="*/ 11594775 w 12192000"/>
              <a:gd name="connsiteY7" fmla="*/ 63178 h 2390466"/>
              <a:gd name="connsiteX8" fmla="*/ 11671329 w 12192000"/>
              <a:gd name="connsiteY8" fmla="*/ 63198 h 2390466"/>
              <a:gd name="connsiteX9" fmla="*/ 11778165 w 12192000"/>
              <a:gd name="connsiteY9" fmla="*/ 89018 h 2390466"/>
              <a:gd name="connsiteX10" fmla="*/ 11815487 w 12192000"/>
              <a:gd name="connsiteY10" fmla="*/ 91973 h 2390466"/>
              <a:gd name="connsiteX11" fmla="*/ 11918614 w 12192000"/>
              <a:gd name="connsiteY11" fmla="*/ 104205 h 2390466"/>
              <a:gd name="connsiteX12" fmla="*/ 12114359 w 12192000"/>
              <a:gd name="connsiteY12" fmla="*/ 120975 h 2390466"/>
              <a:gd name="connsiteX13" fmla="*/ 12154355 w 12192000"/>
              <a:gd name="connsiteY13" fmla="*/ 133176 h 2390466"/>
              <a:gd name="connsiteX14" fmla="*/ 12187428 w 12192000"/>
              <a:gd name="connsiteY14" fmla="*/ 137775 h 2390466"/>
              <a:gd name="connsiteX15" fmla="*/ 12192000 w 12192000"/>
              <a:gd name="connsiteY15" fmla="*/ 138440 h 2390466"/>
              <a:gd name="connsiteX16" fmla="*/ 12192000 w 12192000"/>
              <a:gd name="connsiteY16" fmla="*/ 2390466 h 2390466"/>
              <a:gd name="connsiteX17" fmla="*/ 0 w 12192000"/>
              <a:gd name="connsiteY17" fmla="*/ 2390466 h 2390466"/>
              <a:gd name="connsiteX18" fmla="*/ 0 w 12192000"/>
              <a:gd name="connsiteY18" fmla="*/ 1588774 h 2390466"/>
              <a:gd name="connsiteX19" fmla="*/ 301314 w 12192000"/>
              <a:gd name="connsiteY19" fmla="*/ 1608551 h 2390466"/>
              <a:gd name="connsiteX20" fmla="*/ 542046 w 12192000"/>
              <a:gd name="connsiteY20" fmla="*/ 1590558 h 2390466"/>
              <a:gd name="connsiteX21" fmla="*/ 631576 w 12192000"/>
              <a:gd name="connsiteY21" fmla="*/ 1592277 h 2390466"/>
              <a:gd name="connsiteX22" fmla="*/ 833545 w 12192000"/>
              <a:gd name="connsiteY22" fmla="*/ 1592729 h 2390466"/>
              <a:gd name="connsiteX23" fmla="*/ 938627 w 12192000"/>
              <a:gd name="connsiteY23" fmla="*/ 1594718 h 2390466"/>
              <a:gd name="connsiteX24" fmla="*/ 975769 w 12192000"/>
              <a:gd name="connsiteY24" fmla="*/ 1596068 h 2390466"/>
              <a:gd name="connsiteX25" fmla="*/ 975769 w 12192000"/>
              <a:gd name="connsiteY25" fmla="*/ 358875 h 2390466"/>
              <a:gd name="connsiteX26" fmla="*/ 6340771 w 12192000"/>
              <a:gd name="connsiteY26" fmla="*/ 358875 h 2390466"/>
              <a:gd name="connsiteX27" fmla="*/ 6340771 w 12192000"/>
              <a:gd name="connsiteY27" fmla="*/ 489318 h 2390466"/>
              <a:gd name="connsiteX28" fmla="*/ 6368917 w 12192000"/>
              <a:gd name="connsiteY28" fmla="*/ 487274 h 2390466"/>
              <a:gd name="connsiteX29" fmla="*/ 6406041 w 12192000"/>
              <a:gd name="connsiteY29" fmla="*/ 496082 h 2390466"/>
              <a:gd name="connsiteX30" fmla="*/ 6548466 w 12192000"/>
              <a:gd name="connsiteY30" fmla="*/ 466618 h 2390466"/>
              <a:gd name="connsiteX31" fmla="*/ 6673201 w 12192000"/>
              <a:gd name="connsiteY31" fmla="*/ 450192 h 2390466"/>
              <a:gd name="connsiteX32" fmla="*/ 6686986 w 12192000"/>
              <a:gd name="connsiteY32" fmla="*/ 449182 h 2390466"/>
              <a:gd name="connsiteX33" fmla="*/ 6738693 w 12192000"/>
              <a:gd name="connsiteY33" fmla="*/ 453246 h 2390466"/>
              <a:gd name="connsiteX34" fmla="*/ 6970467 w 12192000"/>
              <a:gd name="connsiteY34" fmla="*/ 419633 h 2390466"/>
              <a:gd name="connsiteX35" fmla="*/ 7042198 w 12192000"/>
              <a:gd name="connsiteY35" fmla="*/ 421879 h 2390466"/>
              <a:gd name="connsiteX36" fmla="*/ 7077073 w 12192000"/>
              <a:gd name="connsiteY36" fmla="*/ 418698 h 2390466"/>
              <a:gd name="connsiteX37" fmla="*/ 7083030 w 12192000"/>
              <a:gd name="connsiteY37" fmla="*/ 418582 h 2390466"/>
              <a:gd name="connsiteX38" fmla="*/ 7124039 w 12192000"/>
              <a:gd name="connsiteY38" fmla="*/ 420736 h 2390466"/>
              <a:gd name="connsiteX39" fmla="*/ 7184925 w 12192000"/>
              <a:gd name="connsiteY39" fmla="*/ 428516 h 2390466"/>
              <a:gd name="connsiteX40" fmla="*/ 7247913 w 12192000"/>
              <a:gd name="connsiteY40" fmla="*/ 444836 h 2390466"/>
              <a:gd name="connsiteX41" fmla="*/ 7284338 w 12192000"/>
              <a:gd name="connsiteY41" fmla="*/ 451699 h 2390466"/>
              <a:gd name="connsiteX42" fmla="*/ 7309614 w 12192000"/>
              <a:gd name="connsiteY42" fmla="*/ 459228 h 2390466"/>
              <a:gd name="connsiteX43" fmla="*/ 7380560 w 12192000"/>
              <a:gd name="connsiteY43" fmla="*/ 464765 h 2390466"/>
              <a:gd name="connsiteX44" fmla="*/ 7500925 w 12192000"/>
              <a:gd name="connsiteY44" fmla="*/ 468250 h 2390466"/>
              <a:gd name="connsiteX45" fmla="*/ 7551687 w 12192000"/>
              <a:gd name="connsiteY45" fmla="*/ 486478 h 2390466"/>
              <a:gd name="connsiteX46" fmla="*/ 7655497 w 12192000"/>
              <a:gd name="connsiteY46" fmla="*/ 485382 h 2390466"/>
              <a:gd name="connsiteX47" fmla="*/ 7678276 w 12192000"/>
              <a:gd name="connsiteY47" fmla="*/ 478273 h 2390466"/>
              <a:gd name="connsiteX48" fmla="*/ 7732190 w 12192000"/>
              <a:gd name="connsiteY48" fmla="*/ 471988 h 2390466"/>
              <a:gd name="connsiteX49" fmla="*/ 7812936 w 12192000"/>
              <a:gd name="connsiteY49" fmla="*/ 451403 h 2390466"/>
              <a:gd name="connsiteX50" fmla="*/ 7901019 w 12192000"/>
              <a:gd name="connsiteY50" fmla="*/ 427394 h 2390466"/>
              <a:gd name="connsiteX51" fmla="*/ 7953628 w 12192000"/>
              <a:gd name="connsiteY51" fmla="*/ 414800 h 2390466"/>
              <a:gd name="connsiteX52" fmla="*/ 7959483 w 12192000"/>
              <a:gd name="connsiteY52" fmla="*/ 413640 h 2390466"/>
              <a:gd name="connsiteX53" fmla="*/ 8000268 w 12192000"/>
              <a:gd name="connsiteY53" fmla="*/ 408559 h 2390466"/>
              <a:gd name="connsiteX54" fmla="*/ 8126468 w 12192000"/>
              <a:gd name="connsiteY54" fmla="*/ 410535 h 2390466"/>
              <a:gd name="connsiteX55" fmla="*/ 8163540 w 12192000"/>
              <a:gd name="connsiteY55" fmla="*/ 410897 h 2390466"/>
              <a:gd name="connsiteX56" fmla="*/ 8189733 w 12192000"/>
              <a:gd name="connsiteY56" fmla="*/ 413869 h 2390466"/>
              <a:gd name="connsiteX57" fmla="*/ 8260604 w 12192000"/>
              <a:gd name="connsiteY57" fmla="*/ 406866 h 2390466"/>
              <a:gd name="connsiteX58" fmla="*/ 8379838 w 12192000"/>
              <a:gd name="connsiteY58" fmla="*/ 389167 h 2390466"/>
              <a:gd name="connsiteX59" fmla="*/ 8433895 w 12192000"/>
              <a:gd name="connsiteY59" fmla="*/ 393057 h 2390466"/>
              <a:gd name="connsiteX60" fmla="*/ 8624741 w 12192000"/>
              <a:gd name="connsiteY60" fmla="*/ 369980 h 2390466"/>
              <a:gd name="connsiteX61" fmla="*/ 8786230 w 12192000"/>
              <a:gd name="connsiteY61" fmla="*/ 358126 h 2390466"/>
              <a:gd name="connsiteX62" fmla="*/ 8911903 w 12192000"/>
              <a:gd name="connsiteY62" fmla="*/ 342099 h 2390466"/>
              <a:gd name="connsiteX63" fmla="*/ 9182090 w 12192000"/>
              <a:gd name="connsiteY63" fmla="*/ 301277 h 2390466"/>
              <a:gd name="connsiteX64" fmla="*/ 9196066 w 12192000"/>
              <a:gd name="connsiteY64" fmla="*/ 291440 h 2390466"/>
              <a:gd name="connsiteX65" fmla="*/ 9249142 w 12192000"/>
              <a:gd name="connsiteY65" fmla="*/ 276200 h 2390466"/>
              <a:gd name="connsiteX66" fmla="*/ 9316564 w 12192000"/>
              <a:gd name="connsiteY66" fmla="*/ 259543 h 2390466"/>
              <a:gd name="connsiteX67" fmla="*/ 9317108 w 12192000"/>
              <a:gd name="connsiteY67" fmla="*/ 260495 h 2390466"/>
              <a:gd name="connsiteX68" fmla="*/ 9348338 w 12192000"/>
              <a:gd name="connsiteY68" fmla="*/ 264323 h 2390466"/>
              <a:gd name="connsiteX69" fmla="*/ 9473084 w 12192000"/>
              <a:gd name="connsiteY69" fmla="*/ 266063 h 2390466"/>
              <a:gd name="connsiteX70" fmla="*/ 9478478 w 12192000"/>
              <a:gd name="connsiteY70" fmla="*/ 266804 h 2390466"/>
              <a:gd name="connsiteX71" fmla="*/ 9715853 w 12192000"/>
              <a:gd name="connsiteY71" fmla="*/ 258126 h 2390466"/>
              <a:gd name="connsiteX72" fmla="*/ 9818432 w 12192000"/>
              <a:gd name="connsiteY72" fmla="*/ 252883 h 2390466"/>
              <a:gd name="connsiteX73" fmla="*/ 9904781 w 12192000"/>
              <a:gd name="connsiteY73" fmla="*/ 257651 h 2390466"/>
              <a:gd name="connsiteX74" fmla="*/ 10027169 w 12192000"/>
              <a:gd name="connsiteY74" fmla="*/ 245494 h 2390466"/>
              <a:gd name="connsiteX75" fmla="*/ 10133939 w 12192000"/>
              <a:gd name="connsiteY75" fmla="*/ 205160 h 2390466"/>
              <a:gd name="connsiteX76" fmla="*/ 10149756 w 12192000"/>
              <a:gd name="connsiteY76" fmla="*/ 197031 h 2390466"/>
              <a:gd name="connsiteX77" fmla="*/ 10314272 w 12192000"/>
              <a:gd name="connsiteY77" fmla="*/ 148538 h 2390466"/>
              <a:gd name="connsiteX78" fmla="*/ 10432944 w 12192000"/>
              <a:gd name="connsiteY78" fmla="*/ 122284 h 2390466"/>
              <a:gd name="connsiteX79" fmla="*/ 10554052 w 12192000"/>
              <a:gd name="connsiteY79" fmla="*/ 72143 h 2390466"/>
              <a:gd name="connsiteX80" fmla="*/ 10757451 w 12192000"/>
              <a:gd name="connsiteY80" fmla="*/ 6065 h 2390466"/>
              <a:gd name="connsiteX81" fmla="*/ 10801045 w 12192000"/>
              <a:gd name="connsiteY81" fmla="*/ 201 h 2390466"/>
              <a:gd name="connsiteX0" fmla="*/ 10801045 w 12192000"/>
              <a:gd name="connsiteY0" fmla="*/ 201 h 2390466"/>
              <a:gd name="connsiteX1" fmla="*/ 10821038 w 12192000"/>
              <a:gd name="connsiteY1" fmla="*/ 2915 h 2390466"/>
              <a:gd name="connsiteX2" fmla="*/ 10835633 w 12192000"/>
              <a:gd name="connsiteY2" fmla="*/ 5460 h 2390466"/>
              <a:gd name="connsiteX3" fmla="*/ 10912235 w 12192000"/>
              <a:gd name="connsiteY3" fmla="*/ 11275 h 2390466"/>
              <a:gd name="connsiteX4" fmla="*/ 10996653 w 12192000"/>
              <a:gd name="connsiteY4" fmla="*/ 29720 h 2390466"/>
              <a:gd name="connsiteX5" fmla="*/ 11221749 w 12192000"/>
              <a:gd name="connsiteY5" fmla="*/ 20463 h 2390466"/>
              <a:gd name="connsiteX6" fmla="*/ 11379086 w 12192000"/>
              <a:gd name="connsiteY6" fmla="*/ 32130 h 2390466"/>
              <a:gd name="connsiteX7" fmla="*/ 11594775 w 12192000"/>
              <a:gd name="connsiteY7" fmla="*/ 63178 h 2390466"/>
              <a:gd name="connsiteX8" fmla="*/ 11671329 w 12192000"/>
              <a:gd name="connsiteY8" fmla="*/ 63198 h 2390466"/>
              <a:gd name="connsiteX9" fmla="*/ 11778165 w 12192000"/>
              <a:gd name="connsiteY9" fmla="*/ 89018 h 2390466"/>
              <a:gd name="connsiteX10" fmla="*/ 11815487 w 12192000"/>
              <a:gd name="connsiteY10" fmla="*/ 91973 h 2390466"/>
              <a:gd name="connsiteX11" fmla="*/ 11918614 w 12192000"/>
              <a:gd name="connsiteY11" fmla="*/ 104205 h 2390466"/>
              <a:gd name="connsiteX12" fmla="*/ 12114359 w 12192000"/>
              <a:gd name="connsiteY12" fmla="*/ 120975 h 2390466"/>
              <a:gd name="connsiteX13" fmla="*/ 12154355 w 12192000"/>
              <a:gd name="connsiteY13" fmla="*/ 133176 h 2390466"/>
              <a:gd name="connsiteX14" fmla="*/ 12187428 w 12192000"/>
              <a:gd name="connsiteY14" fmla="*/ 137775 h 2390466"/>
              <a:gd name="connsiteX15" fmla="*/ 12192000 w 12192000"/>
              <a:gd name="connsiteY15" fmla="*/ 138440 h 2390466"/>
              <a:gd name="connsiteX16" fmla="*/ 12192000 w 12192000"/>
              <a:gd name="connsiteY16" fmla="*/ 2390466 h 2390466"/>
              <a:gd name="connsiteX17" fmla="*/ 0 w 12192000"/>
              <a:gd name="connsiteY17" fmla="*/ 2390466 h 2390466"/>
              <a:gd name="connsiteX18" fmla="*/ 0 w 12192000"/>
              <a:gd name="connsiteY18" fmla="*/ 1588774 h 2390466"/>
              <a:gd name="connsiteX19" fmla="*/ 301314 w 12192000"/>
              <a:gd name="connsiteY19" fmla="*/ 1608551 h 2390466"/>
              <a:gd name="connsiteX20" fmla="*/ 542046 w 12192000"/>
              <a:gd name="connsiteY20" fmla="*/ 1590558 h 2390466"/>
              <a:gd name="connsiteX21" fmla="*/ 631576 w 12192000"/>
              <a:gd name="connsiteY21" fmla="*/ 1592277 h 2390466"/>
              <a:gd name="connsiteX22" fmla="*/ 833545 w 12192000"/>
              <a:gd name="connsiteY22" fmla="*/ 1592729 h 2390466"/>
              <a:gd name="connsiteX23" fmla="*/ 938627 w 12192000"/>
              <a:gd name="connsiteY23" fmla="*/ 1594718 h 2390466"/>
              <a:gd name="connsiteX24" fmla="*/ 975769 w 12192000"/>
              <a:gd name="connsiteY24" fmla="*/ 1596068 h 2390466"/>
              <a:gd name="connsiteX25" fmla="*/ 1834937 w 12192000"/>
              <a:gd name="connsiteY25" fmla="*/ 1549436 h 2390466"/>
              <a:gd name="connsiteX26" fmla="*/ 6340771 w 12192000"/>
              <a:gd name="connsiteY26" fmla="*/ 358875 h 2390466"/>
              <a:gd name="connsiteX27" fmla="*/ 6340771 w 12192000"/>
              <a:gd name="connsiteY27" fmla="*/ 489318 h 2390466"/>
              <a:gd name="connsiteX28" fmla="*/ 6368917 w 12192000"/>
              <a:gd name="connsiteY28" fmla="*/ 487274 h 2390466"/>
              <a:gd name="connsiteX29" fmla="*/ 6406041 w 12192000"/>
              <a:gd name="connsiteY29" fmla="*/ 496082 h 2390466"/>
              <a:gd name="connsiteX30" fmla="*/ 6548466 w 12192000"/>
              <a:gd name="connsiteY30" fmla="*/ 466618 h 2390466"/>
              <a:gd name="connsiteX31" fmla="*/ 6673201 w 12192000"/>
              <a:gd name="connsiteY31" fmla="*/ 450192 h 2390466"/>
              <a:gd name="connsiteX32" fmla="*/ 6686986 w 12192000"/>
              <a:gd name="connsiteY32" fmla="*/ 449182 h 2390466"/>
              <a:gd name="connsiteX33" fmla="*/ 6738693 w 12192000"/>
              <a:gd name="connsiteY33" fmla="*/ 453246 h 2390466"/>
              <a:gd name="connsiteX34" fmla="*/ 6970467 w 12192000"/>
              <a:gd name="connsiteY34" fmla="*/ 419633 h 2390466"/>
              <a:gd name="connsiteX35" fmla="*/ 7042198 w 12192000"/>
              <a:gd name="connsiteY35" fmla="*/ 421879 h 2390466"/>
              <a:gd name="connsiteX36" fmla="*/ 7077073 w 12192000"/>
              <a:gd name="connsiteY36" fmla="*/ 418698 h 2390466"/>
              <a:gd name="connsiteX37" fmla="*/ 7083030 w 12192000"/>
              <a:gd name="connsiteY37" fmla="*/ 418582 h 2390466"/>
              <a:gd name="connsiteX38" fmla="*/ 7124039 w 12192000"/>
              <a:gd name="connsiteY38" fmla="*/ 420736 h 2390466"/>
              <a:gd name="connsiteX39" fmla="*/ 7184925 w 12192000"/>
              <a:gd name="connsiteY39" fmla="*/ 428516 h 2390466"/>
              <a:gd name="connsiteX40" fmla="*/ 7247913 w 12192000"/>
              <a:gd name="connsiteY40" fmla="*/ 444836 h 2390466"/>
              <a:gd name="connsiteX41" fmla="*/ 7284338 w 12192000"/>
              <a:gd name="connsiteY41" fmla="*/ 451699 h 2390466"/>
              <a:gd name="connsiteX42" fmla="*/ 7309614 w 12192000"/>
              <a:gd name="connsiteY42" fmla="*/ 459228 h 2390466"/>
              <a:gd name="connsiteX43" fmla="*/ 7380560 w 12192000"/>
              <a:gd name="connsiteY43" fmla="*/ 464765 h 2390466"/>
              <a:gd name="connsiteX44" fmla="*/ 7500925 w 12192000"/>
              <a:gd name="connsiteY44" fmla="*/ 468250 h 2390466"/>
              <a:gd name="connsiteX45" fmla="*/ 7551687 w 12192000"/>
              <a:gd name="connsiteY45" fmla="*/ 486478 h 2390466"/>
              <a:gd name="connsiteX46" fmla="*/ 7655497 w 12192000"/>
              <a:gd name="connsiteY46" fmla="*/ 485382 h 2390466"/>
              <a:gd name="connsiteX47" fmla="*/ 7678276 w 12192000"/>
              <a:gd name="connsiteY47" fmla="*/ 478273 h 2390466"/>
              <a:gd name="connsiteX48" fmla="*/ 7732190 w 12192000"/>
              <a:gd name="connsiteY48" fmla="*/ 471988 h 2390466"/>
              <a:gd name="connsiteX49" fmla="*/ 7812936 w 12192000"/>
              <a:gd name="connsiteY49" fmla="*/ 451403 h 2390466"/>
              <a:gd name="connsiteX50" fmla="*/ 7901019 w 12192000"/>
              <a:gd name="connsiteY50" fmla="*/ 427394 h 2390466"/>
              <a:gd name="connsiteX51" fmla="*/ 7953628 w 12192000"/>
              <a:gd name="connsiteY51" fmla="*/ 414800 h 2390466"/>
              <a:gd name="connsiteX52" fmla="*/ 7959483 w 12192000"/>
              <a:gd name="connsiteY52" fmla="*/ 413640 h 2390466"/>
              <a:gd name="connsiteX53" fmla="*/ 8000268 w 12192000"/>
              <a:gd name="connsiteY53" fmla="*/ 408559 h 2390466"/>
              <a:gd name="connsiteX54" fmla="*/ 8126468 w 12192000"/>
              <a:gd name="connsiteY54" fmla="*/ 410535 h 2390466"/>
              <a:gd name="connsiteX55" fmla="*/ 8163540 w 12192000"/>
              <a:gd name="connsiteY55" fmla="*/ 410897 h 2390466"/>
              <a:gd name="connsiteX56" fmla="*/ 8189733 w 12192000"/>
              <a:gd name="connsiteY56" fmla="*/ 413869 h 2390466"/>
              <a:gd name="connsiteX57" fmla="*/ 8260604 w 12192000"/>
              <a:gd name="connsiteY57" fmla="*/ 406866 h 2390466"/>
              <a:gd name="connsiteX58" fmla="*/ 8379838 w 12192000"/>
              <a:gd name="connsiteY58" fmla="*/ 389167 h 2390466"/>
              <a:gd name="connsiteX59" fmla="*/ 8433895 w 12192000"/>
              <a:gd name="connsiteY59" fmla="*/ 393057 h 2390466"/>
              <a:gd name="connsiteX60" fmla="*/ 8624741 w 12192000"/>
              <a:gd name="connsiteY60" fmla="*/ 369980 h 2390466"/>
              <a:gd name="connsiteX61" fmla="*/ 8786230 w 12192000"/>
              <a:gd name="connsiteY61" fmla="*/ 358126 h 2390466"/>
              <a:gd name="connsiteX62" fmla="*/ 8911903 w 12192000"/>
              <a:gd name="connsiteY62" fmla="*/ 342099 h 2390466"/>
              <a:gd name="connsiteX63" fmla="*/ 9182090 w 12192000"/>
              <a:gd name="connsiteY63" fmla="*/ 301277 h 2390466"/>
              <a:gd name="connsiteX64" fmla="*/ 9196066 w 12192000"/>
              <a:gd name="connsiteY64" fmla="*/ 291440 h 2390466"/>
              <a:gd name="connsiteX65" fmla="*/ 9249142 w 12192000"/>
              <a:gd name="connsiteY65" fmla="*/ 276200 h 2390466"/>
              <a:gd name="connsiteX66" fmla="*/ 9316564 w 12192000"/>
              <a:gd name="connsiteY66" fmla="*/ 259543 h 2390466"/>
              <a:gd name="connsiteX67" fmla="*/ 9317108 w 12192000"/>
              <a:gd name="connsiteY67" fmla="*/ 260495 h 2390466"/>
              <a:gd name="connsiteX68" fmla="*/ 9348338 w 12192000"/>
              <a:gd name="connsiteY68" fmla="*/ 264323 h 2390466"/>
              <a:gd name="connsiteX69" fmla="*/ 9473084 w 12192000"/>
              <a:gd name="connsiteY69" fmla="*/ 266063 h 2390466"/>
              <a:gd name="connsiteX70" fmla="*/ 9478478 w 12192000"/>
              <a:gd name="connsiteY70" fmla="*/ 266804 h 2390466"/>
              <a:gd name="connsiteX71" fmla="*/ 9715853 w 12192000"/>
              <a:gd name="connsiteY71" fmla="*/ 258126 h 2390466"/>
              <a:gd name="connsiteX72" fmla="*/ 9818432 w 12192000"/>
              <a:gd name="connsiteY72" fmla="*/ 252883 h 2390466"/>
              <a:gd name="connsiteX73" fmla="*/ 9904781 w 12192000"/>
              <a:gd name="connsiteY73" fmla="*/ 257651 h 2390466"/>
              <a:gd name="connsiteX74" fmla="*/ 10027169 w 12192000"/>
              <a:gd name="connsiteY74" fmla="*/ 245494 h 2390466"/>
              <a:gd name="connsiteX75" fmla="*/ 10133939 w 12192000"/>
              <a:gd name="connsiteY75" fmla="*/ 205160 h 2390466"/>
              <a:gd name="connsiteX76" fmla="*/ 10149756 w 12192000"/>
              <a:gd name="connsiteY76" fmla="*/ 197031 h 2390466"/>
              <a:gd name="connsiteX77" fmla="*/ 10314272 w 12192000"/>
              <a:gd name="connsiteY77" fmla="*/ 148538 h 2390466"/>
              <a:gd name="connsiteX78" fmla="*/ 10432944 w 12192000"/>
              <a:gd name="connsiteY78" fmla="*/ 122284 h 2390466"/>
              <a:gd name="connsiteX79" fmla="*/ 10554052 w 12192000"/>
              <a:gd name="connsiteY79" fmla="*/ 72143 h 2390466"/>
              <a:gd name="connsiteX80" fmla="*/ 10757451 w 12192000"/>
              <a:gd name="connsiteY80" fmla="*/ 6065 h 2390466"/>
              <a:gd name="connsiteX81" fmla="*/ 10801045 w 12192000"/>
              <a:gd name="connsiteY81" fmla="*/ 201 h 2390466"/>
              <a:gd name="connsiteX0" fmla="*/ 10801045 w 12192000"/>
              <a:gd name="connsiteY0" fmla="*/ 201 h 2390466"/>
              <a:gd name="connsiteX1" fmla="*/ 10821038 w 12192000"/>
              <a:gd name="connsiteY1" fmla="*/ 2915 h 2390466"/>
              <a:gd name="connsiteX2" fmla="*/ 10835633 w 12192000"/>
              <a:gd name="connsiteY2" fmla="*/ 5460 h 2390466"/>
              <a:gd name="connsiteX3" fmla="*/ 10912235 w 12192000"/>
              <a:gd name="connsiteY3" fmla="*/ 11275 h 2390466"/>
              <a:gd name="connsiteX4" fmla="*/ 10996653 w 12192000"/>
              <a:gd name="connsiteY4" fmla="*/ 29720 h 2390466"/>
              <a:gd name="connsiteX5" fmla="*/ 11221749 w 12192000"/>
              <a:gd name="connsiteY5" fmla="*/ 20463 h 2390466"/>
              <a:gd name="connsiteX6" fmla="*/ 11379086 w 12192000"/>
              <a:gd name="connsiteY6" fmla="*/ 32130 h 2390466"/>
              <a:gd name="connsiteX7" fmla="*/ 11594775 w 12192000"/>
              <a:gd name="connsiteY7" fmla="*/ 63178 h 2390466"/>
              <a:gd name="connsiteX8" fmla="*/ 11671329 w 12192000"/>
              <a:gd name="connsiteY8" fmla="*/ 63198 h 2390466"/>
              <a:gd name="connsiteX9" fmla="*/ 11778165 w 12192000"/>
              <a:gd name="connsiteY9" fmla="*/ 89018 h 2390466"/>
              <a:gd name="connsiteX10" fmla="*/ 11815487 w 12192000"/>
              <a:gd name="connsiteY10" fmla="*/ 91973 h 2390466"/>
              <a:gd name="connsiteX11" fmla="*/ 11918614 w 12192000"/>
              <a:gd name="connsiteY11" fmla="*/ 104205 h 2390466"/>
              <a:gd name="connsiteX12" fmla="*/ 12114359 w 12192000"/>
              <a:gd name="connsiteY12" fmla="*/ 120975 h 2390466"/>
              <a:gd name="connsiteX13" fmla="*/ 12154355 w 12192000"/>
              <a:gd name="connsiteY13" fmla="*/ 133176 h 2390466"/>
              <a:gd name="connsiteX14" fmla="*/ 12187428 w 12192000"/>
              <a:gd name="connsiteY14" fmla="*/ 137775 h 2390466"/>
              <a:gd name="connsiteX15" fmla="*/ 12192000 w 12192000"/>
              <a:gd name="connsiteY15" fmla="*/ 138440 h 2390466"/>
              <a:gd name="connsiteX16" fmla="*/ 12192000 w 12192000"/>
              <a:gd name="connsiteY16" fmla="*/ 2390466 h 2390466"/>
              <a:gd name="connsiteX17" fmla="*/ 0 w 12192000"/>
              <a:gd name="connsiteY17" fmla="*/ 2390466 h 2390466"/>
              <a:gd name="connsiteX18" fmla="*/ 0 w 12192000"/>
              <a:gd name="connsiteY18" fmla="*/ 1588774 h 2390466"/>
              <a:gd name="connsiteX19" fmla="*/ 301314 w 12192000"/>
              <a:gd name="connsiteY19" fmla="*/ 1608551 h 2390466"/>
              <a:gd name="connsiteX20" fmla="*/ 542046 w 12192000"/>
              <a:gd name="connsiteY20" fmla="*/ 1590558 h 2390466"/>
              <a:gd name="connsiteX21" fmla="*/ 631576 w 12192000"/>
              <a:gd name="connsiteY21" fmla="*/ 1592277 h 2390466"/>
              <a:gd name="connsiteX22" fmla="*/ 833545 w 12192000"/>
              <a:gd name="connsiteY22" fmla="*/ 1592729 h 2390466"/>
              <a:gd name="connsiteX23" fmla="*/ 938627 w 12192000"/>
              <a:gd name="connsiteY23" fmla="*/ 1594718 h 2390466"/>
              <a:gd name="connsiteX24" fmla="*/ 975769 w 12192000"/>
              <a:gd name="connsiteY24" fmla="*/ 1596068 h 2390466"/>
              <a:gd name="connsiteX25" fmla="*/ 1834937 w 12192000"/>
              <a:gd name="connsiteY25" fmla="*/ 1549436 h 2390466"/>
              <a:gd name="connsiteX26" fmla="*/ 4867911 w 12192000"/>
              <a:gd name="connsiteY26" fmla="*/ 911197 h 2390466"/>
              <a:gd name="connsiteX27" fmla="*/ 6340771 w 12192000"/>
              <a:gd name="connsiteY27" fmla="*/ 489318 h 2390466"/>
              <a:gd name="connsiteX28" fmla="*/ 6368917 w 12192000"/>
              <a:gd name="connsiteY28" fmla="*/ 487274 h 2390466"/>
              <a:gd name="connsiteX29" fmla="*/ 6406041 w 12192000"/>
              <a:gd name="connsiteY29" fmla="*/ 496082 h 2390466"/>
              <a:gd name="connsiteX30" fmla="*/ 6548466 w 12192000"/>
              <a:gd name="connsiteY30" fmla="*/ 466618 h 2390466"/>
              <a:gd name="connsiteX31" fmla="*/ 6673201 w 12192000"/>
              <a:gd name="connsiteY31" fmla="*/ 450192 h 2390466"/>
              <a:gd name="connsiteX32" fmla="*/ 6686986 w 12192000"/>
              <a:gd name="connsiteY32" fmla="*/ 449182 h 2390466"/>
              <a:gd name="connsiteX33" fmla="*/ 6738693 w 12192000"/>
              <a:gd name="connsiteY33" fmla="*/ 453246 h 2390466"/>
              <a:gd name="connsiteX34" fmla="*/ 6970467 w 12192000"/>
              <a:gd name="connsiteY34" fmla="*/ 419633 h 2390466"/>
              <a:gd name="connsiteX35" fmla="*/ 7042198 w 12192000"/>
              <a:gd name="connsiteY35" fmla="*/ 421879 h 2390466"/>
              <a:gd name="connsiteX36" fmla="*/ 7077073 w 12192000"/>
              <a:gd name="connsiteY36" fmla="*/ 418698 h 2390466"/>
              <a:gd name="connsiteX37" fmla="*/ 7083030 w 12192000"/>
              <a:gd name="connsiteY37" fmla="*/ 418582 h 2390466"/>
              <a:gd name="connsiteX38" fmla="*/ 7124039 w 12192000"/>
              <a:gd name="connsiteY38" fmla="*/ 420736 h 2390466"/>
              <a:gd name="connsiteX39" fmla="*/ 7184925 w 12192000"/>
              <a:gd name="connsiteY39" fmla="*/ 428516 h 2390466"/>
              <a:gd name="connsiteX40" fmla="*/ 7247913 w 12192000"/>
              <a:gd name="connsiteY40" fmla="*/ 444836 h 2390466"/>
              <a:gd name="connsiteX41" fmla="*/ 7284338 w 12192000"/>
              <a:gd name="connsiteY41" fmla="*/ 451699 h 2390466"/>
              <a:gd name="connsiteX42" fmla="*/ 7309614 w 12192000"/>
              <a:gd name="connsiteY42" fmla="*/ 459228 h 2390466"/>
              <a:gd name="connsiteX43" fmla="*/ 7380560 w 12192000"/>
              <a:gd name="connsiteY43" fmla="*/ 464765 h 2390466"/>
              <a:gd name="connsiteX44" fmla="*/ 7500925 w 12192000"/>
              <a:gd name="connsiteY44" fmla="*/ 468250 h 2390466"/>
              <a:gd name="connsiteX45" fmla="*/ 7551687 w 12192000"/>
              <a:gd name="connsiteY45" fmla="*/ 486478 h 2390466"/>
              <a:gd name="connsiteX46" fmla="*/ 7655497 w 12192000"/>
              <a:gd name="connsiteY46" fmla="*/ 485382 h 2390466"/>
              <a:gd name="connsiteX47" fmla="*/ 7678276 w 12192000"/>
              <a:gd name="connsiteY47" fmla="*/ 478273 h 2390466"/>
              <a:gd name="connsiteX48" fmla="*/ 7732190 w 12192000"/>
              <a:gd name="connsiteY48" fmla="*/ 471988 h 2390466"/>
              <a:gd name="connsiteX49" fmla="*/ 7812936 w 12192000"/>
              <a:gd name="connsiteY49" fmla="*/ 451403 h 2390466"/>
              <a:gd name="connsiteX50" fmla="*/ 7901019 w 12192000"/>
              <a:gd name="connsiteY50" fmla="*/ 427394 h 2390466"/>
              <a:gd name="connsiteX51" fmla="*/ 7953628 w 12192000"/>
              <a:gd name="connsiteY51" fmla="*/ 414800 h 2390466"/>
              <a:gd name="connsiteX52" fmla="*/ 7959483 w 12192000"/>
              <a:gd name="connsiteY52" fmla="*/ 413640 h 2390466"/>
              <a:gd name="connsiteX53" fmla="*/ 8000268 w 12192000"/>
              <a:gd name="connsiteY53" fmla="*/ 408559 h 2390466"/>
              <a:gd name="connsiteX54" fmla="*/ 8126468 w 12192000"/>
              <a:gd name="connsiteY54" fmla="*/ 410535 h 2390466"/>
              <a:gd name="connsiteX55" fmla="*/ 8163540 w 12192000"/>
              <a:gd name="connsiteY55" fmla="*/ 410897 h 2390466"/>
              <a:gd name="connsiteX56" fmla="*/ 8189733 w 12192000"/>
              <a:gd name="connsiteY56" fmla="*/ 413869 h 2390466"/>
              <a:gd name="connsiteX57" fmla="*/ 8260604 w 12192000"/>
              <a:gd name="connsiteY57" fmla="*/ 406866 h 2390466"/>
              <a:gd name="connsiteX58" fmla="*/ 8379838 w 12192000"/>
              <a:gd name="connsiteY58" fmla="*/ 389167 h 2390466"/>
              <a:gd name="connsiteX59" fmla="*/ 8433895 w 12192000"/>
              <a:gd name="connsiteY59" fmla="*/ 393057 h 2390466"/>
              <a:gd name="connsiteX60" fmla="*/ 8624741 w 12192000"/>
              <a:gd name="connsiteY60" fmla="*/ 369980 h 2390466"/>
              <a:gd name="connsiteX61" fmla="*/ 8786230 w 12192000"/>
              <a:gd name="connsiteY61" fmla="*/ 358126 h 2390466"/>
              <a:gd name="connsiteX62" fmla="*/ 8911903 w 12192000"/>
              <a:gd name="connsiteY62" fmla="*/ 342099 h 2390466"/>
              <a:gd name="connsiteX63" fmla="*/ 9182090 w 12192000"/>
              <a:gd name="connsiteY63" fmla="*/ 301277 h 2390466"/>
              <a:gd name="connsiteX64" fmla="*/ 9196066 w 12192000"/>
              <a:gd name="connsiteY64" fmla="*/ 291440 h 2390466"/>
              <a:gd name="connsiteX65" fmla="*/ 9249142 w 12192000"/>
              <a:gd name="connsiteY65" fmla="*/ 276200 h 2390466"/>
              <a:gd name="connsiteX66" fmla="*/ 9316564 w 12192000"/>
              <a:gd name="connsiteY66" fmla="*/ 259543 h 2390466"/>
              <a:gd name="connsiteX67" fmla="*/ 9317108 w 12192000"/>
              <a:gd name="connsiteY67" fmla="*/ 260495 h 2390466"/>
              <a:gd name="connsiteX68" fmla="*/ 9348338 w 12192000"/>
              <a:gd name="connsiteY68" fmla="*/ 264323 h 2390466"/>
              <a:gd name="connsiteX69" fmla="*/ 9473084 w 12192000"/>
              <a:gd name="connsiteY69" fmla="*/ 266063 h 2390466"/>
              <a:gd name="connsiteX70" fmla="*/ 9478478 w 12192000"/>
              <a:gd name="connsiteY70" fmla="*/ 266804 h 2390466"/>
              <a:gd name="connsiteX71" fmla="*/ 9715853 w 12192000"/>
              <a:gd name="connsiteY71" fmla="*/ 258126 h 2390466"/>
              <a:gd name="connsiteX72" fmla="*/ 9818432 w 12192000"/>
              <a:gd name="connsiteY72" fmla="*/ 252883 h 2390466"/>
              <a:gd name="connsiteX73" fmla="*/ 9904781 w 12192000"/>
              <a:gd name="connsiteY73" fmla="*/ 257651 h 2390466"/>
              <a:gd name="connsiteX74" fmla="*/ 10027169 w 12192000"/>
              <a:gd name="connsiteY74" fmla="*/ 245494 h 2390466"/>
              <a:gd name="connsiteX75" fmla="*/ 10133939 w 12192000"/>
              <a:gd name="connsiteY75" fmla="*/ 205160 h 2390466"/>
              <a:gd name="connsiteX76" fmla="*/ 10149756 w 12192000"/>
              <a:gd name="connsiteY76" fmla="*/ 197031 h 2390466"/>
              <a:gd name="connsiteX77" fmla="*/ 10314272 w 12192000"/>
              <a:gd name="connsiteY77" fmla="*/ 148538 h 2390466"/>
              <a:gd name="connsiteX78" fmla="*/ 10432944 w 12192000"/>
              <a:gd name="connsiteY78" fmla="*/ 122284 h 2390466"/>
              <a:gd name="connsiteX79" fmla="*/ 10554052 w 12192000"/>
              <a:gd name="connsiteY79" fmla="*/ 72143 h 2390466"/>
              <a:gd name="connsiteX80" fmla="*/ 10757451 w 12192000"/>
              <a:gd name="connsiteY80" fmla="*/ 6065 h 2390466"/>
              <a:gd name="connsiteX81" fmla="*/ 10801045 w 12192000"/>
              <a:gd name="connsiteY81" fmla="*/ 201 h 2390466"/>
              <a:gd name="connsiteX0" fmla="*/ 10801045 w 12192000"/>
              <a:gd name="connsiteY0" fmla="*/ 201 h 2390466"/>
              <a:gd name="connsiteX1" fmla="*/ 10821038 w 12192000"/>
              <a:gd name="connsiteY1" fmla="*/ 2915 h 2390466"/>
              <a:gd name="connsiteX2" fmla="*/ 10835633 w 12192000"/>
              <a:gd name="connsiteY2" fmla="*/ 5460 h 2390466"/>
              <a:gd name="connsiteX3" fmla="*/ 10912235 w 12192000"/>
              <a:gd name="connsiteY3" fmla="*/ 11275 h 2390466"/>
              <a:gd name="connsiteX4" fmla="*/ 10996653 w 12192000"/>
              <a:gd name="connsiteY4" fmla="*/ 29720 h 2390466"/>
              <a:gd name="connsiteX5" fmla="*/ 11221749 w 12192000"/>
              <a:gd name="connsiteY5" fmla="*/ 20463 h 2390466"/>
              <a:gd name="connsiteX6" fmla="*/ 11379086 w 12192000"/>
              <a:gd name="connsiteY6" fmla="*/ 32130 h 2390466"/>
              <a:gd name="connsiteX7" fmla="*/ 11594775 w 12192000"/>
              <a:gd name="connsiteY7" fmla="*/ 63178 h 2390466"/>
              <a:gd name="connsiteX8" fmla="*/ 11671329 w 12192000"/>
              <a:gd name="connsiteY8" fmla="*/ 63198 h 2390466"/>
              <a:gd name="connsiteX9" fmla="*/ 11778165 w 12192000"/>
              <a:gd name="connsiteY9" fmla="*/ 89018 h 2390466"/>
              <a:gd name="connsiteX10" fmla="*/ 11815487 w 12192000"/>
              <a:gd name="connsiteY10" fmla="*/ 91973 h 2390466"/>
              <a:gd name="connsiteX11" fmla="*/ 11918614 w 12192000"/>
              <a:gd name="connsiteY11" fmla="*/ 104205 h 2390466"/>
              <a:gd name="connsiteX12" fmla="*/ 12114359 w 12192000"/>
              <a:gd name="connsiteY12" fmla="*/ 120975 h 2390466"/>
              <a:gd name="connsiteX13" fmla="*/ 12154355 w 12192000"/>
              <a:gd name="connsiteY13" fmla="*/ 133176 h 2390466"/>
              <a:gd name="connsiteX14" fmla="*/ 12187428 w 12192000"/>
              <a:gd name="connsiteY14" fmla="*/ 137775 h 2390466"/>
              <a:gd name="connsiteX15" fmla="*/ 12192000 w 12192000"/>
              <a:gd name="connsiteY15" fmla="*/ 138440 h 2390466"/>
              <a:gd name="connsiteX16" fmla="*/ 12192000 w 12192000"/>
              <a:gd name="connsiteY16" fmla="*/ 2390466 h 2390466"/>
              <a:gd name="connsiteX17" fmla="*/ 0 w 12192000"/>
              <a:gd name="connsiteY17" fmla="*/ 2390466 h 2390466"/>
              <a:gd name="connsiteX18" fmla="*/ 0 w 12192000"/>
              <a:gd name="connsiteY18" fmla="*/ 1588774 h 2390466"/>
              <a:gd name="connsiteX19" fmla="*/ 301314 w 12192000"/>
              <a:gd name="connsiteY19" fmla="*/ 1608551 h 2390466"/>
              <a:gd name="connsiteX20" fmla="*/ 542046 w 12192000"/>
              <a:gd name="connsiteY20" fmla="*/ 1590558 h 2390466"/>
              <a:gd name="connsiteX21" fmla="*/ 631576 w 12192000"/>
              <a:gd name="connsiteY21" fmla="*/ 1592277 h 2390466"/>
              <a:gd name="connsiteX22" fmla="*/ 833545 w 12192000"/>
              <a:gd name="connsiteY22" fmla="*/ 1592729 h 2390466"/>
              <a:gd name="connsiteX23" fmla="*/ 938627 w 12192000"/>
              <a:gd name="connsiteY23" fmla="*/ 1594718 h 2390466"/>
              <a:gd name="connsiteX24" fmla="*/ 975769 w 12192000"/>
              <a:gd name="connsiteY24" fmla="*/ 1596068 h 2390466"/>
              <a:gd name="connsiteX25" fmla="*/ 1834937 w 12192000"/>
              <a:gd name="connsiteY25" fmla="*/ 1549436 h 2390466"/>
              <a:gd name="connsiteX26" fmla="*/ 4867911 w 12192000"/>
              <a:gd name="connsiteY26" fmla="*/ 911197 h 2390466"/>
              <a:gd name="connsiteX27" fmla="*/ 6340771 w 12192000"/>
              <a:gd name="connsiteY27" fmla="*/ 489318 h 2390466"/>
              <a:gd name="connsiteX28" fmla="*/ 6368917 w 12192000"/>
              <a:gd name="connsiteY28" fmla="*/ 487274 h 2390466"/>
              <a:gd name="connsiteX29" fmla="*/ 6548466 w 12192000"/>
              <a:gd name="connsiteY29" fmla="*/ 466618 h 2390466"/>
              <a:gd name="connsiteX30" fmla="*/ 6673201 w 12192000"/>
              <a:gd name="connsiteY30" fmla="*/ 450192 h 2390466"/>
              <a:gd name="connsiteX31" fmla="*/ 6686986 w 12192000"/>
              <a:gd name="connsiteY31" fmla="*/ 449182 h 2390466"/>
              <a:gd name="connsiteX32" fmla="*/ 6738693 w 12192000"/>
              <a:gd name="connsiteY32" fmla="*/ 453246 h 2390466"/>
              <a:gd name="connsiteX33" fmla="*/ 6970467 w 12192000"/>
              <a:gd name="connsiteY33" fmla="*/ 419633 h 2390466"/>
              <a:gd name="connsiteX34" fmla="*/ 7042198 w 12192000"/>
              <a:gd name="connsiteY34" fmla="*/ 421879 h 2390466"/>
              <a:gd name="connsiteX35" fmla="*/ 7077073 w 12192000"/>
              <a:gd name="connsiteY35" fmla="*/ 418698 h 2390466"/>
              <a:gd name="connsiteX36" fmla="*/ 7083030 w 12192000"/>
              <a:gd name="connsiteY36" fmla="*/ 418582 h 2390466"/>
              <a:gd name="connsiteX37" fmla="*/ 7124039 w 12192000"/>
              <a:gd name="connsiteY37" fmla="*/ 420736 h 2390466"/>
              <a:gd name="connsiteX38" fmla="*/ 7184925 w 12192000"/>
              <a:gd name="connsiteY38" fmla="*/ 428516 h 2390466"/>
              <a:gd name="connsiteX39" fmla="*/ 7247913 w 12192000"/>
              <a:gd name="connsiteY39" fmla="*/ 444836 h 2390466"/>
              <a:gd name="connsiteX40" fmla="*/ 7284338 w 12192000"/>
              <a:gd name="connsiteY40" fmla="*/ 451699 h 2390466"/>
              <a:gd name="connsiteX41" fmla="*/ 7309614 w 12192000"/>
              <a:gd name="connsiteY41" fmla="*/ 459228 h 2390466"/>
              <a:gd name="connsiteX42" fmla="*/ 7380560 w 12192000"/>
              <a:gd name="connsiteY42" fmla="*/ 464765 h 2390466"/>
              <a:gd name="connsiteX43" fmla="*/ 7500925 w 12192000"/>
              <a:gd name="connsiteY43" fmla="*/ 468250 h 2390466"/>
              <a:gd name="connsiteX44" fmla="*/ 7551687 w 12192000"/>
              <a:gd name="connsiteY44" fmla="*/ 486478 h 2390466"/>
              <a:gd name="connsiteX45" fmla="*/ 7655497 w 12192000"/>
              <a:gd name="connsiteY45" fmla="*/ 485382 h 2390466"/>
              <a:gd name="connsiteX46" fmla="*/ 7678276 w 12192000"/>
              <a:gd name="connsiteY46" fmla="*/ 478273 h 2390466"/>
              <a:gd name="connsiteX47" fmla="*/ 7732190 w 12192000"/>
              <a:gd name="connsiteY47" fmla="*/ 471988 h 2390466"/>
              <a:gd name="connsiteX48" fmla="*/ 7812936 w 12192000"/>
              <a:gd name="connsiteY48" fmla="*/ 451403 h 2390466"/>
              <a:gd name="connsiteX49" fmla="*/ 7901019 w 12192000"/>
              <a:gd name="connsiteY49" fmla="*/ 427394 h 2390466"/>
              <a:gd name="connsiteX50" fmla="*/ 7953628 w 12192000"/>
              <a:gd name="connsiteY50" fmla="*/ 414800 h 2390466"/>
              <a:gd name="connsiteX51" fmla="*/ 7959483 w 12192000"/>
              <a:gd name="connsiteY51" fmla="*/ 413640 h 2390466"/>
              <a:gd name="connsiteX52" fmla="*/ 8000268 w 12192000"/>
              <a:gd name="connsiteY52" fmla="*/ 408559 h 2390466"/>
              <a:gd name="connsiteX53" fmla="*/ 8126468 w 12192000"/>
              <a:gd name="connsiteY53" fmla="*/ 410535 h 2390466"/>
              <a:gd name="connsiteX54" fmla="*/ 8163540 w 12192000"/>
              <a:gd name="connsiteY54" fmla="*/ 410897 h 2390466"/>
              <a:gd name="connsiteX55" fmla="*/ 8189733 w 12192000"/>
              <a:gd name="connsiteY55" fmla="*/ 413869 h 2390466"/>
              <a:gd name="connsiteX56" fmla="*/ 8260604 w 12192000"/>
              <a:gd name="connsiteY56" fmla="*/ 406866 h 2390466"/>
              <a:gd name="connsiteX57" fmla="*/ 8379838 w 12192000"/>
              <a:gd name="connsiteY57" fmla="*/ 389167 h 2390466"/>
              <a:gd name="connsiteX58" fmla="*/ 8433895 w 12192000"/>
              <a:gd name="connsiteY58" fmla="*/ 393057 h 2390466"/>
              <a:gd name="connsiteX59" fmla="*/ 8624741 w 12192000"/>
              <a:gd name="connsiteY59" fmla="*/ 369980 h 2390466"/>
              <a:gd name="connsiteX60" fmla="*/ 8786230 w 12192000"/>
              <a:gd name="connsiteY60" fmla="*/ 358126 h 2390466"/>
              <a:gd name="connsiteX61" fmla="*/ 8911903 w 12192000"/>
              <a:gd name="connsiteY61" fmla="*/ 342099 h 2390466"/>
              <a:gd name="connsiteX62" fmla="*/ 9182090 w 12192000"/>
              <a:gd name="connsiteY62" fmla="*/ 301277 h 2390466"/>
              <a:gd name="connsiteX63" fmla="*/ 9196066 w 12192000"/>
              <a:gd name="connsiteY63" fmla="*/ 291440 h 2390466"/>
              <a:gd name="connsiteX64" fmla="*/ 9249142 w 12192000"/>
              <a:gd name="connsiteY64" fmla="*/ 276200 h 2390466"/>
              <a:gd name="connsiteX65" fmla="*/ 9316564 w 12192000"/>
              <a:gd name="connsiteY65" fmla="*/ 259543 h 2390466"/>
              <a:gd name="connsiteX66" fmla="*/ 9317108 w 12192000"/>
              <a:gd name="connsiteY66" fmla="*/ 260495 h 2390466"/>
              <a:gd name="connsiteX67" fmla="*/ 9348338 w 12192000"/>
              <a:gd name="connsiteY67" fmla="*/ 264323 h 2390466"/>
              <a:gd name="connsiteX68" fmla="*/ 9473084 w 12192000"/>
              <a:gd name="connsiteY68" fmla="*/ 266063 h 2390466"/>
              <a:gd name="connsiteX69" fmla="*/ 9478478 w 12192000"/>
              <a:gd name="connsiteY69" fmla="*/ 266804 h 2390466"/>
              <a:gd name="connsiteX70" fmla="*/ 9715853 w 12192000"/>
              <a:gd name="connsiteY70" fmla="*/ 258126 h 2390466"/>
              <a:gd name="connsiteX71" fmla="*/ 9818432 w 12192000"/>
              <a:gd name="connsiteY71" fmla="*/ 252883 h 2390466"/>
              <a:gd name="connsiteX72" fmla="*/ 9904781 w 12192000"/>
              <a:gd name="connsiteY72" fmla="*/ 257651 h 2390466"/>
              <a:gd name="connsiteX73" fmla="*/ 10027169 w 12192000"/>
              <a:gd name="connsiteY73" fmla="*/ 245494 h 2390466"/>
              <a:gd name="connsiteX74" fmla="*/ 10133939 w 12192000"/>
              <a:gd name="connsiteY74" fmla="*/ 205160 h 2390466"/>
              <a:gd name="connsiteX75" fmla="*/ 10149756 w 12192000"/>
              <a:gd name="connsiteY75" fmla="*/ 197031 h 2390466"/>
              <a:gd name="connsiteX76" fmla="*/ 10314272 w 12192000"/>
              <a:gd name="connsiteY76" fmla="*/ 148538 h 2390466"/>
              <a:gd name="connsiteX77" fmla="*/ 10432944 w 12192000"/>
              <a:gd name="connsiteY77" fmla="*/ 122284 h 2390466"/>
              <a:gd name="connsiteX78" fmla="*/ 10554052 w 12192000"/>
              <a:gd name="connsiteY78" fmla="*/ 72143 h 2390466"/>
              <a:gd name="connsiteX79" fmla="*/ 10757451 w 12192000"/>
              <a:gd name="connsiteY79" fmla="*/ 6065 h 2390466"/>
              <a:gd name="connsiteX80" fmla="*/ 10801045 w 12192000"/>
              <a:gd name="connsiteY80" fmla="*/ 201 h 2390466"/>
              <a:gd name="connsiteX0" fmla="*/ 10801045 w 12192000"/>
              <a:gd name="connsiteY0" fmla="*/ 201 h 2390466"/>
              <a:gd name="connsiteX1" fmla="*/ 10821038 w 12192000"/>
              <a:gd name="connsiteY1" fmla="*/ 2915 h 2390466"/>
              <a:gd name="connsiteX2" fmla="*/ 10835633 w 12192000"/>
              <a:gd name="connsiteY2" fmla="*/ 5460 h 2390466"/>
              <a:gd name="connsiteX3" fmla="*/ 10912235 w 12192000"/>
              <a:gd name="connsiteY3" fmla="*/ 11275 h 2390466"/>
              <a:gd name="connsiteX4" fmla="*/ 10996653 w 12192000"/>
              <a:gd name="connsiteY4" fmla="*/ 29720 h 2390466"/>
              <a:gd name="connsiteX5" fmla="*/ 11221749 w 12192000"/>
              <a:gd name="connsiteY5" fmla="*/ 20463 h 2390466"/>
              <a:gd name="connsiteX6" fmla="*/ 11379086 w 12192000"/>
              <a:gd name="connsiteY6" fmla="*/ 32130 h 2390466"/>
              <a:gd name="connsiteX7" fmla="*/ 11594775 w 12192000"/>
              <a:gd name="connsiteY7" fmla="*/ 63178 h 2390466"/>
              <a:gd name="connsiteX8" fmla="*/ 11671329 w 12192000"/>
              <a:gd name="connsiteY8" fmla="*/ 63198 h 2390466"/>
              <a:gd name="connsiteX9" fmla="*/ 11778165 w 12192000"/>
              <a:gd name="connsiteY9" fmla="*/ 89018 h 2390466"/>
              <a:gd name="connsiteX10" fmla="*/ 11815487 w 12192000"/>
              <a:gd name="connsiteY10" fmla="*/ 91973 h 2390466"/>
              <a:gd name="connsiteX11" fmla="*/ 11918614 w 12192000"/>
              <a:gd name="connsiteY11" fmla="*/ 104205 h 2390466"/>
              <a:gd name="connsiteX12" fmla="*/ 12114359 w 12192000"/>
              <a:gd name="connsiteY12" fmla="*/ 120975 h 2390466"/>
              <a:gd name="connsiteX13" fmla="*/ 12154355 w 12192000"/>
              <a:gd name="connsiteY13" fmla="*/ 133176 h 2390466"/>
              <a:gd name="connsiteX14" fmla="*/ 12187428 w 12192000"/>
              <a:gd name="connsiteY14" fmla="*/ 137775 h 2390466"/>
              <a:gd name="connsiteX15" fmla="*/ 12192000 w 12192000"/>
              <a:gd name="connsiteY15" fmla="*/ 138440 h 2390466"/>
              <a:gd name="connsiteX16" fmla="*/ 12192000 w 12192000"/>
              <a:gd name="connsiteY16" fmla="*/ 2390466 h 2390466"/>
              <a:gd name="connsiteX17" fmla="*/ 0 w 12192000"/>
              <a:gd name="connsiteY17" fmla="*/ 2390466 h 2390466"/>
              <a:gd name="connsiteX18" fmla="*/ 0 w 12192000"/>
              <a:gd name="connsiteY18" fmla="*/ 1588774 h 2390466"/>
              <a:gd name="connsiteX19" fmla="*/ 301314 w 12192000"/>
              <a:gd name="connsiteY19" fmla="*/ 1608551 h 2390466"/>
              <a:gd name="connsiteX20" fmla="*/ 542046 w 12192000"/>
              <a:gd name="connsiteY20" fmla="*/ 1590558 h 2390466"/>
              <a:gd name="connsiteX21" fmla="*/ 631576 w 12192000"/>
              <a:gd name="connsiteY21" fmla="*/ 1592277 h 2390466"/>
              <a:gd name="connsiteX22" fmla="*/ 833545 w 12192000"/>
              <a:gd name="connsiteY22" fmla="*/ 1592729 h 2390466"/>
              <a:gd name="connsiteX23" fmla="*/ 938627 w 12192000"/>
              <a:gd name="connsiteY23" fmla="*/ 1594718 h 2390466"/>
              <a:gd name="connsiteX24" fmla="*/ 975769 w 12192000"/>
              <a:gd name="connsiteY24" fmla="*/ 1596068 h 2390466"/>
              <a:gd name="connsiteX25" fmla="*/ 1834937 w 12192000"/>
              <a:gd name="connsiteY25" fmla="*/ 1549436 h 2390466"/>
              <a:gd name="connsiteX26" fmla="*/ 4867911 w 12192000"/>
              <a:gd name="connsiteY26" fmla="*/ 911197 h 2390466"/>
              <a:gd name="connsiteX27" fmla="*/ 6340771 w 12192000"/>
              <a:gd name="connsiteY27" fmla="*/ 489318 h 2390466"/>
              <a:gd name="connsiteX28" fmla="*/ 6368917 w 12192000"/>
              <a:gd name="connsiteY28" fmla="*/ 487274 h 2390466"/>
              <a:gd name="connsiteX29" fmla="*/ 6548466 w 12192000"/>
              <a:gd name="connsiteY29" fmla="*/ 466618 h 2390466"/>
              <a:gd name="connsiteX30" fmla="*/ 6673201 w 12192000"/>
              <a:gd name="connsiteY30" fmla="*/ 450192 h 2390466"/>
              <a:gd name="connsiteX31" fmla="*/ 6686986 w 12192000"/>
              <a:gd name="connsiteY31" fmla="*/ 449182 h 2390466"/>
              <a:gd name="connsiteX32" fmla="*/ 6738693 w 12192000"/>
              <a:gd name="connsiteY32" fmla="*/ 453246 h 2390466"/>
              <a:gd name="connsiteX33" fmla="*/ 6970467 w 12192000"/>
              <a:gd name="connsiteY33" fmla="*/ 419633 h 2390466"/>
              <a:gd name="connsiteX34" fmla="*/ 7042198 w 12192000"/>
              <a:gd name="connsiteY34" fmla="*/ 421879 h 2390466"/>
              <a:gd name="connsiteX35" fmla="*/ 7077073 w 12192000"/>
              <a:gd name="connsiteY35" fmla="*/ 418698 h 2390466"/>
              <a:gd name="connsiteX36" fmla="*/ 7083030 w 12192000"/>
              <a:gd name="connsiteY36" fmla="*/ 418582 h 2390466"/>
              <a:gd name="connsiteX37" fmla="*/ 7124039 w 12192000"/>
              <a:gd name="connsiteY37" fmla="*/ 420736 h 2390466"/>
              <a:gd name="connsiteX38" fmla="*/ 7184925 w 12192000"/>
              <a:gd name="connsiteY38" fmla="*/ 428516 h 2390466"/>
              <a:gd name="connsiteX39" fmla="*/ 7247913 w 12192000"/>
              <a:gd name="connsiteY39" fmla="*/ 444836 h 2390466"/>
              <a:gd name="connsiteX40" fmla="*/ 7309614 w 12192000"/>
              <a:gd name="connsiteY40" fmla="*/ 459228 h 2390466"/>
              <a:gd name="connsiteX41" fmla="*/ 7380560 w 12192000"/>
              <a:gd name="connsiteY41" fmla="*/ 464765 h 2390466"/>
              <a:gd name="connsiteX42" fmla="*/ 7500925 w 12192000"/>
              <a:gd name="connsiteY42" fmla="*/ 468250 h 2390466"/>
              <a:gd name="connsiteX43" fmla="*/ 7551687 w 12192000"/>
              <a:gd name="connsiteY43" fmla="*/ 486478 h 2390466"/>
              <a:gd name="connsiteX44" fmla="*/ 7655497 w 12192000"/>
              <a:gd name="connsiteY44" fmla="*/ 485382 h 2390466"/>
              <a:gd name="connsiteX45" fmla="*/ 7678276 w 12192000"/>
              <a:gd name="connsiteY45" fmla="*/ 478273 h 2390466"/>
              <a:gd name="connsiteX46" fmla="*/ 7732190 w 12192000"/>
              <a:gd name="connsiteY46" fmla="*/ 471988 h 2390466"/>
              <a:gd name="connsiteX47" fmla="*/ 7812936 w 12192000"/>
              <a:gd name="connsiteY47" fmla="*/ 451403 h 2390466"/>
              <a:gd name="connsiteX48" fmla="*/ 7901019 w 12192000"/>
              <a:gd name="connsiteY48" fmla="*/ 427394 h 2390466"/>
              <a:gd name="connsiteX49" fmla="*/ 7953628 w 12192000"/>
              <a:gd name="connsiteY49" fmla="*/ 414800 h 2390466"/>
              <a:gd name="connsiteX50" fmla="*/ 7959483 w 12192000"/>
              <a:gd name="connsiteY50" fmla="*/ 413640 h 2390466"/>
              <a:gd name="connsiteX51" fmla="*/ 8000268 w 12192000"/>
              <a:gd name="connsiteY51" fmla="*/ 408559 h 2390466"/>
              <a:gd name="connsiteX52" fmla="*/ 8126468 w 12192000"/>
              <a:gd name="connsiteY52" fmla="*/ 410535 h 2390466"/>
              <a:gd name="connsiteX53" fmla="*/ 8163540 w 12192000"/>
              <a:gd name="connsiteY53" fmla="*/ 410897 h 2390466"/>
              <a:gd name="connsiteX54" fmla="*/ 8189733 w 12192000"/>
              <a:gd name="connsiteY54" fmla="*/ 413869 h 2390466"/>
              <a:gd name="connsiteX55" fmla="*/ 8260604 w 12192000"/>
              <a:gd name="connsiteY55" fmla="*/ 406866 h 2390466"/>
              <a:gd name="connsiteX56" fmla="*/ 8379838 w 12192000"/>
              <a:gd name="connsiteY56" fmla="*/ 389167 h 2390466"/>
              <a:gd name="connsiteX57" fmla="*/ 8433895 w 12192000"/>
              <a:gd name="connsiteY57" fmla="*/ 393057 h 2390466"/>
              <a:gd name="connsiteX58" fmla="*/ 8624741 w 12192000"/>
              <a:gd name="connsiteY58" fmla="*/ 369980 h 2390466"/>
              <a:gd name="connsiteX59" fmla="*/ 8786230 w 12192000"/>
              <a:gd name="connsiteY59" fmla="*/ 358126 h 2390466"/>
              <a:gd name="connsiteX60" fmla="*/ 8911903 w 12192000"/>
              <a:gd name="connsiteY60" fmla="*/ 342099 h 2390466"/>
              <a:gd name="connsiteX61" fmla="*/ 9182090 w 12192000"/>
              <a:gd name="connsiteY61" fmla="*/ 301277 h 2390466"/>
              <a:gd name="connsiteX62" fmla="*/ 9196066 w 12192000"/>
              <a:gd name="connsiteY62" fmla="*/ 291440 h 2390466"/>
              <a:gd name="connsiteX63" fmla="*/ 9249142 w 12192000"/>
              <a:gd name="connsiteY63" fmla="*/ 276200 h 2390466"/>
              <a:gd name="connsiteX64" fmla="*/ 9316564 w 12192000"/>
              <a:gd name="connsiteY64" fmla="*/ 259543 h 2390466"/>
              <a:gd name="connsiteX65" fmla="*/ 9317108 w 12192000"/>
              <a:gd name="connsiteY65" fmla="*/ 260495 h 2390466"/>
              <a:gd name="connsiteX66" fmla="*/ 9348338 w 12192000"/>
              <a:gd name="connsiteY66" fmla="*/ 264323 h 2390466"/>
              <a:gd name="connsiteX67" fmla="*/ 9473084 w 12192000"/>
              <a:gd name="connsiteY67" fmla="*/ 266063 h 2390466"/>
              <a:gd name="connsiteX68" fmla="*/ 9478478 w 12192000"/>
              <a:gd name="connsiteY68" fmla="*/ 266804 h 2390466"/>
              <a:gd name="connsiteX69" fmla="*/ 9715853 w 12192000"/>
              <a:gd name="connsiteY69" fmla="*/ 258126 h 2390466"/>
              <a:gd name="connsiteX70" fmla="*/ 9818432 w 12192000"/>
              <a:gd name="connsiteY70" fmla="*/ 252883 h 2390466"/>
              <a:gd name="connsiteX71" fmla="*/ 9904781 w 12192000"/>
              <a:gd name="connsiteY71" fmla="*/ 257651 h 2390466"/>
              <a:gd name="connsiteX72" fmla="*/ 10027169 w 12192000"/>
              <a:gd name="connsiteY72" fmla="*/ 245494 h 2390466"/>
              <a:gd name="connsiteX73" fmla="*/ 10133939 w 12192000"/>
              <a:gd name="connsiteY73" fmla="*/ 205160 h 2390466"/>
              <a:gd name="connsiteX74" fmla="*/ 10149756 w 12192000"/>
              <a:gd name="connsiteY74" fmla="*/ 197031 h 2390466"/>
              <a:gd name="connsiteX75" fmla="*/ 10314272 w 12192000"/>
              <a:gd name="connsiteY75" fmla="*/ 148538 h 2390466"/>
              <a:gd name="connsiteX76" fmla="*/ 10432944 w 12192000"/>
              <a:gd name="connsiteY76" fmla="*/ 122284 h 2390466"/>
              <a:gd name="connsiteX77" fmla="*/ 10554052 w 12192000"/>
              <a:gd name="connsiteY77" fmla="*/ 72143 h 2390466"/>
              <a:gd name="connsiteX78" fmla="*/ 10757451 w 12192000"/>
              <a:gd name="connsiteY78" fmla="*/ 6065 h 2390466"/>
              <a:gd name="connsiteX79" fmla="*/ 10801045 w 12192000"/>
              <a:gd name="connsiteY79" fmla="*/ 201 h 2390466"/>
              <a:gd name="connsiteX0" fmla="*/ 10801045 w 12192000"/>
              <a:gd name="connsiteY0" fmla="*/ 201 h 2390466"/>
              <a:gd name="connsiteX1" fmla="*/ 10821038 w 12192000"/>
              <a:gd name="connsiteY1" fmla="*/ 2915 h 2390466"/>
              <a:gd name="connsiteX2" fmla="*/ 10835633 w 12192000"/>
              <a:gd name="connsiteY2" fmla="*/ 5460 h 2390466"/>
              <a:gd name="connsiteX3" fmla="*/ 10912235 w 12192000"/>
              <a:gd name="connsiteY3" fmla="*/ 11275 h 2390466"/>
              <a:gd name="connsiteX4" fmla="*/ 10996653 w 12192000"/>
              <a:gd name="connsiteY4" fmla="*/ 29720 h 2390466"/>
              <a:gd name="connsiteX5" fmla="*/ 11221749 w 12192000"/>
              <a:gd name="connsiteY5" fmla="*/ 20463 h 2390466"/>
              <a:gd name="connsiteX6" fmla="*/ 11379086 w 12192000"/>
              <a:gd name="connsiteY6" fmla="*/ 32130 h 2390466"/>
              <a:gd name="connsiteX7" fmla="*/ 11594775 w 12192000"/>
              <a:gd name="connsiteY7" fmla="*/ 63178 h 2390466"/>
              <a:gd name="connsiteX8" fmla="*/ 11671329 w 12192000"/>
              <a:gd name="connsiteY8" fmla="*/ 63198 h 2390466"/>
              <a:gd name="connsiteX9" fmla="*/ 11778165 w 12192000"/>
              <a:gd name="connsiteY9" fmla="*/ 89018 h 2390466"/>
              <a:gd name="connsiteX10" fmla="*/ 11815487 w 12192000"/>
              <a:gd name="connsiteY10" fmla="*/ 91973 h 2390466"/>
              <a:gd name="connsiteX11" fmla="*/ 11918614 w 12192000"/>
              <a:gd name="connsiteY11" fmla="*/ 104205 h 2390466"/>
              <a:gd name="connsiteX12" fmla="*/ 12114359 w 12192000"/>
              <a:gd name="connsiteY12" fmla="*/ 120975 h 2390466"/>
              <a:gd name="connsiteX13" fmla="*/ 12154355 w 12192000"/>
              <a:gd name="connsiteY13" fmla="*/ 133176 h 2390466"/>
              <a:gd name="connsiteX14" fmla="*/ 12187428 w 12192000"/>
              <a:gd name="connsiteY14" fmla="*/ 137775 h 2390466"/>
              <a:gd name="connsiteX15" fmla="*/ 12192000 w 12192000"/>
              <a:gd name="connsiteY15" fmla="*/ 138440 h 2390466"/>
              <a:gd name="connsiteX16" fmla="*/ 12192000 w 12192000"/>
              <a:gd name="connsiteY16" fmla="*/ 2390466 h 2390466"/>
              <a:gd name="connsiteX17" fmla="*/ 0 w 12192000"/>
              <a:gd name="connsiteY17" fmla="*/ 2390466 h 2390466"/>
              <a:gd name="connsiteX18" fmla="*/ 0 w 12192000"/>
              <a:gd name="connsiteY18" fmla="*/ 1588774 h 2390466"/>
              <a:gd name="connsiteX19" fmla="*/ 301314 w 12192000"/>
              <a:gd name="connsiteY19" fmla="*/ 1608551 h 2390466"/>
              <a:gd name="connsiteX20" fmla="*/ 542046 w 12192000"/>
              <a:gd name="connsiteY20" fmla="*/ 1590558 h 2390466"/>
              <a:gd name="connsiteX21" fmla="*/ 631576 w 12192000"/>
              <a:gd name="connsiteY21" fmla="*/ 1592277 h 2390466"/>
              <a:gd name="connsiteX22" fmla="*/ 833545 w 12192000"/>
              <a:gd name="connsiteY22" fmla="*/ 1592729 h 2390466"/>
              <a:gd name="connsiteX23" fmla="*/ 938627 w 12192000"/>
              <a:gd name="connsiteY23" fmla="*/ 1594718 h 2390466"/>
              <a:gd name="connsiteX24" fmla="*/ 975769 w 12192000"/>
              <a:gd name="connsiteY24" fmla="*/ 1596068 h 2390466"/>
              <a:gd name="connsiteX25" fmla="*/ 1834937 w 12192000"/>
              <a:gd name="connsiteY25" fmla="*/ 1549436 h 2390466"/>
              <a:gd name="connsiteX26" fmla="*/ 4867911 w 12192000"/>
              <a:gd name="connsiteY26" fmla="*/ 911197 h 2390466"/>
              <a:gd name="connsiteX27" fmla="*/ 6340771 w 12192000"/>
              <a:gd name="connsiteY27" fmla="*/ 489318 h 2390466"/>
              <a:gd name="connsiteX28" fmla="*/ 6368917 w 12192000"/>
              <a:gd name="connsiteY28" fmla="*/ 487274 h 2390466"/>
              <a:gd name="connsiteX29" fmla="*/ 6548466 w 12192000"/>
              <a:gd name="connsiteY29" fmla="*/ 466618 h 2390466"/>
              <a:gd name="connsiteX30" fmla="*/ 6673201 w 12192000"/>
              <a:gd name="connsiteY30" fmla="*/ 450192 h 2390466"/>
              <a:gd name="connsiteX31" fmla="*/ 6686986 w 12192000"/>
              <a:gd name="connsiteY31" fmla="*/ 449182 h 2390466"/>
              <a:gd name="connsiteX32" fmla="*/ 6738693 w 12192000"/>
              <a:gd name="connsiteY32" fmla="*/ 453246 h 2390466"/>
              <a:gd name="connsiteX33" fmla="*/ 6970467 w 12192000"/>
              <a:gd name="connsiteY33" fmla="*/ 419633 h 2390466"/>
              <a:gd name="connsiteX34" fmla="*/ 7042198 w 12192000"/>
              <a:gd name="connsiteY34" fmla="*/ 421879 h 2390466"/>
              <a:gd name="connsiteX35" fmla="*/ 7077073 w 12192000"/>
              <a:gd name="connsiteY35" fmla="*/ 418698 h 2390466"/>
              <a:gd name="connsiteX36" fmla="*/ 7083030 w 12192000"/>
              <a:gd name="connsiteY36" fmla="*/ 418582 h 2390466"/>
              <a:gd name="connsiteX37" fmla="*/ 7124039 w 12192000"/>
              <a:gd name="connsiteY37" fmla="*/ 420736 h 2390466"/>
              <a:gd name="connsiteX38" fmla="*/ 7184925 w 12192000"/>
              <a:gd name="connsiteY38" fmla="*/ 428516 h 2390466"/>
              <a:gd name="connsiteX39" fmla="*/ 7247913 w 12192000"/>
              <a:gd name="connsiteY39" fmla="*/ 444836 h 2390466"/>
              <a:gd name="connsiteX40" fmla="*/ 7309614 w 12192000"/>
              <a:gd name="connsiteY40" fmla="*/ 459228 h 2390466"/>
              <a:gd name="connsiteX41" fmla="*/ 7500925 w 12192000"/>
              <a:gd name="connsiteY41" fmla="*/ 468250 h 2390466"/>
              <a:gd name="connsiteX42" fmla="*/ 7551687 w 12192000"/>
              <a:gd name="connsiteY42" fmla="*/ 486478 h 2390466"/>
              <a:gd name="connsiteX43" fmla="*/ 7655497 w 12192000"/>
              <a:gd name="connsiteY43" fmla="*/ 485382 h 2390466"/>
              <a:gd name="connsiteX44" fmla="*/ 7678276 w 12192000"/>
              <a:gd name="connsiteY44" fmla="*/ 478273 h 2390466"/>
              <a:gd name="connsiteX45" fmla="*/ 7732190 w 12192000"/>
              <a:gd name="connsiteY45" fmla="*/ 471988 h 2390466"/>
              <a:gd name="connsiteX46" fmla="*/ 7812936 w 12192000"/>
              <a:gd name="connsiteY46" fmla="*/ 451403 h 2390466"/>
              <a:gd name="connsiteX47" fmla="*/ 7901019 w 12192000"/>
              <a:gd name="connsiteY47" fmla="*/ 427394 h 2390466"/>
              <a:gd name="connsiteX48" fmla="*/ 7953628 w 12192000"/>
              <a:gd name="connsiteY48" fmla="*/ 414800 h 2390466"/>
              <a:gd name="connsiteX49" fmla="*/ 7959483 w 12192000"/>
              <a:gd name="connsiteY49" fmla="*/ 413640 h 2390466"/>
              <a:gd name="connsiteX50" fmla="*/ 8000268 w 12192000"/>
              <a:gd name="connsiteY50" fmla="*/ 408559 h 2390466"/>
              <a:gd name="connsiteX51" fmla="*/ 8126468 w 12192000"/>
              <a:gd name="connsiteY51" fmla="*/ 410535 h 2390466"/>
              <a:gd name="connsiteX52" fmla="*/ 8163540 w 12192000"/>
              <a:gd name="connsiteY52" fmla="*/ 410897 h 2390466"/>
              <a:gd name="connsiteX53" fmla="*/ 8189733 w 12192000"/>
              <a:gd name="connsiteY53" fmla="*/ 413869 h 2390466"/>
              <a:gd name="connsiteX54" fmla="*/ 8260604 w 12192000"/>
              <a:gd name="connsiteY54" fmla="*/ 406866 h 2390466"/>
              <a:gd name="connsiteX55" fmla="*/ 8379838 w 12192000"/>
              <a:gd name="connsiteY55" fmla="*/ 389167 h 2390466"/>
              <a:gd name="connsiteX56" fmla="*/ 8433895 w 12192000"/>
              <a:gd name="connsiteY56" fmla="*/ 393057 h 2390466"/>
              <a:gd name="connsiteX57" fmla="*/ 8624741 w 12192000"/>
              <a:gd name="connsiteY57" fmla="*/ 369980 h 2390466"/>
              <a:gd name="connsiteX58" fmla="*/ 8786230 w 12192000"/>
              <a:gd name="connsiteY58" fmla="*/ 358126 h 2390466"/>
              <a:gd name="connsiteX59" fmla="*/ 8911903 w 12192000"/>
              <a:gd name="connsiteY59" fmla="*/ 342099 h 2390466"/>
              <a:gd name="connsiteX60" fmla="*/ 9182090 w 12192000"/>
              <a:gd name="connsiteY60" fmla="*/ 301277 h 2390466"/>
              <a:gd name="connsiteX61" fmla="*/ 9196066 w 12192000"/>
              <a:gd name="connsiteY61" fmla="*/ 291440 h 2390466"/>
              <a:gd name="connsiteX62" fmla="*/ 9249142 w 12192000"/>
              <a:gd name="connsiteY62" fmla="*/ 276200 h 2390466"/>
              <a:gd name="connsiteX63" fmla="*/ 9316564 w 12192000"/>
              <a:gd name="connsiteY63" fmla="*/ 259543 h 2390466"/>
              <a:gd name="connsiteX64" fmla="*/ 9317108 w 12192000"/>
              <a:gd name="connsiteY64" fmla="*/ 260495 h 2390466"/>
              <a:gd name="connsiteX65" fmla="*/ 9348338 w 12192000"/>
              <a:gd name="connsiteY65" fmla="*/ 264323 h 2390466"/>
              <a:gd name="connsiteX66" fmla="*/ 9473084 w 12192000"/>
              <a:gd name="connsiteY66" fmla="*/ 266063 h 2390466"/>
              <a:gd name="connsiteX67" fmla="*/ 9478478 w 12192000"/>
              <a:gd name="connsiteY67" fmla="*/ 266804 h 2390466"/>
              <a:gd name="connsiteX68" fmla="*/ 9715853 w 12192000"/>
              <a:gd name="connsiteY68" fmla="*/ 258126 h 2390466"/>
              <a:gd name="connsiteX69" fmla="*/ 9818432 w 12192000"/>
              <a:gd name="connsiteY69" fmla="*/ 252883 h 2390466"/>
              <a:gd name="connsiteX70" fmla="*/ 9904781 w 12192000"/>
              <a:gd name="connsiteY70" fmla="*/ 257651 h 2390466"/>
              <a:gd name="connsiteX71" fmla="*/ 10027169 w 12192000"/>
              <a:gd name="connsiteY71" fmla="*/ 245494 h 2390466"/>
              <a:gd name="connsiteX72" fmla="*/ 10133939 w 12192000"/>
              <a:gd name="connsiteY72" fmla="*/ 205160 h 2390466"/>
              <a:gd name="connsiteX73" fmla="*/ 10149756 w 12192000"/>
              <a:gd name="connsiteY73" fmla="*/ 197031 h 2390466"/>
              <a:gd name="connsiteX74" fmla="*/ 10314272 w 12192000"/>
              <a:gd name="connsiteY74" fmla="*/ 148538 h 2390466"/>
              <a:gd name="connsiteX75" fmla="*/ 10432944 w 12192000"/>
              <a:gd name="connsiteY75" fmla="*/ 122284 h 2390466"/>
              <a:gd name="connsiteX76" fmla="*/ 10554052 w 12192000"/>
              <a:gd name="connsiteY76" fmla="*/ 72143 h 2390466"/>
              <a:gd name="connsiteX77" fmla="*/ 10757451 w 12192000"/>
              <a:gd name="connsiteY77" fmla="*/ 6065 h 2390466"/>
              <a:gd name="connsiteX78" fmla="*/ 10801045 w 12192000"/>
              <a:gd name="connsiteY78" fmla="*/ 201 h 2390466"/>
              <a:gd name="connsiteX0" fmla="*/ 10801045 w 12192000"/>
              <a:gd name="connsiteY0" fmla="*/ 201 h 2390466"/>
              <a:gd name="connsiteX1" fmla="*/ 10821038 w 12192000"/>
              <a:gd name="connsiteY1" fmla="*/ 2915 h 2390466"/>
              <a:gd name="connsiteX2" fmla="*/ 10835633 w 12192000"/>
              <a:gd name="connsiteY2" fmla="*/ 5460 h 2390466"/>
              <a:gd name="connsiteX3" fmla="*/ 10912235 w 12192000"/>
              <a:gd name="connsiteY3" fmla="*/ 11275 h 2390466"/>
              <a:gd name="connsiteX4" fmla="*/ 10996653 w 12192000"/>
              <a:gd name="connsiteY4" fmla="*/ 29720 h 2390466"/>
              <a:gd name="connsiteX5" fmla="*/ 11221749 w 12192000"/>
              <a:gd name="connsiteY5" fmla="*/ 20463 h 2390466"/>
              <a:gd name="connsiteX6" fmla="*/ 11379086 w 12192000"/>
              <a:gd name="connsiteY6" fmla="*/ 32130 h 2390466"/>
              <a:gd name="connsiteX7" fmla="*/ 11594775 w 12192000"/>
              <a:gd name="connsiteY7" fmla="*/ 63178 h 2390466"/>
              <a:gd name="connsiteX8" fmla="*/ 11671329 w 12192000"/>
              <a:gd name="connsiteY8" fmla="*/ 63198 h 2390466"/>
              <a:gd name="connsiteX9" fmla="*/ 11778165 w 12192000"/>
              <a:gd name="connsiteY9" fmla="*/ 89018 h 2390466"/>
              <a:gd name="connsiteX10" fmla="*/ 11815487 w 12192000"/>
              <a:gd name="connsiteY10" fmla="*/ 91973 h 2390466"/>
              <a:gd name="connsiteX11" fmla="*/ 11918614 w 12192000"/>
              <a:gd name="connsiteY11" fmla="*/ 104205 h 2390466"/>
              <a:gd name="connsiteX12" fmla="*/ 12114359 w 12192000"/>
              <a:gd name="connsiteY12" fmla="*/ 120975 h 2390466"/>
              <a:gd name="connsiteX13" fmla="*/ 12154355 w 12192000"/>
              <a:gd name="connsiteY13" fmla="*/ 133176 h 2390466"/>
              <a:gd name="connsiteX14" fmla="*/ 12187428 w 12192000"/>
              <a:gd name="connsiteY14" fmla="*/ 137775 h 2390466"/>
              <a:gd name="connsiteX15" fmla="*/ 12192000 w 12192000"/>
              <a:gd name="connsiteY15" fmla="*/ 138440 h 2390466"/>
              <a:gd name="connsiteX16" fmla="*/ 12192000 w 12192000"/>
              <a:gd name="connsiteY16" fmla="*/ 2390466 h 2390466"/>
              <a:gd name="connsiteX17" fmla="*/ 0 w 12192000"/>
              <a:gd name="connsiteY17" fmla="*/ 2390466 h 2390466"/>
              <a:gd name="connsiteX18" fmla="*/ 0 w 12192000"/>
              <a:gd name="connsiteY18" fmla="*/ 1588774 h 2390466"/>
              <a:gd name="connsiteX19" fmla="*/ 301314 w 12192000"/>
              <a:gd name="connsiteY19" fmla="*/ 1608551 h 2390466"/>
              <a:gd name="connsiteX20" fmla="*/ 542046 w 12192000"/>
              <a:gd name="connsiteY20" fmla="*/ 1590558 h 2390466"/>
              <a:gd name="connsiteX21" fmla="*/ 631576 w 12192000"/>
              <a:gd name="connsiteY21" fmla="*/ 1592277 h 2390466"/>
              <a:gd name="connsiteX22" fmla="*/ 833545 w 12192000"/>
              <a:gd name="connsiteY22" fmla="*/ 1592729 h 2390466"/>
              <a:gd name="connsiteX23" fmla="*/ 938627 w 12192000"/>
              <a:gd name="connsiteY23" fmla="*/ 1594718 h 2390466"/>
              <a:gd name="connsiteX24" fmla="*/ 975769 w 12192000"/>
              <a:gd name="connsiteY24" fmla="*/ 1596068 h 2390466"/>
              <a:gd name="connsiteX25" fmla="*/ 1834937 w 12192000"/>
              <a:gd name="connsiteY25" fmla="*/ 1549436 h 2390466"/>
              <a:gd name="connsiteX26" fmla="*/ 4867911 w 12192000"/>
              <a:gd name="connsiteY26" fmla="*/ 911197 h 2390466"/>
              <a:gd name="connsiteX27" fmla="*/ 6340771 w 12192000"/>
              <a:gd name="connsiteY27" fmla="*/ 489318 h 2390466"/>
              <a:gd name="connsiteX28" fmla="*/ 6368917 w 12192000"/>
              <a:gd name="connsiteY28" fmla="*/ 487274 h 2390466"/>
              <a:gd name="connsiteX29" fmla="*/ 6548466 w 12192000"/>
              <a:gd name="connsiteY29" fmla="*/ 466618 h 2390466"/>
              <a:gd name="connsiteX30" fmla="*/ 6673201 w 12192000"/>
              <a:gd name="connsiteY30" fmla="*/ 450192 h 2390466"/>
              <a:gd name="connsiteX31" fmla="*/ 6686986 w 12192000"/>
              <a:gd name="connsiteY31" fmla="*/ 449182 h 2390466"/>
              <a:gd name="connsiteX32" fmla="*/ 6738693 w 12192000"/>
              <a:gd name="connsiteY32" fmla="*/ 453246 h 2390466"/>
              <a:gd name="connsiteX33" fmla="*/ 6970467 w 12192000"/>
              <a:gd name="connsiteY33" fmla="*/ 419633 h 2390466"/>
              <a:gd name="connsiteX34" fmla="*/ 7042198 w 12192000"/>
              <a:gd name="connsiteY34" fmla="*/ 421879 h 2390466"/>
              <a:gd name="connsiteX35" fmla="*/ 7077073 w 12192000"/>
              <a:gd name="connsiteY35" fmla="*/ 418698 h 2390466"/>
              <a:gd name="connsiteX36" fmla="*/ 7083030 w 12192000"/>
              <a:gd name="connsiteY36" fmla="*/ 418582 h 2390466"/>
              <a:gd name="connsiteX37" fmla="*/ 7124039 w 12192000"/>
              <a:gd name="connsiteY37" fmla="*/ 420736 h 2390466"/>
              <a:gd name="connsiteX38" fmla="*/ 7184925 w 12192000"/>
              <a:gd name="connsiteY38" fmla="*/ 428516 h 2390466"/>
              <a:gd name="connsiteX39" fmla="*/ 7247913 w 12192000"/>
              <a:gd name="connsiteY39" fmla="*/ 444836 h 2390466"/>
              <a:gd name="connsiteX40" fmla="*/ 7309614 w 12192000"/>
              <a:gd name="connsiteY40" fmla="*/ 459228 h 2390466"/>
              <a:gd name="connsiteX41" fmla="*/ 7500925 w 12192000"/>
              <a:gd name="connsiteY41" fmla="*/ 468250 h 2390466"/>
              <a:gd name="connsiteX42" fmla="*/ 7551687 w 12192000"/>
              <a:gd name="connsiteY42" fmla="*/ 486478 h 2390466"/>
              <a:gd name="connsiteX43" fmla="*/ 7655497 w 12192000"/>
              <a:gd name="connsiteY43" fmla="*/ 485382 h 2390466"/>
              <a:gd name="connsiteX44" fmla="*/ 7678276 w 12192000"/>
              <a:gd name="connsiteY44" fmla="*/ 478273 h 2390466"/>
              <a:gd name="connsiteX45" fmla="*/ 7732190 w 12192000"/>
              <a:gd name="connsiteY45" fmla="*/ 471988 h 2390466"/>
              <a:gd name="connsiteX46" fmla="*/ 7901019 w 12192000"/>
              <a:gd name="connsiteY46" fmla="*/ 427394 h 2390466"/>
              <a:gd name="connsiteX47" fmla="*/ 7953628 w 12192000"/>
              <a:gd name="connsiteY47" fmla="*/ 414800 h 2390466"/>
              <a:gd name="connsiteX48" fmla="*/ 7959483 w 12192000"/>
              <a:gd name="connsiteY48" fmla="*/ 413640 h 2390466"/>
              <a:gd name="connsiteX49" fmla="*/ 8000268 w 12192000"/>
              <a:gd name="connsiteY49" fmla="*/ 408559 h 2390466"/>
              <a:gd name="connsiteX50" fmla="*/ 8126468 w 12192000"/>
              <a:gd name="connsiteY50" fmla="*/ 410535 h 2390466"/>
              <a:gd name="connsiteX51" fmla="*/ 8163540 w 12192000"/>
              <a:gd name="connsiteY51" fmla="*/ 410897 h 2390466"/>
              <a:gd name="connsiteX52" fmla="*/ 8189733 w 12192000"/>
              <a:gd name="connsiteY52" fmla="*/ 413869 h 2390466"/>
              <a:gd name="connsiteX53" fmla="*/ 8260604 w 12192000"/>
              <a:gd name="connsiteY53" fmla="*/ 406866 h 2390466"/>
              <a:gd name="connsiteX54" fmla="*/ 8379838 w 12192000"/>
              <a:gd name="connsiteY54" fmla="*/ 389167 h 2390466"/>
              <a:gd name="connsiteX55" fmla="*/ 8433895 w 12192000"/>
              <a:gd name="connsiteY55" fmla="*/ 393057 h 2390466"/>
              <a:gd name="connsiteX56" fmla="*/ 8624741 w 12192000"/>
              <a:gd name="connsiteY56" fmla="*/ 369980 h 2390466"/>
              <a:gd name="connsiteX57" fmla="*/ 8786230 w 12192000"/>
              <a:gd name="connsiteY57" fmla="*/ 358126 h 2390466"/>
              <a:gd name="connsiteX58" fmla="*/ 8911903 w 12192000"/>
              <a:gd name="connsiteY58" fmla="*/ 342099 h 2390466"/>
              <a:gd name="connsiteX59" fmla="*/ 9182090 w 12192000"/>
              <a:gd name="connsiteY59" fmla="*/ 301277 h 2390466"/>
              <a:gd name="connsiteX60" fmla="*/ 9196066 w 12192000"/>
              <a:gd name="connsiteY60" fmla="*/ 291440 h 2390466"/>
              <a:gd name="connsiteX61" fmla="*/ 9249142 w 12192000"/>
              <a:gd name="connsiteY61" fmla="*/ 276200 h 2390466"/>
              <a:gd name="connsiteX62" fmla="*/ 9316564 w 12192000"/>
              <a:gd name="connsiteY62" fmla="*/ 259543 h 2390466"/>
              <a:gd name="connsiteX63" fmla="*/ 9317108 w 12192000"/>
              <a:gd name="connsiteY63" fmla="*/ 260495 h 2390466"/>
              <a:gd name="connsiteX64" fmla="*/ 9348338 w 12192000"/>
              <a:gd name="connsiteY64" fmla="*/ 264323 h 2390466"/>
              <a:gd name="connsiteX65" fmla="*/ 9473084 w 12192000"/>
              <a:gd name="connsiteY65" fmla="*/ 266063 h 2390466"/>
              <a:gd name="connsiteX66" fmla="*/ 9478478 w 12192000"/>
              <a:gd name="connsiteY66" fmla="*/ 266804 h 2390466"/>
              <a:gd name="connsiteX67" fmla="*/ 9715853 w 12192000"/>
              <a:gd name="connsiteY67" fmla="*/ 258126 h 2390466"/>
              <a:gd name="connsiteX68" fmla="*/ 9818432 w 12192000"/>
              <a:gd name="connsiteY68" fmla="*/ 252883 h 2390466"/>
              <a:gd name="connsiteX69" fmla="*/ 9904781 w 12192000"/>
              <a:gd name="connsiteY69" fmla="*/ 257651 h 2390466"/>
              <a:gd name="connsiteX70" fmla="*/ 10027169 w 12192000"/>
              <a:gd name="connsiteY70" fmla="*/ 245494 h 2390466"/>
              <a:gd name="connsiteX71" fmla="*/ 10133939 w 12192000"/>
              <a:gd name="connsiteY71" fmla="*/ 205160 h 2390466"/>
              <a:gd name="connsiteX72" fmla="*/ 10149756 w 12192000"/>
              <a:gd name="connsiteY72" fmla="*/ 197031 h 2390466"/>
              <a:gd name="connsiteX73" fmla="*/ 10314272 w 12192000"/>
              <a:gd name="connsiteY73" fmla="*/ 148538 h 2390466"/>
              <a:gd name="connsiteX74" fmla="*/ 10432944 w 12192000"/>
              <a:gd name="connsiteY74" fmla="*/ 122284 h 2390466"/>
              <a:gd name="connsiteX75" fmla="*/ 10554052 w 12192000"/>
              <a:gd name="connsiteY75" fmla="*/ 72143 h 2390466"/>
              <a:gd name="connsiteX76" fmla="*/ 10757451 w 12192000"/>
              <a:gd name="connsiteY76" fmla="*/ 6065 h 2390466"/>
              <a:gd name="connsiteX77" fmla="*/ 10801045 w 12192000"/>
              <a:gd name="connsiteY77" fmla="*/ 201 h 2390466"/>
              <a:gd name="connsiteX0" fmla="*/ 10801045 w 12192000"/>
              <a:gd name="connsiteY0" fmla="*/ 201 h 2390466"/>
              <a:gd name="connsiteX1" fmla="*/ 10821038 w 12192000"/>
              <a:gd name="connsiteY1" fmla="*/ 2915 h 2390466"/>
              <a:gd name="connsiteX2" fmla="*/ 10835633 w 12192000"/>
              <a:gd name="connsiteY2" fmla="*/ 5460 h 2390466"/>
              <a:gd name="connsiteX3" fmla="*/ 10912235 w 12192000"/>
              <a:gd name="connsiteY3" fmla="*/ 11275 h 2390466"/>
              <a:gd name="connsiteX4" fmla="*/ 10996653 w 12192000"/>
              <a:gd name="connsiteY4" fmla="*/ 29720 h 2390466"/>
              <a:gd name="connsiteX5" fmla="*/ 11221749 w 12192000"/>
              <a:gd name="connsiteY5" fmla="*/ 20463 h 2390466"/>
              <a:gd name="connsiteX6" fmla="*/ 11379086 w 12192000"/>
              <a:gd name="connsiteY6" fmla="*/ 32130 h 2390466"/>
              <a:gd name="connsiteX7" fmla="*/ 11594775 w 12192000"/>
              <a:gd name="connsiteY7" fmla="*/ 63178 h 2390466"/>
              <a:gd name="connsiteX8" fmla="*/ 11671329 w 12192000"/>
              <a:gd name="connsiteY8" fmla="*/ 63198 h 2390466"/>
              <a:gd name="connsiteX9" fmla="*/ 11778165 w 12192000"/>
              <a:gd name="connsiteY9" fmla="*/ 89018 h 2390466"/>
              <a:gd name="connsiteX10" fmla="*/ 11815487 w 12192000"/>
              <a:gd name="connsiteY10" fmla="*/ 91973 h 2390466"/>
              <a:gd name="connsiteX11" fmla="*/ 11918614 w 12192000"/>
              <a:gd name="connsiteY11" fmla="*/ 104205 h 2390466"/>
              <a:gd name="connsiteX12" fmla="*/ 12114359 w 12192000"/>
              <a:gd name="connsiteY12" fmla="*/ 120975 h 2390466"/>
              <a:gd name="connsiteX13" fmla="*/ 12154355 w 12192000"/>
              <a:gd name="connsiteY13" fmla="*/ 133176 h 2390466"/>
              <a:gd name="connsiteX14" fmla="*/ 12187428 w 12192000"/>
              <a:gd name="connsiteY14" fmla="*/ 137775 h 2390466"/>
              <a:gd name="connsiteX15" fmla="*/ 12192000 w 12192000"/>
              <a:gd name="connsiteY15" fmla="*/ 138440 h 2390466"/>
              <a:gd name="connsiteX16" fmla="*/ 12192000 w 12192000"/>
              <a:gd name="connsiteY16" fmla="*/ 2390466 h 2390466"/>
              <a:gd name="connsiteX17" fmla="*/ 0 w 12192000"/>
              <a:gd name="connsiteY17" fmla="*/ 2390466 h 2390466"/>
              <a:gd name="connsiteX18" fmla="*/ 0 w 12192000"/>
              <a:gd name="connsiteY18" fmla="*/ 1588774 h 2390466"/>
              <a:gd name="connsiteX19" fmla="*/ 301314 w 12192000"/>
              <a:gd name="connsiteY19" fmla="*/ 1608551 h 2390466"/>
              <a:gd name="connsiteX20" fmla="*/ 542046 w 12192000"/>
              <a:gd name="connsiteY20" fmla="*/ 1590558 h 2390466"/>
              <a:gd name="connsiteX21" fmla="*/ 631576 w 12192000"/>
              <a:gd name="connsiteY21" fmla="*/ 1592277 h 2390466"/>
              <a:gd name="connsiteX22" fmla="*/ 833545 w 12192000"/>
              <a:gd name="connsiteY22" fmla="*/ 1592729 h 2390466"/>
              <a:gd name="connsiteX23" fmla="*/ 938627 w 12192000"/>
              <a:gd name="connsiteY23" fmla="*/ 1594718 h 2390466"/>
              <a:gd name="connsiteX24" fmla="*/ 1184424 w 12192000"/>
              <a:gd name="connsiteY24" fmla="*/ 1497877 h 2390466"/>
              <a:gd name="connsiteX25" fmla="*/ 1834937 w 12192000"/>
              <a:gd name="connsiteY25" fmla="*/ 1549436 h 2390466"/>
              <a:gd name="connsiteX26" fmla="*/ 4867911 w 12192000"/>
              <a:gd name="connsiteY26" fmla="*/ 911197 h 2390466"/>
              <a:gd name="connsiteX27" fmla="*/ 6340771 w 12192000"/>
              <a:gd name="connsiteY27" fmla="*/ 489318 h 2390466"/>
              <a:gd name="connsiteX28" fmla="*/ 6368917 w 12192000"/>
              <a:gd name="connsiteY28" fmla="*/ 487274 h 2390466"/>
              <a:gd name="connsiteX29" fmla="*/ 6548466 w 12192000"/>
              <a:gd name="connsiteY29" fmla="*/ 466618 h 2390466"/>
              <a:gd name="connsiteX30" fmla="*/ 6673201 w 12192000"/>
              <a:gd name="connsiteY30" fmla="*/ 450192 h 2390466"/>
              <a:gd name="connsiteX31" fmla="*/ 6686986 w 12192000"/>
              <a:gd name="connsiteY31" fmla="*/ 449182 h 2390466"/>
              <a:gd name="connsiteX32" fmla="*/ 6738693 w 12192000"/>
              <a:gd name="connsiteY32" fmla="*/ 453246 h 2390466"/>
              <a:gd name="connsiteX33" fmla="*/ 6970467 w 12192000"/>
              <a:gd name="connsiteY33" fmla="*/ 419633 h 2390466"/>
              <a:gd name="connsiteX34" fmla="*/ 7042198 w 12192000"/>
              <a:gd name="connsiteY34" fmla="*/ 421879 h 2390466"/>
              <a:gd name="connsiteX35" fmla="*/ 7077073 w 12192000"/>
              <a:gd name="connsiteY35" fmla="*/ 418698 h 2390466"/>
              <a:gd name="connsiteX36" fmla="*/ 7083030 w 12192000"/>
              <a:gd name="connsiteY36" fmla="*/ 418582 h 2390466"/>
              <a:gd name="connsiteX37" fmla="*/ 7124039 w 12192000"/>
              <a:gd name="connsiteY37" fmla="*/ 420736 h 2390466"/>
              <a:gd name="connsiteX38" fmla="*/ 7184925 w 12192000"/>
              <a:gd name="connsiteY38" fmla="*/ 428516 h 2390466"/>
              <a:gd name="connsiteX39" fmla="*/ 7247913 w 12192000"/>
              <a:gd name="connsiteY39" fmla="*/ 444836 h 2390466"/>
              <a:gd name="connsiteX40" fmla="*/ 7309614 w 12192000"/>
              <a:gd name="connsiteY40" fmla="*/ 459228 h 2390466"/>
              <a:gd name="connsiteX41" fmla="*/ 7500925 w 12192000"/>
              <a:gd name="connsiteY41" fmla="*/ 468250 h 2390466"/>
              <a:gd name="connsiteX42" fmla="*/ 7551687 w 12192000"/>
              <a:gd name="connsiteY42" fmla="*/ 486478 h 2390466"/>
              <a:gd name="connsiteX43" fmla="*/ 7655497 w 12192000"/>
              <a:gd name="connsiteY43" fmla="*/ 485382 h 2390466"/>
              <a:gd name="connsiteX44" fmla="*/ 7678276 w 12192000"/>
              <a:gd name="connsiteY44" fmla="*/ 478273 h 2390466"/>
              <a:gd name="connsiteX45" fmla="*/ 7732190 w 12192000"/>
              <a:gd name="connsiteY45" fmla="*/ 471988 h 2390466"/>
              <a:gd name="connsiteX46" fmla="*/ 7901019 w 12192000"/>
              <a:gd name="connsiteY46" fmla="*/ 427394 h 2390466"/>
              <a:gd name="connsiteX47" fmla="*/ 7953628 w 12192000"/>
              <a:gd name="connsiteY47" fmla="*/ 414800 h 2390466"/>
              <a:gd name="connsiteX48" fmla="*/ 7959483 w 12192000"/>
              <a:gd name="connsiteY48" fmla="*/ 413640 h 2390466"/>
              <a:gd name="connsiteX49" fmla="*/ 8000268 w 12192000"/>
              <a:gd name="connsiteY49" fmla="*/ 408559 h 2390466"/>
              <a:gd name="connsiteX50" fmla="*/ 8126468 w 12192000"/>
              <a:gd name="connsiteY50" fmla="*/ 410535 h 2390466"/>
              <a:gd name="connsiteX51" fmla="*/ 8163540 w 12192000"/>
              <a:gd name="connsiteY51" fmla="*/ 410897 h 2390466"/>
              <a:gd name="connsiteX52" fmla="*/ 8189733 w 12192000"/>
              <a:gd name="connsiteY52" fmla="*/ 413869 h 2390466"/>
              <a:gd name="connsiteX53" fmla="*/ 8260604 w 12192000"/>
              <a:gd name="connsiteY53" fmla="*/ 406866 h 2390466"/>
              <a:gd name="connsiteX54" fmla="*/ 8379838 w 12192000"/>
              <a:gd name="connsiteY54" fmla="*/ 389167 h 2390466"/>
              <a:gd name="connsiteX55" fmla="*/ 8433895 w 12192000"/>
              <a:gd name="connsiteY55" fmla="*/ 393057 h 2390466"/>
              <a:gd name="connsiteX56" fmla="*/ 8624741 w 12192000"/>
              <a:gd name="connsiteY56" fmla="*/ 369980 h 2390466"/>
              <a:gd name="connsiteX57" fmla="*/ 8786230 w 12192000"/>
              <a:gd name="connsiteY57" fmla="*/ 358126 h 2390466"/>
              <a:gd name="connsiteX58" fmla="*/ 8911903 w 12192000"/>
              <a:gd name="connsiteY58" fmla="*/ 342099 h 2390466"/>
              <a:gd name="connsiteX59" fmla="*/ 9182090 w 12192000"/>
              <a:gd name="connsiteY59" fmla="*/ 301277 h 2390466"/>
              <a:gd name="connsiteX60" fmla="*/ 9196066 w 12192000"/>
              <a:gd name="connsiteY60" fmla="*/ 291440 h 2390466"/>
              <a:gd name="connsiteX61" fmla="*/ 9249142 w 12192000"/>
              <a:gd name="connsiteY61" fmla="*/ 276200 h 2390466"/>
              <a:gd name="connsiteX62" fmla="*/ 9316564 w 12192000"/>
              <a:gd name="connsiteY62" fmla="*/ 259543 h 2390466"/>
              <a:gd name="connsiteX63" fmla="*/ 9317108 w 12192000"/>
              <a:gd name="connsiteY63" fmla="*/ 260495 h 2390466"/>
              <a:gd name="connsiteX64" fmla="*/ 9348338 w 12192000"/>
              <a:gd name="connsiteY64" fmla="*/ 264323 h 2390466"/>
              <a:gd name="connsiteX65" fmla="*/ 9473084 w 12192000"/>
              <a:gd name="connsiteY65" fmla="*/ 266063 h 2390466"/>
              <a:gd name="connsiteX66" fmla="*/ 9478478 w 12192000"/>
              <a:gd name="connsiteY66" fmla="*/ 266804 h 2390466"/>
              <a:gd name="connsiteX67" fmla="*/ 9715853 w 12192000"/>
              <a:gd name="connsiteY67" fmla="*/ 258126 h 2390466"/>
              <a:gd name="connsiteX68" fmla="*/ 9818432 w 12192000"/>
              <a:gd name="connsiteY68" fmla="*/ 252883 h 2390466"/>
              <a:gd name="connsiteX69" fmla="*/ 9904781 w 12192000"/>
              <a:gd name="connsiteY69" fmla="*/ 257651 h 2390466"/>
              <a:gd name="connsiteX70" fmla="*/ 10027169 w 12192000"/>
              <a:gd name="connsiteY70" fmla="*/ 245494 h 2390466"/>
              <a:gd name="connsiteX71" fmla="*/ 10133939 w 12192000"/>
              <a:gd name="connsiteY71" fmla="*/ 205160 h 2390466"/>
              <a:gd name="connsiteX72" fmla="*/ 10149756 w 12192000"/>
              <a:gd name="connsiteY72" fmla="*/ 197031 h 2390466"/>
              <a:gd name="connsiteX73" fmla="*/ 10314272 w 12192000"/>
              <a:gd name="connsiteY73" fmla="*/ 148538 h 2390466"/>
              <a:gd name="connsiteX74" fmla="*/ 10432944 w 12192000"/>
              <a:gd name="connsiteY74" fmla="*/ 122284 h 2390466"/>
              <a:gd name="connsiteX75" fmla="*/ 10554052 w 12192000"/>
              <a:gd name="connsiteY75" fmla="*/ 72143 h 2390466"/>
              <a:gd name="connsiteX76" fmla="*/ 10757451 w 12192000"/>
              <a:gd name="connsiteY76" fmla="*/ 6065 h 2390466"/>
              <a:gd name="connsiteX77" fmla="*/ 10801045 w 12192000"/>
              <a:gd name="connsiteY77" fmla="*/ 201 h 2390466"/>
              <a:gd name="connsiteX0" fmla="*/ 10801045 w 12192000"/>
              <a:gd name="connsiteY0" fmla="*/ 201 h 2390466"/>
              <a:gd name="connsiteX1" fmla="*/ 10821038 w 12192000"/>
              <a:gd name="connsiteY1" fmla="*/ 2915 h 2390466"/>
              <a:gd name="connsiteX2" fmla="*/ 10835633 w 12192000"/>
              <a:gd name="connsiteY2" fmla="*/ 5460 h 2390466"/>
              <a:gd name="connsiteX3" fmla="*/ 10912235 w 12192000"/>
              <a:gd name="connsiteY3" fmla="*/ 11275 h 2390466"/>
              <a:gd name="connsiteX4" fmla="*/ 10996653 w 12192000"/>
              <a:gd name="connsiteY4" fmla="*/ 29720 h 2390466"/>
              <a:gd name="connsiteX5" fmla="*/ 11221749 w 12192000"/>
              <a:gd name="connsiteY5" fmla="*/ 20463 h 2390466"/>
              <a:gd name="connsiteX6" fmla="*/ 11379086 w 12192000"/>
              <a:gd name="connsiteY6" fmla="*/ 32130 h 2390466"/>
              <a:gd name="connsiteX7" fmla="*/ 11594775 w 12192000"/>
              <a:gd name="connsiteY7" fmla="*/ 63178 h 2390466"/>
              <a:gd name="connsiteX8" fmla="*/ 11671329 w 12192000"/>
              <a:gd name="connsiteY8" fmla="*/ 63198 h 2390466"/>
              <a:gd name="connsiteX9" fmla="*/ 11778165 w 12192000"/>
              <a:gd name="connsiteY9" fmla="*/ 89018 h 2390466"/>
              <a:gd name="connsiteX10" fmla="*/ 11815487 w 12192000"/>
              <a:gd name="connsiteY10" fmla="*/ 91973 h 2390466"/>
              <a:gd name="connsiteX11" fmla="*/ 11918614 w 12192000"/>
              <a:gd name="connsiteY11" fmla="*/ 104205 h 2390466"/>
              <a:gd name="connsiteX12" fmla="*/ 12114359 w 12192000"/>
              <a:gd name="connsiteY12" fmla="*/ 120975 h 2390466"/>
              <a:gd name="connsiteX13" fmla="*/ 12154355 w 12192000"/>
              <a:gd name="connsiteY13" fmla="*/ 133176 h 2390466"/>
              <a:gd name="connsiteX14" fmla="*/ 12187428 w 12192000"/>
              <a:gd name="connsiteY14" fmla="*/ 137775 h 2390466"/>
              <a:gd name="connsiteX15" fmla="*/ 12192000 w 12192000"/>
              <a:gd name="connsiteY15" fmla="*/ 138440 h 2390466"/>
              <a:gd name="connsiteX16" fmla="*/ 12192000 w 12192000"/>
              <a:gd name="connsiteY16" fmla="*/ 2390466 h 2390466"/>
              <a:gd name="connsiteX17" fmla="*/ 0 w 12192000"/>
              <a:gd name="connsiteY17" fmla="*/ 2390466 h 2390466"/>
              <a:gd name="connsiteX18" fmla="*/ 0 w 12192000"/>
              <a:gd name="connsiteY18" fmla="*/ 1588774 h 2390466"/>
              <a:gd name="connsiteX19" fmla="*/ 301314 w 12192000"/>
              <a:gd name="connsiteY19" fmla="*/ 1608551 h 2390466"/>
              <a:gd name="connsiteX20" fmla="*/ 542046 w 12192000"/>
              <a:gd name="connsiteY20" fmla="*/ 1590558 h 2390466"/>
              <a:gd name="connsiteX21" fmla="*/ 631576 w 12192000"/>
              <a:gd name="connsiteY21" fmla="*/ 1592277 h 2390466"/>
              <a:gd name="connsiteX22" fmla="*/ 833545 w 12192000"/>
              <a:gd name="connsiteY22" fmla="*/ 1592729 h 2390466"/>
              <a:gd name="connsiteX23" fmla="*/ 938627 w 12192000"/>
              <a:gd name="connsiteY23" fmla="*/ 1594718 h 2390466"/>
              <a:gd name="connsiteX24" fmla="*/ 1184424 w 12192000"/>
              <a:gd name="connsiteY24" fmla="*/ 1497877 h 2390466"/>
              <a:gd name="connsiteX25" fmla="*/ 2104961 w 12192000"/>
              <a:gd name="connsiteY25" fmla="*/ 1561710 h 2390466"/>
              <a:gd name="connsiteX26" fmla="*/ 4867911 w 12192000"/>
              <a:gd name="connsiteY26" fmla="*/ 911197 h 2390466"/>
              <a:gd name="connsiteX27" fmla="*/ 6340771 w 12192000"/>
              <a:gd name="connsiteY27" fmla="*/ 489318 h 2390466"/>
              <a:gd name="connsiteX28" fmla="*/ 6368917 w 12192000"/>
              <a:gd name="connsiteY28" fmla="*/ 487274 h 2390466"/>
              <a:gd name="connsiteX29" fmla="*/ 6548466 w 12192000"/>
              <a:gd name="connsiteY29" fmla="*/ 466618 h 2390466"/>
              <a:gd name="connsiteX30" fmla="*/ 6673201 w 12192000"/>
              <a:gd name="connsiteY30" fmla="*/ 450192 h 2390466"/>
              <a:gd name="connsiteX31" fmla="*/ 6686986 w 12192000"/>
              <a:gd name="connsiteY31" fmla="*/ 449182 h 2390466"/>
              <a:gd name="connsiteX32" fmla="*/ 6738693 w 12192000"/>
              <a:gd name="connsiteY32" fmla="*/ 453246 h 2390466"/>
              <a:gd name="connsiteX33" fmla="*/ 6970467 w 12192000"/>
              <a:gd name="connsiteY33" fmla="*/ 419633 h 2390466"/>
              <a:gd name="connsiteX34" fmla="*/ 7042198 w 12192000"/>
              <a:gd name="connsiteY34" fmla="*/ 421879 h 2390466"/>
              <a:gd name="connsiteX35" fmla="*/ 7077073 w 12192000"/>
              <a:gd name="connsiteY35" fmla="*/ 418698 h 2390466"/>
              <a:gd name="connsiteX36" fmla="*/ 7083030 w 12192000"/>
              <a:gd name="connsiteY36" fmla="*/ 418582 h 2390466"/>
              <a:gd name="connsiteX37" fmla="*/ 7124039 w 12192000"/>
              <a:gd name="connsiteY37" fmla="*/ 420736 h 2390466"/>
              <a:gd name="connsiteX38" fmla="*/ 7184925 w 12192000"/>
              <a:gd name="connsiteY38" fmla="*/ 428516 h 2390466"/>
              <a:gd name="connsiteX39" fmla="*/ 7247913 w 12192000"/>
              <a:gd name="connsiteY39" fmla="*/ 444836 h 2390466"/>
              <a:gd name="connsiteX40" fmla="*/ 7309614 w 12192000"/>
              <a:gd name="connsiteY40" fmla="*/ 459228 h 2390466"/>
              <a:gd name="connsiteX41" fmla="*/ 7500925 w 12192000"/>
              <a:gd name="connsiteY41" fmla="*/ 468250 h 2390466"/>
              <a:gd name="connsiteX42" fmla="*/ 7551687 w 12192000"/>
              <a:gd name="connsiteY42" fmla="*/ 486478 h 2390466"/>
              <a:gd name="connsiteX43" fmla="*/ 7655497 w 12192000"/>
              <a:gd name="connsiteY43" fmla="*/ 485382 h 2390466"/>
              <a:gd name="connsiteX44" fmla="*/ 7678276 w 12192000"/>
              <a:gd name="connsiteY44" fmla="*/ 478273 h 2390466"/>
              <a:gd name="connsiteX45" fmla="*/ 7732190 w 12192000"/>
              <a:gd name="connsiteY45" fmla="*/ 471988 h 2390466"/>
              <a:gd name="connsiteX46" fmla="*/ 7901019 w 12192000"/>
              <a:gd name="connsiteY46" fmla="*/ 427394 h 2390466"/>
              <a:gd name="connsiteX47" fmla="*/ 7953628 w 12192000"/>
              <a:gd name="connsiteY47" fmla="*/ 414800 h 2390466"/>
              <a:gd name="connsiteX48" fmla="*/ 7959483 w 12192000"/>
              <a:gd name="connsiteY48" fmla="*/ 413640 h 2390466"/>
              <a:gd name="connsiteX49" fmla="*/ 8000268 w 12192000"/>
              <a:gd name="connsiteY49" fmla="*/ 408559 h 2390466"/>
              <a:gd name="connsiteX50" fmla="*/ 8126468 w 12192000"/>
              <a:gd name="connsiteY50" fmla="*/ 410535 h 2390466"/>
              <a:gd name="connsiteX51" fmla="*/ 8163540 w 12192000"/>
              <a:gd name="connsiteY51" fmla="*/ 410897 h 2390466"/>
              <a:gd name="connsiteX52" fmla="*/ 8189733 w 12192000"/>
              <a:gd name="connsiteY52" fmla="*/ 413869 h 2390466"/>
              <a:gd name="connsiteX53" fmla="*/ 8260604 w 12192000"/>
              <a:gd name="connsiteY53" fmla="*/ 406866 h 2390466"/>
              <a:gd name="connsiteX54" fmla="*/ 8379838 w 12192000"/>
              <a:gd name="connsiteY54" fmla="*/ 389167 h 2390466"/>
              <a:gd name="connsiteX55" fmla="*/ 8433895 w 12192000"/>
              <a:gd name="connsiteY55" fmla="*/ 393057 h 2390466"/>
              <a:gd name="connsiteX56" fmla="*/ 8624741 w 12192000"/>
              <a:gd name="connsiteY56" fmla="*/ 369980 h 2390466"/>
              <a:gd name="connsiteX57" fmla="*/ 8786230 w 12192000"/>
              <a:gd name="connsiteY57" fmla="*/ 358126 h 2390466"/>
              <a:gd name="connsiteX58" fmla="*/ 8911903 w 12192000"/>
              <a:gd name="connsiteY58" fmla="*/ 342099 h 2390466"/>
              <a:gd name="connsiteX59" fmla="*/ 9182090 w 12192000"/>
              <a:gd name="connsiteY59" fmla="*/ 301277 h 2390466"/>
              <a:gd name="connsiteX60" fmla="*/ 9196066 w 12192000"/>
              <a:gd name="connsiteY60" fmla="*/ 291440 h 2390466"/>
              <a:gd name="connsiteX61" fmla="*/ 9249142 w 12192000"/>
              <a:gd name="connsiteY61" fmla="*/ 276200 h 2390466"/>
              <a:gd name="connsiteX62" fmla="*/ 9316564 w 12192000"/>
              <a:gd name="connsiteY62" fmla="*/ 259543 h 2390466"/>
              <a:gd name="connsiteX63" fmla="*/ 9317108 w 12192000"/>
              <a:gd name="connsiteY63" fmla="*/ 260495 h 2390466"/>
              <a:gd name="connsiteX64" fmla="*/ 9348338 w 12192000"/>
              <a:gd name="connsiteY64" fmla="*/ 264323 h 2390466"/>
              <a:gd name="connsiteX65" fmla="*/ 9473084 w 12192000"/>
              <a:gd name="connsiteY65" fmla="*/ 266063 h 2390466"/>
              <a:gd name="connsiteX66" fmla="*/ 9478478 w 12192000"/>
              <a:gd name="connsiteY66" fmla="*/ 266804 h 2390466"/>
              <a:gd name="connsiteX67" fmla="*/ 9715853 w 12192000"/>
              <a:gd name="connsiteY67" fmla="*/ 258126 h 2390466"/>
              <a:gd name="connsiteX68" fmla="*/ 9818432 w 12192000"/>
              <a:gd name="connsiteY68" fmla="*/ 252883 h 2390466"/>
              <a:gd name="connsiteX69" fmla="*/ 9904781 w 12192000"/>
              <a:gd name="connsiteY69" fmla="*/ 257651 h 2390466"/>
              <a:gd name="connsiteX70" fmla="*/ 10027169 w 12192000"/>
              <a:gd name="connsiteY70" fmla="*/ 245494 h 2390466"/>
              <a:gd name="connsiteX71" fmla="*/ 10133939 w 12192000"/>
              <a:gd name="connsiteY71" fmla="*/ 205160 h 2390466"/>
              <a:gd name="connsiteX72" fmla="*/ 10149756 w 12192000"/>
              <a:gd name="connsiteY72" fmla="*/ 197031 h 2390466"/>
              <a:gd name="connsiteX73" fmla="*/ 10314272 w 12192000"/>
              <a:gd name="connsiteY73" fmla="*/ 148538 h 2390466"/>
              <a:gd name="connsiteX74" fmla="*/ 10432944 w 12192000"/>
              <a:gd name="connsiteY74" fmla="*/ 122284 h 2390466"/>
              <a:gd name="connsiteX75" fmla="*/ 10554052 w 12192000"/>
              <a:gd name="connsiteY75" fmla="*/ 72143 h 2390466"/>
              <a:gd name="connsiteX76" fmla="*/ 10757451 w 12192000"/>
              <a:gd name="connsiteY76" fmla="*/ 6065 h 2390466"/>
              <a:gd name="connsiteX77" fmla="*/ 10801045 w 12192000"/>
              <a:gd name="connsiteY77" fmla="*/ 201 h 2390466"/>
              <a:gd name="connsiteX0" fmla="*/ 10801045 w 12192000"/>
              <a:gd name="connsiteY0" fmla="*/ 201 h 2390466"/>
              <a:gd name="connsiteX1" fmla="*/ 10821038 w 12192000"/>
              <a:gd name="connsiteY1" fmla="*/ 2915 h 2390466"/>
              <a:gd name="connsiteX2" fmla="*/ 10835633 w 12192000"/>
              <a:gd name="connsiteY2" fmla="*/ 5460 h 2390466"/>
              <a:gd name="connsiteX3" fmla="*/ 10912235 w 12192000"/>
              <a:gd name="connsiteY3" fmla="*/ 11275 h 2390466"/>
              <a:gd name="connsiteX4" fmla="*/ 10996653 w 12192000"/>
              <a:gd name="connsiteY4" fmla="*/ 29720 h 2390466"/>
              <a:gd name="connsiteX5" fmla="*/ 11221749 w 12192000"/>
              <a:gd name="connsiteY5" fmla="*/ 20463 h 2390466"/>
              <a:gd name="connsiteX6" fmla="*/ 11379086 w 12192000"/>
              <a:gd name="connsiteY6" fmla="*/ 32130 h 2390466"/>
              <a:gd name="connsiteX7" fmla="*/ 11594775 w 12192000"/>
              <a:gd name="connsiteY7" fmla="*/ 63178 h 2390466"/>
              <a:gd name="connsiteX8" fmla="*/ 11671329 w 12192000"/>
              <a:gd name="connsiteY8" fmla="*/ 63198 h 2390466"/>
              <a:gd name="connsiteX9" fmla="*/ 11778165 w 12192000"/>
              <a:gd name="connsiteY9" fmla="*/ 89018 h 2390466"/>
              <a:gd name="connsiteX10" fmla="*/ 11815487 w 12192000"/>
              <a:gd name="connsiteY10" fmla="*/ 91973 h 2390466"/>
              <a:gd name="connsiteX11" fmla="*/ 11918614 w 12192000"/>
              <a:gd name="connsiteY11" fmla="*/ 104205 h 2390466"/>
              <a:gd name="connsiteX12" fmla="*/ 12114359 w 12192000"/>
              <a:gd name="connsiteY12" fmla="*/ 120975 h 2390466"/>
              <a:gd name="connsiteX13" fmla="*/ 12154355 w 12192000"/>
              <a:gd name="connsiteY13" fmla="*/ 133176 h 2390466"/>
              <a:gd name="connsiteX14" fmla="*/ 12187428 w 12192000"/>
              <a:gd name="connsiteY14" fmla="*/ 137775 h 2390466"/>
              <a:gd name="connsiteX15" fmla="*/ 12192000 w 12192000"/>
              <a:gd name="connsiteY15" fmla="*/ 138440 h 2390466"/>
              <a:gd name="connsiteX16" fmla="*/ 12192000 w 12192000"/>
              <a:gd name="connsiteY16" fmla="*/ 2390466 h 2390466"/>
              <a:gd name="connsiteX17" fmla="*/ 0 w 12192000"/>
              <a:gd name="connsiteY17" fmla="*/ 2390466 h 2390466"/>
              <a:gd name="connsiteX18" fmla="*/ 0 w 12192000"/>
              <a:gd name="connsiteY18" fmla="*/ 1588774 h 2390466"/>
              <a:gd name="connsiteX19" fmla="*/ 301314 w 12192000"/>
              <a:gd name="connsiteY19" fmla="*/ 1608551 h 2390466"/>
              <a:gd name="connsiteX20" fmla="*/ 542046 w 12192000"/>
              <a:gd name="connsiteY20" fmla="*/ 1590558 h 2390466"/>
              <a:gd name="connsiteX21" fmla="*/ 631576 w 12192000"/>
              <a:gd name="connsiteY21" fmla="*/ 1592277 h 2390466"/>
              <a:gd name="connsiteX22" fmla="*/ 833545 w 12192000"/>
              <a:gd name="connsiteY22" fmla="*/ 1592729 h 2390466"/>
              <a:gd name="connsiteX23" fmla="*/ 938627 w 12192000"/>
              <a:gd name="connsiteY23" fmla="*/ 1594718 h 2390466"/>
              <a:gd name="connsiteX24" fmla="*/ 1184424 w 12192000"/>
              <a:gd name="connsiteY24" fmla="*/ 1497877 h 2390466"/>
              <a:gd name="connsiteX25" fmla="*/ 2104961 w 12192000"/>
              <a:gd name="connsiteY25" fmla="*/ 1561710 h 2390466"/>
              <a:gd name="connsiteX26" fmla="*/ 4867911 w 12192000"/>
              <a:gd name="connsiteY26" fmla="*/ 911197 h 2390466"/>
              <a:gd name="connsiteX27" fmla="*/ 6340771 w 12192000"/>
              <a:gd name="connsiteY27" fmla="*/ 489318 h 2390466"/>
              <a:gd name="connsiteX28" fmla="*/ 6368917 w 12192000"/>
              <a:gd name="connsiteY28" fmla="*/ 487274 h 2390466"/>
              <a:gd name="connsiteX29" fmla="*/ 6548466 w 12192000"/>
              <a:gd name="connsiteY29" fmla="*/ 466618 h 2390466"/>
              <a:gd name="connsiteX30" fmla="*/ 6673201 w 12192000"/>
              <a:gd name="connsiteY30" fmla="*/ 450192 h 2390466"/>
              <a:gd name="connsiteX31" fmla="*/ 6686986 w 12192000"/>
              <a:gd name="connsiteY31" fmla="*/ 449182 h 2390466"/>
              <a:gd name="connsiteX32" fmla="*/ 6738693 w 12192000"/>
              <a:gd name="connsiteY32" fmla="*/ 453246 h 2390466"/>
              <a:gd name="connsiteX33" fmla="*/ 6970467 w 12192000"/>
              <a:gd name="connsiteY33" fmla="*/ 419633 h 2390466"/>
              <a:gd name="connsiteX34" fmla="*/ 7042198 w 12192000"/>
              <a:gd name="connsiteY34" fmla="*/ 421879 h 2390466"/>
              <a:gd name="connsiteX35" fmla="*/ 7077073 w 12192000"/>
              <a:gd name="connsiteY35" fmla="*/ 418698 h 2390466"/>
              <a:gd name="connsiteX36" fmla="*/ 7083030 w 12192000"/>
              <a:gd name="connsiteY36" fmla="*/ 418582 h 2390466"/>
              <a:gd name="connsiteX37" fmla="*/ 7124039 w 12192000"/>
              <a:gd name="connsiteY37" fmla="*/ 420736 h 2390466"/>
              <a:gd name="connsiteX38" fmla="*/ 7184925 w 12192000"/>
              <a:gd name="connsiteY38" fmla="*/ 428516 h 2390466"/>
              <a:gd name="connsiteX39" fmla="*/ 7247913 w 12192000"/>
              <a:gd name="connsiteY39" fmla="*/ 444836 h 2390466"/>
              <a:gd name="connsiteX40" fmla="*/ 7309614 w 12192000"/>
              <a:gd name="connsiteY40" fmla="*/ 459228 h 2390466"/>
              <a:gd name="connsiteX41" fmla="*/ 7500925 w 12192000"/>
              <a:gd name="connsiteY41" fmla="*/ 468250 h 2390466"/>
              <a:gd name="connsiteX42" fmla="*/ 7551687 w 12192000"/>
              <a:gd name="connsiteY42" fmla="*/ 486478 h 2390466"/>
              <a:gd name="connsiteX43" fmla="*/ 7655497 w 12192000"/>
              <a:gd name="connsiteY43" fmla="*/ 485382 h 2390466"/>
              <a:gd name="connsiteX44" fmla="*/ 7678276 w 12192000"/>
              <a:gd name="connsiteY44" fmla="*/ 478273 h 2390466"/>
              <a:gd name="connsiteX45" fmla="*/ 7732190 w 12192000"/>
              <a:gd name="connsiteY45" fmla="*/ 471988 h 2390466"/>
              <a:gd name="connsiteX46" fmla="*/ 7901019 w 12192000"/>
              <a:gd name="connsiteY46" fmla="*/ 427394 h 2390466"/>
              <a:gd name="connsiteX47" fmla="*/ 7953628 w 12192000"/>
              <a:gd name="connsiteY47" fmla="*/ 414800 h 2390466"/>
              <a:gd name="connsiteX48" fmla="*/ 7959483 w 12192000"/>
              <a:gd name="connsiteY48" fmla="*/ 413640 h 2390466"/>
              <a:gd name="connsiteX49" fmla="*/ 8000268 w 12192000"/>
              <a:gd name="connsiteY49" fmla="*/ 408559 h 2390466"/>
              <a:gd name="connsiteX50" fmla="*/ 8126468 w 12192000"/>
              <a:gd name="connsiteY50" fmla="*/ 410535 h 2390466"/>
              <a:gd name="connsiteX51" fmla="*/ 8163540 w 12192000"/>
              <a:gd name="connsiteY51" fmla="*/ 410897 h 2390466"/>
              <a:gd name="connsiteX52" fmla="*/ 8189733 w 12192000"/>
              <a:gd name="connsiteY52" fmla="*/ 413869 h 2390466"/>
              <a:gd name="connsiteX53" fmla="*/ 8260604 w 12192000"/>
              <a:gd name="connsiteY53" fmla="*/ 406866 h 2390466"/>
              <a:gd name="connsiteX54" fmla="*/ 8379838 w 12192000"/>
              <a:gd name="connsiteY54" fmla="*/ 389167 h 2390466"/>
              <a:gd name="connsiteX55" fmla="*/ 8433895 w 12192000"/>
              <a:gd name="connsiteY55" fmla="*/ 393057 h 2390466"/>
              <a:gd name="connsiteX56" fmla="*/ 8624741 w 12192000"/>
              <a:gd name="connsiteY56" fmla="*/ 369980 h 2390466"/>
              <a:gd name="connsiteX57" fmla="*/ 8786230 w 12192000"/>
              <a:gd name="connsiteY57" fmla="*/ 358126 h 2390466"/>
              <a:gd name="connsiteX58" fmla="*/ 8911903 w 12192000"/>
              <a:gd name="connsiteY58" fmla="*/ 342099 h 2390466"/>
              <a:gd name="connsiteX59" fmla="*/ 9182090 w 12192000"/>
              <a:gd name="connsiteY59" fmla="*/ 301277 h 2390466"/>
              <a:gd name="connsiteX60" fmla="*/ 9196066 w 12192000"/>
              <a:gd name="connsiteY60" fmla="*/ 291440 h 2390466"/>
              <a:gd name="connsiteX61" fmla="*/ 9249142 w 12192000"/>
              <a:gd name="connsiteY61" fmla="*/ 276200 h 2390466"/>
              <a:gd name="connsiteX62" fmla="*/ 9316564 w 12192000"/>
              <a:gd name="connsiteY62" fmla="*/ 259543 h 2390466"/>
              <a:gd name="connsiteX63" fmla="*/ 9317108 w 12192000"/>
              <a:gd name="connsiteY63" fmla="*/ 260495 h 2390466"/>
              <a:gd name="connsiteX64" fmla="*/ 9348338 w 12192000"/>
              <a:gd name="connsiteY64" fmla="*/ 264323 h 2390466"/>
              <a:gd name="connsiteX65" fmla="*/ 9473084 w 12192000"/>
              <a:gd name="connsiteY65" fmla="*/ 266063 h 2390466"/>
              <a:gd name="connsiteX66" fmla="*/ 9478478 w 12192000"/>
              <a:gd name="connsiteY66" fmla="*/ 266804 h 2390466"/>
              <a:gd name="connsiteX67" fmla="*/ 9715853 w 12192000"/>
              <a:gd name="connsiteY67" fmla="*/ 258126 h 2390466"/>
              <a:gd name="connsiteX68" fmla="*/ 9818432 w 12192000"/>
              <a:gd name="connsiteY68" fmla="*/ 252883 h 2390466"/>
              <a:gd name="connsiteX69" fmla="*/ 9904781 w 12192000"/>
              <a:gd name="connsiteY69" fmla="*/ 257651 h 2390466"/>
              <a:gd name="connsiteX70" fmla="*/ 10027169 w 12192000"/>
              <a:gd name="connsiteY70" fmla="*/ 245494 h 2390466"/>
              <a:gd name="connsiteX71" fmla="*/ 10133939 w 12192000"/>
              <a:gd name="connsiteY71" fmla="*/ 205160 h 2390466"/>
              <a:gd name="connsiteX72" fmla="*/ 10149756 w 12192000"/>
              <a:gd name="connsiteY72" fmla="*/ 197031 h 2390466"/>
              <a:gd name="connsiteX73" fmla="*/ 10314272 w 12192000"/>
              <a:gd name="connsiteY73" fmla="*/ 148538 h 2390466"/>
              <a:gd name="connsiteX74" fmla="*/ 10432944 w 12192000"/>
              <a:gd name="connsiteY74" fmla="*/ 122284 h 2390466"/>
              <a:gd name="connsiteX75" fmla="*/ 10554052 w 12192000"/>
              <a:gd name="connsiteY75" fmla="*/ 72143 h 2390466"/>
              <a:gd name="connsiteX76" fmla="*/ 10757451 w 12192000"/>
              <a:gd name="connsiteY76" fmla="*/ 6065 h 2390466"/>
              <a:gd name="connsiteX77" fmla="*/ 10801045 w 12192000"/>
              <a:gd name="connsiteY77" fmla="*/ 201 h 2390466"/>
              <a:gd name="connsiteX0" fmla="*/ 10801045 w 12192000"/>
              <a:gd name="connsiteY0" fmla="*/ 201 h 2390466"/>
              <a:gd name="connsiteX1" fmla="*/ 10821038 w 12192000"/>
              <a:gd name="connsiteY1" fmla="*/ 2915 h 2390466"/>
              <a:gd name="connsiteX2" fmla="*/ 10835633 w 12192000"/>
              <a:gd name="connsiteY2" fmla="*/ 5460 h 2390466"/>
              <a:gd name="connsiteX3" fmla="*/ 10912235 w 12192000"/>
              <a:gd name="connsiteY3" fmla="*/ 11275 h 2390466"/>
              <a:gd name="connsiteX4" fmla="*/ 10996653 w 12192000"/>
              <a:gd name="connsiteY4" fmla="*/ 29720 h 2390466"/>
              <a:gd name="connsiteX5" fmla="*/ 11221749 w 12192000"/>
              <a:gd name="connsiteY5" fmla="*/ 20463 h 2390466"/>
              <a:gd name="connsiteX6" fmla="*/ 11379086 w 12192000"/>
              <a:gd name="connsiteY6" fmla="*/ 32130 h 2390466"/>
              <a:gd name="connsiteX7" fmla="*/ 11594775 w 12192000"/>
              <a:gd name="connsiteY7" fmla="*/ 63178 h 2390466"/>
              <a:gd name="connsiteX8" fmla="*/ 11671329 w 12192000"/>
              <a:gd name="connsiteY8" fmla="*/ 63198 h 2390466"/>
              <a:gd name="connsiteX9" fmla="*/ 11778165 w 12192000"/>
              <a:gd name="connsiteY9" fmla="*/ 89018 h 2390466"/>
              <a:gd name="connsiteX10" fmla="*/ 11815487 w 12192000"/>
              <a:gd name="connsiteY10" fmla="*/ 91973 h 2390466"/>
              <a:gd name="connsiteX11" fmla="*/ 11918614 w 12192000"/>
              <a:gd name="connsiteY11" fmla="*/ 104205 h 2390466"/>
              <a:gd name="connsiteX12" fmla="*/ 12114359 w 12192000"/>
              <a:gd name="connsiteY12" fmla="*/ 120975 h 2390466"/>
              <a:gd name="connsiteX13" fmla="*/ 12154355 w 12192000"/>
              <a:gd name="connsiteY13" fmla="*/ 133176 h 2390466"/>
              <a:gd name="connsiteX14" fmla="*/ 12187428 w 12192000"/>
              <a:gd name="connsiteY14" fmla="*/ 137775 h 2390466"/>
              <a:gd name="connsiteX15" fmla="*/ 12192000 w 12192000"/>
              <a:gd name="connsiteY15" fmla="*/ 138440 h 2390466"/>
              <a:gd name="connsiteX16" fmla="*/ 12192000 w 12192000"/>
              <a:gd name="connsiteY16" fmla="*/ 2390466 h 2390466"/>
              <a:gd name="connsiteX17" fmla="*/ 0 w 12192000"/>
              <a:gd name="connsiteY17" fmla="*/ 2390466 h 2390466"/>
              <a:gd name="connsiteX18" fmla="*/ 0 w 12192000"/>
              <a:gd name="connsiteY18" fmla="*/ 1588774 h 2390466"/>
              <a:gd name="connsiteX19" fmla="*/ 301314 w 12192000"/>
              <a:gd name="connsiteY19" fmla="*/ 1608551 h 2390466"/>
              <a:gd name="connsiteX20" fmla="*/ 542046 w 12192000"/>
              <a:gd name="connsiteY20" fmla="*/ 1590558 h 2390466"/>
              <a:gd name="connsiteX21" fmla="*/ 631576 w 12192000"/>
              <a:gd name="connsiteY21" fmla="*/ 1592277 h 2390466"/>
              <a:gd name="connsiteX22" fmla="*/ 833545 w 12192000"/>
              <a:gd name="connsiteY22" fmla="*/ 1592729 h 2390466"/>
              <a:gd name="connsiteX23" fmla="*/ 938627 w 12192000"/>
              <a:gd name="connsiteY23" fmla="*/ 1594718 h 2390466"/>
              <a:gd name="connsiteX24" fmla="*/ 1184424 w 12192000"/>
              <a:gd name="connsiteY24" fmla="*/ 1497877 h 2390466"/>
              <a:gd name="connsiteX25" fmla="*/ 2104961 w 12192000"/>
              <a:gd name="connsiteY25" fmla="*/ 1561710 h 2390466"/>
              <a:gd name="connsiteX26" fmla="*/ 4831089 w 12192000"/>
              <a:gd name="connsiteY26" fmla="*/ 984840 h 2390466"/>
              <a:gd name="connsiteX27" fmla="*/ 6340771 w 12192000"/>
              <a:gd name="connsiteY27" fmla="*/ 489318 h 2390466"/>
              <a:gd name="connsiteX28" fmla="*/ 6368917 w 12192000"/>
              <a:gd name="connsiteY28" fmla="*/ 487274 h 2390466"/>
              <a:gd name="connsiteX29" fmla="*/ 6548466 w 12192000"/>
              <a:gd name="connsiteY29" fmla="*/ 466618 h 2390466"/>
              <a:gd name="connsiteX30" fmla="*/ 6673201 w 12192000"/>
              <a:gd name="connsiteY30" fmla="*/ 450192 h 2390466"/>
              <a:gd name="connsiteX31" fmla="*/ 6686986 w 12192000"/>
              <a:gd name="connsiteY31" fmla="*/ 449182 h 2390466"/>
              <a:gd name="connsiteX32" fmla="*/ 6738693 w 12192000"/>
              <a:gd name="connsiteY32" fmla="*/ 453246 h 2390466"/>
              <a:gd name="connsiteX33" fmla="*/ 6970467 w 12192000"/>
              <a:gd name="connsiteY33" fmla="*/ 419633 h 2390466"/>
              <a:gd name="connsiteX34" fmla="*/ 7042198 w 12192000"/>
              <a:gd name="connsiteY34" fmla="*/ 421879 h 2390466"/>
              <a:gd name="connsiteX35" fmla="*/ 7077073 w 12192000"/>
              <a:gd name="connsiteY35" fmla="*/ 418698 h 2390466"/>
              <a:gd name="connsiteX36" fmla="*/ 7083030 w 12192000"/>
              <a:gd name="connsiteY36" fmla="*/ 418582 h 2390466"/>
              <a:gd name="connsiteX37" fmla="*/ 7124039 w 12192000"/>
              <a:gd name="connsiteY37" fmla="*/ 420736 h 2390466"/>
              <a:gd name="connsiteX38" fmla="*/ 7184925 w 12192000"/>
              <a:gd name="connsiteY38" fmla="*/ 428516 h 2390466"/>
              <a:gd name="connsiteX39" fmla="*/ 7247913 w 12192000"/>
              <a:gd name="connsiteY39" fmla="*/ 444836 h 2390466"/>
              <a:gd name="connsiteX40" fmla="*/ 7309614 w 12192000"/>
              <a:gd name="connsiteY40" fmla="*/ 459228 h 2390466"/>
              <a:gd name="connsiteX41" fmla="*/ 7500925 w 12192000"/>
              <a:gd name="connsiteY41" fmla="*/ 468250 h 2390466"/>
              <a:gd name="connsiteX42" fmla="*/ 7551687 w 12192000"/>
              <a:gd name="connsiteY42" fmla="*/ 486478 h 2390466"/>
              <a:gd name="connsiteX43" fmla="*/ 7655497 w 12192000"/>
              <a:gd name="connsiteY43" fmla="*/ 485382 h 2390466"/>
              <a:gd name="connsiteX44" fmla="*/ 7678276 w 12192000"/>
              <a:gd name="connsiteY44" fmla="*/ 478273 h 2390466"/>
              <a:gd name="connsiteX45" fmla="*/ 7732190 w 12192000"/>
              <a:gd name="connsiteY45" fmla="*/ 471988 h 2390466"/>
              <a:gd name="connsiteX46" fmla="*/ 7901019 w 12192000"/>
              <a:gd name="connsiteY46" fmla="*/ 427394 h 2390466"/>
              <a:gd name="connsiteX47" fmla="*/ 7953628 w 12192000"/>
              <a:gd name="connsiteY47" fmla="*/ 414800 h 2390466"/>
              <a:gd name="connsiteX48" fmla="*/ 7959483 w 12192000"/>
              <a:gd name="connsiteY48" fmla="*/ 413640 h 2390466"/>
              <a:gd name="connsiteX49" fmla="*/ 8000268 w 12192000"/>
              <a:gd name="connsiteY49" fmla="*/ 408559 h 2390466"/>
              <a:gd name="connsiteX50" fmla="*/ 8126468 w 12192000"/>
              <a:gd name="connsiteY50" fmla="*/ 410535 h 2390466"/>
              <a:gd name="connsiteX51" fmla="*/ 8163540 w 12192000"/>
              <a:gd name="connsiteY51" fmla="*/ 410897 h 2390466"/>
              <a:gd name="connsiteX52" fmla="*/ 8189733 w 12192000"/>
              <a:gd name="connsiteY52" fmla="*/ 413869 h 2390466"/>
              <a:gd name="connsiteX53" fmla="*/ 8260604 w 12192000"/>
              <a:gd name="connsiteY53" fmla="*/ 406866 h 2390466"/>
              <a:gd name="connsiteX54" fmla="*/ 8379838 w 12192000"/>
              <a:gd name="connsiteY54" fmla="*/ 389167 h 2390466"/>
              <a:gd name="connsiteX55" fmla="*/ 8433895 w 12192000"/>
              <a:gd name="connsiteY55" fmla="*/ 393057 h 2390466"/>
              <a:gd name="connsiteX56" fmla="*/ 8624741 w 12192000"/>
              <a:gd name="connsiteY56" fmla="*/ 369980 h 2390466"/>
              <a:gd name="connsiteX57" fmla="*/ 8786230 w 12192000"/>
              <a:gd name="connsiteY57" fmla="*/ 358126 h 2390466"/>
              <a:gd name="connsiteX58" fmla="*/ 8911903 w 12192000"/>
              <a:gd name="connsiteY58" fmla="*/ 342099 h 2390466"/>
              <a:gd name="connsiteX59" fmla="*/ 9182090 w 12192000"/>
              <a:gd name="connsiteY59" fmla="*/ 301277 h 2390466"/>
              <a:gd name="connsiteX60" fmla="*/ 9196066 w 12192000"/>
              <a:gd name="connsiteY60" fmla="*/ 291440 h 2390466"/>
              <a:gd name="connsiteX61" fmla="*/ 9249142 w 12192000"/>
              <a:gd name="connsiteY61" fmla="*/ 276200 h 2390466"/>
              <a:gd name="connsiteX62" fmla="*/ 9316564 w 12192000"/>
              <a:gd name="connsiteY62" fmla="*/ 259543 h 2390466"/>
              <a:gd name="connsiteX63" fmla="*/ 9317108 w 12192000"/>
              <a:gd name="connsiteY63" fmla="*/ 260495 h 2390466"/>
              <a:gd name="connsiteX64" fmla="*/ 9348338 w 12192000"/>
              <a:gd name="connsiteY64" fmla="*/ 264323 h 2390466"/>
              <a:gd name="connsiteX65" fmla="*/ 9473084 w 12192000"/>
              <a:gd name="connsiteY65" fmla="*/ 266063 h 2390466"/>
              <a:gd name="connsiteX66" fmla="*/ 9478478 w 12192000"/>
              <a:gd name="connsiteY66" fmla="*/ 266804 h 2390466"/>
              <a:gd name="connsiteX67" fmla="*/ 9715853 w 12192000"/>
              <a:gd name="connsiteY67" fmla="*/ 258126 h 2390466"/>
              <a:gd name="connsiteX68" fmla="*/ 9818432 w 12192000"/>
              <a:gd name="connsiteY68" fmla="*/ 252883 h 2390466"/>
              <a:gd name="connsiteX69" fmla="*/ 9904781 w 12192000"/>
              <a:gd name="connsiteY69" fmla="*/ 257651 h 2390466"/>
              <a:gd name="connsiteX70" fmla="*/ 10027169 w 12192000"/>
              <a:gd name="connsiteY70" fmla="*/ 245494 h 2390466"/>
              <a:gd name="connsiteX71" fmla="*/ 10133939 w 12192000"/>
              <a:gd name="connsiteY71" fmla="*/ 205160 h 2390466"/>
              <a:gd name="connsiteX72" fmla="*/ 10149756 w 12192000"/>
              <a:gd name="connsiteY72" fmla="*/ 197031 h 2390466"/>
              <a:gd name="connsiteX73" fmla="*/ 10314272 w 12192000"/>
              <a:gd name="connsiteY73" fmla="*/ 148538 h 2390466"/>
              <a:gd name="connsiteX74" fmla="*/ 10432944 w 12192000"/>
              <a:gd name="connsiteY74" fmla="*/ 122284 h 2390466"/>
              <a:gd name="connsiteX75" fmla="*/ 10554052 w 12192000"/>
              <a:gd name="connsiteY75" fmla="*/ 72143 h 2390466"/>
              <a:gd name="connsiteX76" fmla="*/ 10757451 w 12192000"/>
              <a:gd name="connsiteY76" fmla="*/ 6065 h 2390466"/>
              <a:gd name="connsiteX77" fmla="*/ 10801045 w 12192000"/>
              <a:gd name="connsiteY77" fmla="*/ 201 h 2390466"/>
              <a:gd name="connsiteX0" fmla="*/ 10801045 w 12192000"/>
              <a:gd name="connsiteY0" fmla="*/ 201 h 2390466"/>
              <a:gd name="connsiteX1" fmla="*/ 10821038 w 12192000"/>
              <a:gd name="connsiteY1" fmla="*/ 2915 h 2390466"/>
              <a:gd name="connsiteX2" fmla="*/ 10835633 w 12192000"/>
              <a:gd name="connsiteY2" fmla="*/ 5460 h 2390466"/>
              <a:gd name="connsiteX3" fmla="*/ 10912235 w 12192000"/>
              <a:gd name="connsiteY3" fmla="*/ 11275 h 2390466"/>
              <a:gd name="connsiteX4" fmla="*/ 10996653 w 12192000"/>
              <a:gd name="connsiteY4" fmla="*/ 29720 h 2390466"/>
              <a:gd name="connsiteX5" fmla="*/ 11221749 w 12192000"/>
              <a:gd name="connsiteY5" fmla="*/ 20463 h 2390466"/>
              <a:gd name="connsiteX6" fmla="*/ 11379086 w 12192000"/>
              <a:gd name="connsiteY6" fmla="*/ 32130 h 2390466"/>
              <a:gd name="connsiteX7" fmla="*/ 11594775 w 12192000"/>
              <a:gd name="connsiteY7" fmla="*/ 63178 h 2390466"/>
              <a:gd name="connsiteX8" fmla="*/ 11671329 w 12192000"/>
              <a:gd name="connsiteY8" fmla="*/ 63198 h 2390466"/>
              <a:gd name="connsiteX9" fmla="*/ 11778165 w 12192000"/>
              <a:gd name="connsiteY9" fmla="*/ 89018 h 2390466"/>
              <a:gd name="connsiteX10" fmla="*/ 11815487 w 12192000"/>
              <a:gd name="connsiteY10" fmla="*/ 91973 h 2390466"/>
              <a:gd name="connsiteX11" fmla="*/ 11918614 w 12192000"/>
              <a:gd name="connsiteY11" fmla="*/ 104205 h 2390466"/>
              <a:gd name="connsiteX12" fmla="*/ 12114359 w 12192000"/>
              <a:gd name="connsiteY12" fmla="*/ 120975 h 2390466"/>
              <a:gd name="connsiteX13" fmla="*/ 12154355 w 12192000"/>
              <a:gd name="connsiteY13" fmla="*/ 133176 h 2390466"/>
              <a:gd name="connsiteX14" fmla="*/ 12187428 w 12192000"/>
              <a:gd name="connsiteY14" fmla="*/ 137775 h 2390466"/>
              <a:gd name="connsiteX15" fmla="*/ 12192000 w 12192000"/>
              <a:gd name="connsiteY15" fmla="*/ 138440 h 2390466"/>
              <a:gd name="connsiteX16" fmla="*/ 12192000 w 12192000"/>
              <a:gd name="connsiteY16" fmla="*/ 2390466 h 2390466"/>
              <a:gd name="connsiteX17" fmla="*/ 0 w 12192000"/>
              <a:gd name="connsiteY17" fmla="*/ 2390466 h 2390466"/>
              <a:gd name="connsiteX18" fmla="*/ 0 w 12192000"/>
              <a:gd name="connsiteY18" fmla="*/ 1588774 h 2390466"/>
              <a:gd name="connsiteX19" fmla="*/ 301314 w 12192000"/>
              <a:gd name="connsiteY19" fmla="*/ 1608551 h 2390466"/>
              <a:gd name="connsiteX20" fmla="*/ 542046 w 12192000"/>
              <a:gd name="connsiteY20" fmla="*/ 1590558 h 2390466"/>
              <a:gd name="connsiteX21" fmla="*/ 631576 w 12192000"/>
              <a:gd name="connsiteY21" fmla="*/ 1592277 h 2390466"/>
              <a:gd name="connsiteX22" fmla="*/ 833545 w 12192000"/>
              <a:gd name="connsiteY22" fmla="*/ 1592729 h 2390466"/>
              <a:gd name="connsiteX23" fmla="*/ 938627 w 12192000"/>
              <a:gd name="connsiteY23" fmla="*/ 1594718 h 2390466"/>
              <a:gd name="connsiteX24" fmla="*/ 1184424 w 12192000"/>
              <a:gd name="connsiteY24" fmla="*/ 1497877 h 2390466"/>
              <a:gd name="connsiteX25" fmla="*/ 2104961 w 12192000"/>
              <a:gd name="connsiteY25" fmla="*/ 1561710 h 2390466"/>
              <a:gd name="connsiteX26" fmla="*/ 4831089 w 12192000"/>
              <a:gd name="connsiteY26" fmla="*/ 984840 h 2390466"/>
              <a:gd name="connsiteX27" fmla="*/ 6340771 w 12192000"/>
              <a:gd name="connsiteY27" fmla="*/ 489318 h 2390466"/>
              <a:gd name="connsiteX28" fmla="*/ 6356643 w 12192000"/>
              <a:gd name="connsiteY28" fmla="*/ 597739 h 2390466"/>
              <a:gd name="connsiteX29" fmla="*/ 6548466 w 12192000"/>
              <a:gd name="connsiteY29" fmla="*/ 466618 h 2390466"/>
              <a:gd name="connsiteX30" fmla="*/ 6673201 w 12192000"/>
              <a:gd name="connsiteY30" fmla="*/ 450192 h 2390466"/>
              <a:gd name="connsiteX31" fmla="*/ 6686986 w 12192000"/>
              <a:gd name="connsiteY31" fmla="*/ 449182 h 2390466"/>
              <a:gd name="connsiteX32" fmla="*/ 6738693 w 12192000"/>
              <a:gd name="connsiteY32" fmla="*/ 453246 h 2390466"/>
              <a:gd name="connsiteX33" fmla="*/ 6970467 w 12192000"/>
              <a:gd name="connsiteY33" fmla="*/ 419633 h 2390466"/>
              <a:gd name="connsiteX34" fmla="*/ 7042198 w 12192000"/>
              <a:gd name="connsiteY34" fmla="*/ 421879 h 2390466"/>
              <a:gd name="connsiteX35" fmla="*/ 7077073 w 12192000"/>
              <a:gd name="connsiteY35" fmla="*/ 418698 h 2390466"/>
              <a:gd name="connsiteX36" fmla="*/ 7083030 w 12192000"/>
              <a:gd name="connsiteY36" fmla="*/ 418582 h 2390466"/>
              <a:gd name="connsiteX37" fmla="*/ 7124039 w 12192000"/>
              <a:gd name="connsiteY37" fmla="*/ 420736 h 2390466"/>
              <a:gd name="connsiteX38" fmla="*/ 7184925 w 12192000"/>
              <a:gd name="connsiteY38" fmla="*/ 428516 h 2390466"/>
              <a:gd name="connsiteX39" fmla="*/ 7247913 w 12192000"/>
              <a:gd name="connsiteY39" fmla="*/ 444836 h 2390466"/>
              <a:gd name="connsiteX40" fmla="*/ 7309614 w 12192000"/>
              <a:gd name="connsiteY40" fmla="*/ 459228 h 2390466"/>
              <a:gd name="connsiteX41" fmla="*/ 7500925 w 12192000"/>
              <a:gd name="connsiteY41" fmla="*/ 468250 h 2390466"/>
              <a:gd name="connsiteX42" fmla="*/ 7551687 w 12192000"/>
              <a:gd name="connsiteY42" fmla="*/ 486478 h 2390466"/>
              <a:gd name="connsiteX43" fmla="*/ 7655497 w 12192000"/>
              <a:gd name="connsiteY43" fmla="*/ 485382 h 2390466"/>
              <a:gd name="connsiteX44" fmla="*/ 7678276 w 12192000"/>
              <a:gd name="connsiteY44" fmla="*/ 478273 h 2390466"/>
              <a:gd name="connsiteX45" fmla="*/ 7732190 w 12192000"/>
              <a:gd name="connsiteY45" fmla="*/ 471988 h 2390466"/>
              <a:gd name="connsiteX46" fmla="*/ 7901019 w 12192000"/>
              <a:gd name="connsiteY46" fmla="*/ 427394 h 2390466"/>
              <a:gd name="connsiteX47" fmla="*/ 7953628 w 12192000"/>
              <a:gd name="connsiteY47" fmla="*/ 414800 h 2390466"/>
              <a:gd name="connsiteX48" fmla="*/ 7959483 w 12192000"/>
              <a:gd name="connsiteY48" fmla="*/ 413640 h 2390466"/>
              <a:gd name="connsiteX49" fmla="*/ 8000268 w 12192000"/>
              <a:gd name="connsiteY49" fmla="*/ 408559 h 2390466"/>
              <a:gd name="connsiteX50" fmla="*/ 8126468 w 12192000"/>
              <a:gd name="connsiteY50" fmla="*/ 410535 h 2390466"/>
              <a:gd name="connsiteX51" fmla="*/ 8163540 w 12192000"/>
              <a:gd name="connsiteY51" fmla="*/ 410897 h 2390466"/>
              <a:gd name="connsiteX52" fmla="*/ 8189733 w 12192000"/>
              <a:gd name="connsiteY52" fmla="*/ 413869 h 2390466"/>
              <a:gd name="connsiteX53" fmla="*/ 8260604 w 12192000"/>
              <a:gd name="connsiteY53" fmla="*/ 406866 h 2390466"/>
              <a:gd name="connsiteX54" fmla="*/ 8379838 w 12192000"/>
              <a:gd name="connsiteY54" fmla="*/ 389167 h 2390466"/>
              <a:gd name="connsiteX55" fmla="*/ 8433895 w 12192000"/>
              <a:gd name="connsiteY55" fmla="*/ 393057 h 2390466"/>
              <a:gd name="connsiteX56" fmla="*/ 8624741 w 12192000"/>
              <a:gd name="connsiteY56" fmla="*/ 369980 h 2390466"/>
              <a:gd name="connsiteX57" fmla="*/ 8786230 w 12192000"/>
              <a:gd name="connsiteY57" fmla="*/ 358126 h 2390466"/>
              <a:gd name="connsiteX58" fmla="*/ 8911903 w 12192000"/>
              <a:gd name="connsiteY58" fmla="*/ 342099 h 2390466"/>
              <a:gd name="connsiteX59" fmla="*/ 9182090 w 12192000"/>
              <a:gd name="connsiteY59" fmla="*/ 301277 h 2390466"/>
              <a:gd name="connsiteX60" fmla="*/ 9196066 w 12192000"/>
              <a:gd name="connsiteY60" fmla="*/ 291440 h 2390466"/>
              <a:gd name="connsiteX61" fmla="*/ 9249142 w 12192000"/>
              <a:gd name="connsiteY61" fmla="*/ 276200 h 2390466"/>
              <a:gd name="connsiteX62" fmla="*/ 9316564 w 12192000"/>
              <a:gd name="connsiteY62" fmla="*/ 259543 h 2390466"/>
              <a:gd name="connsiteX63" fmla="*/ 9317108 w 12192000"/>
              <a:gd name="connsiteY63" fmla="*/ 260495 h 2390466"/>
              <a:gd name="connsiteX64" fmla="*/ 9348338 w 12192000"/>
              <a:gd name="connsiteY64" fmla="*/ 264323 h 2390466"/>
              <a:gd name="connsiteX65" fmla="*/ 9473084 w 12192000"/>
              <a:gd name="connsiteY65" fmla="*/ 266063 h 2390466"/>
              <a:gd name="connsiteX66" fmla="*/ 9478478 w 12192000"/>
              <a:gd name="connsiteY66" fmla="*/ 266804 h 2390466"/>
              <a:gd name="connsiteX67" fmla="*/ 9715853 w 12192000"/>
              <a:gd name="connsiteY67" fmla="*/ 258126 h 2390466"/>
              <a:gd name="connsiteX68" fmla="*/ 9818432 w 12192000"/>
              <a:gd name="connsiteY68" fmla="*/ 252883 h 2390466"/>
              <a:gd name="connsiteX69" fmla="*/ 9904781 w 12192000"/>
              <a:gd name="connsiteY69" fmla="*/ 257651 h 2390466"/>
              <a:gd name="connsiteX70" fmla="*/ 10027169 w 12192000"/>
              <a:gd name="connsiteY70" fmla="*/ 245494 h 2390466"/>
              <a:gd name="connsiteX71" fmla="*/ 10133939 w 12192000"/>
              <a:gd name="connsiteY71" fmla="*/ 205160 h 2390466"/>
              <a:gd name="connsiteX72" fmla="*/ 10149756 w 12192000"/>
              <a:gd name="connsiteY72" fmla="*/ 197031 h 2390466"/>
              <a:gd name="connsiteX73" fmla="*/ 10314272 w 12192000"/>
              <a:gd name="connsiteY73" fmla="*/ 148538 h 2390466"/>
              <a:gd name="connsiteX74" fmla="*/ 10432944 w 12192000"/>
              <a:gd name="connsiteY74" fmla="*/ 122284 h 2390466"/>
              <a:gd name="connsiteX75" fmla="*/ 10554052 w 12192000"/>
              <a:gd name="connsiteY75" fmla="*/ 72143 h 2390466"/>
              <a:gd name="connsiteX76" fmla="*/ 10757451 w 12192000"/>
              <a:gd name="connsiteY76" fmla="*/ 6065 h 2390466"/>
              <a:gd name="connsiteX77" fmla="*/ 10801045 w 12192000"/>
              <a:gd name="connsiteY77" fmla="*/ 201 h 2390466"/>
              <a:gd name="connsiteX0" fmla="*/ 10801045 w 12192000"/>
              <a:gd name="connsiteY0" fmla="*/ 201 h 2390466"/>
              <a:gd name="connsiteX1" fmla="*/ 10821038 w 12192000"/>
              <a:gd name="connsiteY1" fmla="*/ 2915 h 2390466"/>
              <a:gd name="connsiteX2" fmla="*/ 10835633 w 12192000"/>
              <a:gd name="connsiteY2" fmla="*/ 5460 h 2390466"/>
              <a:gd name="connsiteX3" fmla="*/ 10912235 w 12192000"/>
              <a:gd name="connsiteY3" fmla="*/ 11275 h 2390466"/>
              <a:gd name="connsiteX4" fmla="*/ 10996653 w 12192000"/>
              <a:gd name="connsiteY4" fmla="*/ 29720 h 2390466"/>
              <a:gd name="connsiteX5" fmla="*/ 11221749 w 12192000"/>
              <a:gd name="connsiteY5" fmla="*/ 20463 h 2390466"/>
              <a:gd name="connsiteX6" fmla="*/ 11379086 w 12192000"/>
              <a:gd name="connsiteY6" fmla="*/ 32130 h 2390466"/>
              <a:gd name="connsiteX7" fmla="*/ 11594775 w 12192000"/>
              <a:gd name="connsiteY7" fmla="*/ 63178 h 2390466"/>
              <a:gd name="connsiteX8" fmla="*/ 11671329 w 12192000"/>
              <a:gd name="connsiteY8" fmla="*/ 63198 h 2390466"/>
              <a:gd name="connsiteX9" fmla="*/ 11778165 w 12192000"/>
              <a:gd name="connsiteY9" fmla="*/ 89018 h 2390466"/>
              <a:gd name="connsiteX10" fmla="*/ 11815487 w 12192000"/>
              <a:gd name="connsiteY10" fmla="*/ 91973 h 2390466"/>
              <a:gd name="connsiteX11" fmla="*/ 11918614 w 12192000"/>
              <a:gd name="connsiteY11" fmla="*/ 104205 h 2390466"/>
              <a:gd name="connsiteX12" fmla="*/ 12114359 w 12192000"/>
              <a:gd name="connsiteY12" fmla="*/ 120975 h 2390466"/>
              <a:gd name="connsiteX13" fmla="*/ 12154355 w 12192000"/>
              <a:gd name="connsiteY13" fmla="*/ 133176 h 2390466"/>
              <a:gd name="connsiteX14" fmla="*/ 12187428 w 12192000"/>
              <a:gd name="connsiteY14" fmla="*/ 137775 h 2390466"/>
              <a:gd name="connsiteX15" fmla="*/ 12192000 w 12192000"/>
              <a:gd name="connsiteY15" fmla="*/ 138440 h 2390466"/>
              <a:gd name="connsiteX16" fmla="*/ 12192000 w 12192000"/>
              <a:gd name="connsiteY16" fmla="*/ 2390466 h 2390466"/>
              <a:gd name="connsiteX17" fmla="*/ 0 w 12192000"/>
              <a:gd name="connsiteY17" fmla="*/ 2390466 h 2390466"/>
              <a:gd name="connsiteX18" fmla="*/ 0 w 12192000"/>
              <a:gd name="connsiteY18" fmla="*/ 1588774 h 2390466"/>
              <a:gd name="connsiteX19" fmla="*/ 301314 w 12192000"/>
              <a:gd name="connsiteY19" fmla="*/ 1608551 h 2390466"/>
              <a:gd name="connsiteX20" fmla="*/ 542046 w 12192000"/>
              <a:gd name="connsiteY20" fmla="*/ 1590558 h 2390466"/>
              <a:gd name="connsiteX21" fmla="*/ 631576 w 12192000"/>
              <a:gd name="connsiteY21" fmla="*/ 1592277 h 2390466"/>
              <a:gd name="connsiteX22" fmla="*/ 833545 w 12192000"/>
              <a:gd name="connsiteY22" fmla="*/ 1592729 h 2390466"/>
              <a:gd name="connsiteX23" fmla="*/ 938627 w 12192000"/>
              <a:gd name="connsiteY23" fmla="*/ 1594718 h 2390466"/>
              <a:gd name="connsiteX24" fmla="*/ 1184424 w 12192000"/>
              <a:gd name="connsiteY24" fmla="*/ 1497877 h 2390466"/>
              <a:gd name="connsiteX25" fmla="*/ 2104961 w 12192000"/>
              <a:gd name="connsiteY25" fmla="*/ 1561710 h 2390466"/>
              <a:gd name="connsiteX26" fmla="*/ 4831089 w 12192000"/>
              <a:gd name="connsiteY26" fmla="*/ 984840 h 2390466"/>
              <a:gd name="connsiteX27" fmla="*/ 5665710 w 12192000"/>
              <a:gd name="connsiteY27" fmla="*/ 796164 h 2390466"/>
              <a:gd name="connsiteX28" fmla="*/ 6356643 w 12192000"/>
              <a:gd name="connsiteY28" fmla="*/ 597739 h 2390466"/>
              <a:gd name="connsiteX29" fmla="*/ 6548466 w 12192000"/>
              <a:gd name="connsiteY29" fmla="*/ 466618 h 2390466"/>
              <a:gd name="connsiteX30" fmla="*/ 6673201 w 12192000"/>
              <a:gd name="connsiteY30" fmla="*/ 450192 h 2390466"/>
              <a:gd name="connsiteX31" fmla="*/ 6686986 w 12192000"/>
              <a:gd name="connsiteY31" fmla="*/ 449182 h 2390466"/>
              <a:gd name="connsiteX32" fmla="*/ 6738693 w 12192000"/>
              <a:gd name="connsiteY32" fmla="*/ 453246 h 2390466"/>
              <a:gd name="connsiteX33" fmla="*/ 6970467 w 12192000"/>
              <a:gd name="connsiteY33" fmla="*/ 419633 h 2390466"/>
              <a:gd name="connsiteX34" fmla="*/ 7042198 w 12192000"/>
              <a:gd name="connsiteY34" fmla="*/ 421879 h 2390466"/>
              <a:gd name="connsiteX35" fmla="*/ 7077073 w 12192000"/>
              <a:gd name="connsiteY35" fmla="*/ 418698 h 2390466"/>
              <a:gd name="connsiteX36" fmla="*/ 7083030 w 12192000"/>
              <a:gd name="connsiteY36" fmla="*/ 418582 h 2390466"/>
              <a:gd name="connsiteX37" fmla="*/ 7124039 w 12192000"/>
              <a:gd name="connsiteY37" fmla="*/ 420736 h 2390466"/>
              <a:gd name="connsiteX38" fmla="*/ 7184925 w 12192000"/>
              <a:gd name="connsiteY38" fmla="*/ 428516 h 2390466"/>
              <a:gd name="connsiteX39" fmla="*/ 7247913 w 12192000"/>
              <a:gd name="connsiteY39" fmla="*/ 444836 h 2390466"/>
              <a:gd name="connsiteX40" fmla="*/ 7309614 w 12192000"/>
              <a:gd name="connsiteY40" fmla="*/ 459228 h 2390466"/>
              <a:gd name="connsiteX41" fmla="*/ 7500925 w 12192000"/>
              <a:gd name="connsiteY41" fmla="*/ 468250 h 2390466"/>
              <a:gd name="connsiteX42" fmla="*/ 7551687 w 12192000"/>
              <a:gd name="connsiteY42" fmla="*/ 486478 h 2390466"/>
              <a:gd name="connsiteX43" fmla="*/ 7655497 w 12192000"/>
              <a:gd name="connsiteY43" fmla="*/ 485382 h 2390466"/>
              <a:gd name="connsiteX44" fmla="*/ 7678276 w 12192000"/>
              <a:gd name="connsiteY44" fmla="*/ 478273 h 2390466"/>
              <a:gd name="connsiteX45" fmla="*/ 7732190 w 12192000"/>
              <a:gd name="connsiteY45" fmla="*/ 471988 h 2390466"/>
              <a:gd name="connsiteX46" fmla="*/ 7901019 w 12192000"/>
              <a:gd name="connsiteY46" fmla="*/ 427394 h 2390466"/>
              <a:gd name="connsiteX47" fmla="*/ 7953628 w 12192000"/>
              <a:gd name="connsiteY47" fmla="*/ 414800 h 2390466"/>
              <a:gd name="connsiteX48" fmla="*/ 7959483 w 12192000"/>
              <a:gd name="connsiteY48" fmla="*/ 413640 h 2390466"/>
              <a:gd name="connsiteX49" fmla="*/ 8000268 w 12192000"/>
              <a:gd name="connsiteY49" fmla="*/ 408559 h 2390466"/>
              <a:gd name="connsiteX50" fmla="*/ 8126468 w 12192000"/>
              <a:gd name="connsiteY50" fmla="*/ 410535 h 2390466"/>
              <a:gd name="connsiteX51" fmla="*/ 8163540 w 12192000"/>
              <a:gd name="connsiteY51" fmla="*/ 410897 h 2390466"/>
              <a:gd name="connsiteX52" fmla="*/ 8189733 w 12192000"/>
              <a:gd name="connsiteY52" fmla="*/ 413869 h 2390466"/>
              <a:gd name="connsiteX53" fmla="*/ 8260604 w 12192000"/>
              <a:gd name="connsiteY53" fmla="*/ 406866 h 2390466"/>
              <a:gd name="connsiteX54" fmla="*/ 8379838 w 12192000"/>
              <a:gd name="connsiteY54" fmla="*/ 389167 h 2390466"/>
              <a:gd name="connsiteX55" fmla="*/ 8433895 w 12192000"/>
              <a:gd name="connsiteY55" fmla="*/ 393057 h 2390466"/>
              <a:gd name="connsiteX56" fmla="*/ 8624741 w 12192000"/>
              <a:gd name="connsiteY56" fmla="*/ 369980 h 2390466"/>
              <a:gd name="connsiteX57" fmla="*/ 8786230 w 12192000"/>
              <a:gd name="connsiteY57" fmla="*/ 358126 h 2390466"/>
              <a:gd name="connsiteX58" fmla="*/ 8911903 w 12192000"/>
              <a:gd name="connsiteY58" fmla="*/ 342099 h 2390466"/>
              <a:gd name="connsiteX59" fmla="*/ 9182090 w 12192000"/>
              <a:gd name="connsiteY59" fmla="*/ 301277 h 2390466"/>
              <a:gd name="connsiteX60" fmla="*/ 9196066 w 12192000"/>
              <a:gd name="connsiteY60" fmla="*/ 291440 h 2390466"/>
              <a:gd name="connsiteX61" fmla="*/ 9249142 w 12192000"/>
              <a:gd name="connsiteY61" fmla="*/ 276200 h 2390466"/>
              <a:gd name="connsiteX62" fmla="*/ 9316564 w 12192000"/>
              <a:gd name="connsiteY62" fmla="*/ 259543 h 2390466"/>
              <a:gd name="connsiteX63" fmla="*/ 9317108 w 12192000"/>
              <a:gd name="connsiteY63" fmla="*/ 260495 h 2390466"/>
              <a:gd name="connsiteX64" fmla="*/ 9348338 w 12192000"/>
              <a:gd name="connsiteY64" fmla="*/ 264323 h 2390466"/>
              <a:gd name="connsiteX65" fmla="*/ 9473084 w 12192000"/>
              <a:gd name="connsiteY65" fmla="*/ 266063 h 2390466"/>
              <a:gd name="connsiteX66" fmla="*/ 9478478 w 12192000"/>
              <a:gd name="connsiteY66" fmla="*/ 266804 h 2390466"/>
              <a:gd name="connsiteX67" fmla="*/ 9715853 w 12192000"/>
              <a:gd name="connsiteY67" fmla="*/ 258126 h 2390466"/>
              <a:gd name="connsiteX68" fmla="*/ 9818432 w 12192000"/>
              <a:gd name="connsiteY68" fmla="*/ 252883 h 2390466"/>
              <a:gd name="connsiteX69" fmla="*/ 9904781 w 12192000"/>
              <a:gd name="connsiteY69" fmla="*/ 257651 h 2390466"/>
              <a:gd name="connsiteX70" fmla="*/ 10027169 w 12192000"/>
              <a:gd name="connsiteY70" fmla="*/ 245494 h 2390466"/>
              <a:gd name="connsiteX71" fmla="*/ 10133939 w 12192000"/>
              <a:gd name="connsiteY71" fmla="*/ 205160 h 2390466"/>
              <a:gd name="connsiteX72" fmla="*/ 10149756 w 12192000"/>
              <a:gd name="connsiteY72" fmla="*/ 197031 h 2390466"/>
              <a:gd name="connsiteX73" fmla="*/ 10314272 w 12192000"/>
              <a:gd name="connsiteY73" fmla="*/ 148538 h 2390466"/>
              <a:gd name="connsiteX74" fmla="*/ 10432944 w 12192000"/>
              <a:gd name="connsiteY74" fmla="*/ 122284 h 2390466"/>
              <a:gd name="connsiteX75" fmla="*/ 10554052 w 12192000"/>
              <a:gd name="connsiteY75" fmla="*/ 72143 h 2390466"/>
              <a:gd name="connsiteX76" fmla="*/ 10757451 w 12192000"/>
              <a:gd name="connsiteY76" fmla="*/ 6065 h 2390466"/>
              <a:gd name="connsiteX77" fmla="*/ 10801045 w 12192000"/>
              <a:gd name="connsiteY77" fmla="*/ 201 h 2390466"/>
              <a:gd name="connsiteX0" fmla="*/ 10801045 w 12192000"/>
              <a:gd name="connsiteY0" fmla="*/ 201 h 2390466"/>
              <a:gd name="connsiteX1" fmla="*/ 10821038 w 12192000"/>
              <a:gd name="connsiteY1" fmla="*/ 2915 h 2390466"/>
              <a:gd name="connsiteX2" fmla="*/ 10835633 w 12192000"/>
              <a:gd name="connsiteY2" fmla="*/ 5460 h 2390466"/>
              <a:gd name="connsiteX3" fmla="*/ 10912235 w 12192000"/>
              <a:gd name="connsiteY3" fmla="*/ 11275 h 2390466"/>
              <a:gd name="connsiteX4" fmla="*/ 10996653 w 12192000"/>
              <a:gd name="connsiteY4" fmla="*/ 29720 h 2390466"/>
              <a:gd name="connsiteX5" fmla="*/ 11221749 w 12192000"/>
              <a:gd name="connsiteY5" fmla="*/ 20463 h 2390466"/>
              <a:gd name="connsiteX6" fmla="*/ 11379086 w 12192000"/>
              <a:gd name="connsiteY6" fmla="*/ 32130 h 2390466"/>
              <a:gd name="connsiteX7" fmla="*/ 11594775 w 12192000"/>
              <a:gd name="connsiteY7" fmla="*/ 63178 h 2390466"/>
              <a:gd name="connsiteX8" fmla="*/ 11671329 w 12192000"/>
              <a:gd name="connsiteY8" fmla="*/ 63198 h 2390466"/>
              <a:gd name="connsiteX9" fmla="*/ 11778165 w 12192000"/>
              <a:gd name="connsiteY9" fmla="*/ 89018 h 2390466"/>
              <a:gd name="connsiteX10" fmla="*/ 11815487 w 12192000"/>
              <a:gd name="connsiteY10" fmla="*/ 91973 h 2390466"/>
              <a:gd name="connsiteX11" fmla="*/ 11918614 w 12192000"/>
              <a:gd name="connsiteY11" fmla="*/ 104205 h 2390466"/>
              <a:gd name="connsiteX12" fmla="*/ 12114359 w 12192000"/>
              <a:gd name="connsiteY12" fmla="*/ 120975 h 2390466"/>
              <a:gd name="connsiteX13" fmla="*/ 12154355 w 12192000"/>
              <a:gd name="connsiteY13" fmla="*/ 133176 h 2390466"/>
              <a:gd name="connsiteX14" fmla="*/ 12187428 w 12192000"/>
              <a:gd name="connsiteY14" fmla="*/ 137775 h 2390466"/>
              <a:gd name="connsiteX15" fmla="*/ 12192000 w 12192000"/>
              <a:gd name="connsiteY15" fmla="*/ 138440 h 2390466"/>
              <a:gd name="connsiteX16" fmla="*/ 12192000 w 12192000"/>
              <a:gd name="connsiteY16" fmla="*/ 2390466 h 2390466"/>
              <a:gd name="connsiteX17" fmla="*/ 0 w 12192000"/>
              <a:gd name="connsiteY17" fmla="*/ 2390466 h 2390466"/>
              <a:gd name="connsiteX18" fmla="*/ 0 w 12192000"/>
              <a:gd name="connsiteY18" fmla="*/ 1588774 h 2390466"/>
              <a:gd name="connsiteX19" fmla="*/ 301314 w 12192000"/>
              <a:gd name="connsiteY19" fmla="*/ 1608551 h 2390466"/>
              <a:gd name="connsiteX20" fmla="*/ 542046 w 12192000"/>
              <a:gd name="connsiteY20" fmla="*/ 1590558 h 2390466"/>
              <a:gd name="connsiteX21" fmla="*/ 631576 w 12192000"/>
              <a:gd name="connsiteY21" fmla="*/ 1592277 h 2390466"/>
              <a:gd name="connsiteX22" fmla="*/ 833545 w 12192000"/>
              <a:gd name="connsiteY22" fmla="*/ 1592729 h 2390466"/>
              <a:gd name="connsiteX23" fmla="*/ 938627 w 12192000"/>
              <a:gd name="connsiteY23" fmla="*/ 1594718 h 2390466"/>
              <a:gd name="connsiteX24" fmla="*/ 1184424 w 12192000"/>
              <a:gd name="connsiteY24" fmla="*/ 1497877 h 2390466"/>
              <a:gd name="connsiteX25" fmla="*/ 2104961 w 12192000"/>
              <a:gd name="connsiteY25" fmla="*/ 1561710 h 2390466"/>
              <a:gd name="connsiteX26" fmla="*/ 4831089 w 12192000"/>
              <a:gd name="connsiteY26" fmla="*/ 984840 h 2390466"/>
              <a:gd name="connsiteX27" fmla="*/ 5665710 w 12192000"/>
              <a:gd name="connsiteY27" fmla="*/ 796164 h 2390466"/>
              <a:gd name="connsiteX28" fmla="*/ 5988429 w 12192000"/>
              <a:gd name="connsiteY28" fmla="*/ 610013 h 2390466"/>
              <a:gd name="connsiteX29" fmla="*/ 6548466 w 12192000"/>
              <a:gd name="connsiteY29" fmla="*/ 466618 h 2390466"/>
              <a:gd name="connsiteX30" fmla="*/ 6673201 w 12192000"/>
              <a:gd name="connsiteY30" fmla="*/ 450192 h 2390466"/>
              <a:gd name="connsiteX31" fmla="*/ 6686986 w 12192000"/>
              <a:gd name="connsiteY31" fmla="*/ 449182 h 2390466"/>
              <a:gd name="connsiteX32" fmla="*/ 6738693 w 12192000"/>
              <a:gd name="connsiteY32" fmla="*/ 453246 h 2390466"/>
              <a:gd name="connsiteX33" fmla="*/ 6970467 w 12192000"/>
              <a:gd name="connsiteY33" fmla="*/ 419633 h 2390466"/>
              <a:gd name="connsiteX34" fmla="*/ 7042198 w 12192000"/>
              <a:gd name="connsiteY34" fmla="*/ 421879 h 2390466"/>
              <a:gd name="connsiteX35" fmla="*/ 7077073 w 12192000"/>
              <a:gd name="connsiteY35" fmla="*/ 418698 h 2390466"/>
              <a:gd name="connsiteX36" fmla="*/ 7083030 w 12192000"/>
              <a:gd name="connsiteY36" fmla="*/ 418582 h 2390466"/>
              <a:gd name="connsiteX37" fmla="*/ 7124039 w 12192000"/>
              <a:gd name="connsiteY37" fmla="*/ 420736 h 2390466"/>
              <a:gd name="connsiteX38" fmla="*/ 7184925 w 12192000"/>
              <a:gd name="connsiteY38" fmla="*/ 428516 h 2390466"/>
              <a:gd name="connsiteX39" fmla="*/ 7247913 w 12192000"/>
              <a:gd name="connsiteY39" fmla="*/ 444836 h 2390466"/>
              <a:gd name="connsiteX40" fmla="*/ 7309614 w 12192000"/>
              <a:gd name="connsiteY40" fmla="*/ 459228 h 2390466"/>
              <a:gd name="connsiteX41" fmla="*/ 7500925 w 12192000"/>
              <a:gd name="connsiteY41" fmla="*/ 468250 h 2390466"/>
              <a:gd name="connsiteX42" fmla="*/ 7551687 w 12192000"/>
              <a:gd name="connsiteY42" fmla="*/ 486478 h 2390466"/>
              <a:gd name="connsiteX43" fmla="*/ 7655497 w 12192000"/>
              <a:gd name="connsiteY43" fmla="*/ 485382 h 2390466"/>
              <a:gd name="connsiteX44" fmla="*/ 7678276 w 12192000"/>
              <a:gd name="connsiteY44" fmla="*/ 478273 h 2390466"/>
              <a:gd name="connsiteX45" fmla="*/ 7732190 w 12192000"/>
              <a:gd name="connsiteY45" fmla="*/ 471988 h 2390466"/>
              <a:gd name="connsiteX46" fmla="*/ 7901019 w 12192000"/>
              <a:gd name="connsiteY46" fmla="*/ 427394 h 2390466"/>
              <a:gd name="connsiteX47" fmla="*/ 7953628 w 12192000"/>
              <a:gd name="connsiteY47" fmla="*/ 414800 h 2390466"/>
              <a:gd name="connsiteX48" fmla="*/ 7959483 w 12192000"/>
              <a:gd name="connsiteY48" fmla="*/ 413640 h 2390466"/>
              <a:gd name="connsiteX49" fmla="*/ 8000268 w 12192000"/>
              <a:gd name="connsiteY49" fmla="*/ 408559 h 2390466"/>
              <a:gd name="connsiteX50" fmla="*/ 8126468 w 12192000"/>
              <a:gd name="connsiteY50" fmla="*/ 410535 h 2390466"/>
              <a:gd name="connsiteX51" fmla="*/ 8163540 w 12192000"/>
              <a:gd name="connsiteY51" fmla="*/ 410897 h 2390466"/>
              <a:gd name="connsiteX52" fmla="*/ 8189733 w 12192000"/>
              <a:gd name="connsiteY52" fmla="*/ 413869 h 2390466"/>
              <a:gd name="connsiteX53" fmla="*/ 8260604 w 12192000"/>
              <a:gd name="connsiteY53" fmla="*/ 406866 h 2390466"/>
              <a:gd name="connsiteX54" fmla="*/ 8379838 w 12192000"/>
              <a:gd name="connsiteY54" fmla="*/ 389167 h 2390466"/>
              <a:gd name="connsiteX55" fmla="*/ 8433895 w 12192000"/>
              <a:gd name="connsiteY55" fmla="*/ 393057 h 2390466"/>
              <a:gd name="connsiteX56" fmla="*/ 8624741 w 12192000"/>
              <a:gd name="connsiteY56" fmla="*/ 369980 h 2390466"/>
              <a:gd name="connsiteX57" fmla="*/ 8786230 w 12192000"/>
              <a:gd name="connsiteY57" fmla="*/ 358126 h 2390466"/>
              <a:gd name="connsiteX58" fmla="*/ 8911903 w 12192000"/>
              <a:gd name="connsiteY58" fmla="*/ 342099 h 2390466"/>
              <a:gd name="connsiteX59" fmla="*/ 9182090 w 12192000"/>
              <a:gd name="connsiteY59" fmla="*/ 301277 h 2390466"/>
              <a:gd name="connsiteX60" fmla="*/ 9196066 w 12192000"/>
              <a:gd name="connsiteY60" fmla="*/ 291440 h 2390466"/>
              <a:gd name="connsiteX61" fmla="*/ 9249142 w 12192000"/>
              <a:gd name="connsiteY61" fmla="*/ 276200 h 2390466"/>
              <a:gd name="connsiteX62" fmla="*/ 9316564 w 12192000"/>
              <a:gd name="connsiteY62" fmla="*/ 259543 h 2390466"/>
              <a:gd name="connsiteX63" fmla="*/ 9317108 w 12192000"/>
              <a:gd name="connsiteY63" fmla="*/ 260495 h 2390466"/>
              <a:gd name="connsiteX64" fmla="*/ 9348338 w 12192000"/>
              <a:gd name="connsiteY64" fmla="*/ 264323 h 2390466"/>
              <a:gd name="connsiteX65" fmla="*/ 9473084 w 12192000"/>
              <a:gd name="connsiteY65" fmla="*/ 266063 h 2390466"/>
              <a:gd name="connsiteX66" fmla="*/ 9478478 w 12192000"/>
              <a:gd name="connsiteY66" fmla="*/ 266804 h 2390466"/>
              <a:gd name="connsiteX67" fmla="*/ 9715853 w 12192000"/>
              <a:gd name="connsiteY67" fmla="*/ 258126 h 2390466"/>
              <a:gd name="connsiteX68" fmla="*/ 9818432 w 12192000"/>
              <a:gd name="connsiteY68" fmla="*/ 252883 h 2390466"/>
              <a:gd name="connsiteX69" fmla="*/ 9904781 w 12192000"/>
              <a:gd name="connsiteY69" fmla="*/ 257651 h 2390466"/>
              <a:gd name="connsiteX70" fmla="*/ 10027169 w 12192000"/>
              <a:gd name="connsiteY70" fmla="*/ 245494 h 2390466"/>
              <a:gd name="connsiteX71" fmla="*/ 10133939 w 12192000"/>
              <a:gd name="connsiteY71" fmla="*/ 205160 h 2390466"/>
              <a:gd name="connsiteX72" fmla="*/ 10149756 w 12192000"/>
              <a:gd name="connsiteY72" fmla="*/ 197031 h 2390466"/>
              <a:gd name="connsiteX73" fmla="*/ 10314272 w 12192000"/>
              <a:gd name="connsiteY73" fmla="*/ 148538 h 2390466"/>
              <a:gd name="connsiteX74" fmla="*/ 10432944 w 12192000"/>
              <a:gd name="connsiteY74" fmla="*/ 122284 h 2390466"/>
              <a:gd name="connsiteX75" fmla="*/ 10554052 w 12192000"/>
              <a:gd name="connsiteY75" fmla="*/ 72143 h 2390466"/>
              <a:gd name="connsiteX76" fmla="*/ 10757451 w 12192000"/>
              <a:gd name="connsiteY76" fmla="*/ 6065 h 2390466"/>
              <a:gd name="connsiteX77" fmla="*/ 10801045 w 12192000"/>
              <a:gd name="connsiteY77" fmla="*/ 201 h 2390466"/>
              <a:gd name="connsiteX0" fmla="*/ 10801045 w 12192000"/>
              <a:gd name="connsiteY0" fmla="*/ 201 h 2390466"/>
              <a:gd name="connsiteX1" fmla="*/ 10821038 w 12192000"/>
              <a:gd name="connsiteY1" fmla="*/ 2915 h 2390466"/>
              <a:gd name="connsiteX2" fmla="*/ 10835633 w 12192000"/>
              <a:gd name="connsiteY2" fmla="*/ 5460 h 2390466"/>
              <a:gd name="connsiteX3" fmla="*/ 10912235 w 12192000"/>
              <a:gd name="connsiteY3" fmla="*/ 11275 h 2390466"/>
              <a:gd name="connsiteX4" fmla="*/ 10996653 w 12192000"/>
              <a:gd name="connsiteY4" fmla="*/ 29720 h 2390466"/>
              <a:gd name="connsiteX5" fmla="*/ 11221749 w 12192000"/>
              <a:gd name="connsiteY5" fmla="*/ 20463 h 2390466"/>
              <a:gd name="connsiteX6" fmla="*/ 11379086 w 12192000"/>
              <a:gd name="connsiteY6" fmla="*/ 32130 h 2390466"/>
              <a:gd name="connsiteX7" fmla="*/ 11594775 w 12192000"/>
              <a:gd name="connsiteY7" fmla="*/ 63178 h 2390466"/>
              <a:gd name="connsiteX8" fmla="*/ 11671329 w 12192000"/>
              <a:gd name="connsiteY8" fmla="*/ 63198 h 2390466"/>
              <a:gd name="connsiteX9" fmla="*/ 11778165 w 12192000"/>
              <a:gd name="connsiteY9" fmla="*/ 89018 h 2390466"/>
              <a:gd name="connsiteX10" fmla="*/ 11815487 w 12192000"/>
              <a:gd name="connsiteY10" fmla="*/ 91973 h 2390466"/>
              <a:gd name="connsiteX11" fmla="*/ 11918614 w 12192000"/>
              <a:gd name="connsiteY11" fmla="*/ 104205 h 2390466"/>
              <a:gd name="connsiteX12" fmla="*/ 12114359 w 12192000"/>
              <a:gd name="connsiteY12" fmla="*/ 120975 h 2390466"/>
              <a:gd name="connsiteX13" fmla="*/ 12154355 w 12192000"/>
              <a:gd name="connsiteY13" fmla="*/ 133176 h 2390466"/>
              <a:gd name="connsiteX14" fmla="*/ 12187428 w 12192000"/>
              <a:gd name="connsiteY14" fmla="*/ 137775 h 2390466"/>
              <a:gd name="connsiteX15" fmla="*/ 12192000 w 12192000"/>
              <a:gd name="connsiteY15" fmla="*/ 138440 h 2390466"/>
              <a:gd name="connsiteX16" fmla="*/ 12192000 w 12192000"/>
              <a:gd name="connsiteY16" fmla="*/ 2390466 h 2390466"/>
              <a:gd name="connsiteX17" fmla="*/ 0 w 12192000"/>
              <a:gd name="connsiteY17" fmla="*/ 2390466 h 2390466"/>
              <a:gd name="connsiteX18" fmla="*/ 0 w 12192000"/>
              <a:gd name="connsiteY18" fmla="*/ 1588774 h 2390466"/>
              <a:gd name="connsiteX19" fmla="*/ 301314 w 12192000"/>
              <a:gd name="connsiteY19" fmla="*/ 1608551 h 2390466"/>
              <a:gd name="connsiteX20" fmla="*/ 542046 w 12192000"/>
              <a:gd name="connsiteY20" fmla="*/ 1590558 h 2390466"/>
              <a:gd name="connsiteX21" fmla="*/ 631576 w 12192000"/>
              <a:gd name="connsiteY21" fmla="*/ 1592277 h 2390466"/>
              <a:gd name="connsiteX22" fmla="*/ 833545 w 12192000"/>
              <a:gd name="connsiteY22" fmla="*/ 1592729 h 2390466"/>
              <a:gd name="connsiteX23" fmla="*/ 938627 w 12192000"/>
              <a:gd name="connsiteY23" fmla="*/ 1594718 h 2390466"/>
              <a:gd name="connsiteX24" fmla="*/ 1184424 w 12192000"/>
              <a:gd name="connsiteY24" fmla="*/ 1497877 h 2390466"/>
              <a:gd name="connsiteX25" fmla="*/ 2104961 w 12192000"/>
              <a:gd name="connsiteY25" fmla="*/ 1561710 h 2390466"/>
              <a:gd name="connsiteX26" fmla="*/ 4831089 w 12192000"/>
              <a:gd name="connsiteY26" fmla="*/ 984840 h 2390466"/>
              <a:gd name="connsiteX27" fmla="*/ 5665710 w 12192000"/>
              <a:gd name="connsiteY27" fmla="*/ 796164 h 2390466"/>
              <a:gd name="connsiteX28" fmla="*/ 5988429 w 12192000"/>
              <a:gd name="connsiteY28" fmla="*/ 610013 h 2390466"/>
              <a:gd name="connsiteX29" fmla="*/ 6352084 w 12192000"/>
              <a:gd name="connsiteY29" fmla="*/ 478892 h 2390466"/>
              <a:gd name="connsiteX30" fmla="*/ 6673201 w 12192000"/>
              <a:gd name="connsiteY30" fmla="*/ 450192 h 2390466"/>
              <a:gd name="connsiteX31" fmla="*/ 6686986 w 12192000"/>
              <a:gd name="connsiteY31" fmla="*/ 449182 h 2390466"/>
              <a:gd name="connsiteX32" fmla="*/ 6738693 w 12192000"/>
              <a:gd name="connsiteY32" fmla="*/ 453246 h 2390466"/>
              <a:gd name="connsiteX33" fmla="*/ 6970467 w 12192000"/>
              <a:gd name="connsiteY33" fmla="*/ 419633 h 2390466"/>
              <a:gd name="connsiteX34" fmla="*/ 7042198 w 12192000"/>
              <a:gd name="connsiteY34" fmla="*/ 421879 h 2390466"/>
              <a:gd name="connsiteX35" fmla="*/ 7077073 w 12192000"/>
              <a:gd name="connsiteY35" fmla="*/ 418698 h 2390466"/>
              <a:gd name="connsiteX36" fmla="*/ 7083030 w 12192000"/>
              <a:gd name="connsiteY36" fmla="*/ 418582 h 2390466"/>
              <a:gd name="connsiteX37" fmla="*/ 7124039 w 12192000"/>
              <a:gd name="connsiteY37" fmla="*/ 420736 h 2390466"/>
              <a:gd name="connsiteX38" fmla="*/ 7184925 w 12192000"/>
              <a:gd name="connsiteY38" fmla="*/ 428516 h 2390466"/>
              <a:gd name="connsiteX39" fmla="*/ 7247913 w 12192000"/>
              <a:gd name="connsiteY39" fmla="*/ 444836 h 2390466"/>
              <a:gd name="connsiteX40" fmla="*/ 7309614 w 12192000"/>
              <a:gd name="connsiteY40" fmla="*/ 459228 h 2390466"/>
              <a:gd name="connsiteX41" fmla="*/ 7500925 w 12192000"/>
              <a:gd name="connsiteY41" fmla="*/ 468250 h 2390466"/>
              <a:gd name="connsiteX42" fmla="*/ 7551687 w 12192000"/>
              <a:gd name="connsiteY42" fmla="*/ 486478 h 2390466"/>
              <a:gd name="connsiteX43" fmla="*/ 7655497 w 12192000"/>
              <a:gd name="connsiteY43" fmla="*/ 485382 h 2390466"/>
              <a:gd name="connsiteX44" fmla="*/ 7678276 w 12192000"/>
              <a:gd name="connsiteY44" fmla="*/ 478273 h 2390466"/>
              <a:gd name="connsiteX45" fmla="*/ 7732190 w 12192000"/>
              <a:gd name="connsiteY45" fmla="*/ 471988 h 2390466"/>
              <a:gd name="connsiteX46" fmla="*/ 7901019 w 12192000"/>
              <a:gd name="connsiteY46" fmla="*/ 427394 h 2390466"/>
              <a:gd name="connsiteX47" fmla="*/ 7953628 w 12192000"/>
              <a:gd name="connsiteY47" fmla="*/ 414800 h 2390466"/>
              <a:gd name="connsiteX48" fmla="*/ 7959483 w 12192000"/>
              <a:gd name="connsiteY48" fmla="*/ 413640 h 2390466"/>
              <a:gd name="connsiteX49" fmla="*/ 8000268 w 12192000"/>
              <a:gd name="connsiteY49" fmla="*/ 408559 h 2390466"/>
              <a:gd name="connsiteX50" fmla="*/ 8126468 w 12192000"/>
              <a:gd name="connsiteY50" fmla="*/ 410535 h 2390466"/>
              <a:gd name="connsiteX51" fmla="*/ 8163540 w 12192000"/>
              <a:gd name="connsiteY51" fmla="*/ 410897 h 2390466"/>
              <a:gd name="connsiteX52" fmla="*/ 8189733 w 12192000"/>
              <a:gd name="connsiteY52" fmla="*/ 413869 h 2390466"/>
              <a:gd name="connsiteX53" fmla="*/ 8260604 w 12192000"/>
              <a:gd name="connsiteY53" fmla="*/ 406866 h 2390466"/>
              <a:gd name="connsiteX54" fmla="*/ 8379838 w 12192000"/>
              <a:gd name="connsiteY54" fmla="*/ 389167 h 2390466"/>
              <a:gd name="connsiteX55" fmla="*/ 8433895 w 12192000"/>
              <a:gd name="connsiteY55" fmla="*/ 393057 h 2390466"/>
              <a:gd name="connsiteX56" fmla="*/ 8624741 w 12192000"/>
              <a:gd name="connsiteY56" fmla="*/ 369980 h 2390466"/>
              <a:gd name="connsiteX57" fmla="*/ 8786230 w 12192000"/>
              <a:gd name="connsiteY57" fmla="*/ 358126 h 2390466"/>
              <a:gd name="connsiteX58" fmla="*/ 8911903 w 12192000"/>
              <a:gd name="connsiteY58" fmla="*/ 342099 h 2390466"/>
              <a:gd name="connsiteX59" fmla="*/ 9182090 w 12192000"/>
              <a:gd name="connsiteY59" fmla="*/ 301277 h 2390466"/>
              <a:gd name="connsiteX60" fmla="*/ 9196066 w 12192000"/>
              <a:gd name="connsiteY60" fmla="*/ 291440 h 2390466"/>
              <a:gd name="connsiteX61" fmla="*/ 9249142 w 12192000"/>
              <a:gd name="connsiteY61" fmla="*/ 276200 h 2390466"/>
              <a:gd name="connsiteX62" fmla="*/ 9316564 w 12192000"/>
              <a:gd name="connsiteY62" fmla="*/ 259543 h 2390466"/>
              <a:gd name="connsiteX63" fmla="*/ 9317108 w 12192000"/>
              <a:gd name="connsiteY63" fmla="*/ 260495 h 2390466"/>
              <a:gd name="connsiteX64" fmla="*/ 9348338 w 12192000"/>
              <a:gd name="connsiteY64" fmla="*/ 264323 h 2390466"/>
              <a:gd name="connsiteX65" fmla="*/ 9473084 w 12192000"/>
              <a:gd name="connsiteY65" fmla="*/ 266063 h 2390466"/>
              <a:gd name="connsiteX66" fmla="*/ 9478478 w 12192000"/>
              <a:gd name="connsiteY66" fmla="*/ 266804 h 2390466"/>
              <a:gd name="connsiteX67" fmla="*/ 9715853 w 12192000"/>
              <a:gd name="connsiteY67" fmla="*/ 258126 h 2390466"/>
              <a:gd name="connsiteX68" fmla="*/ 9818432 w 12192000"/>
              <a:gd name="connsiteY68" fmla="*/ 252883 h 2390466"/>
              <a:gd name="connsiteX69" fmla="*/ 9904781 w 12192000"/>
              <a:gd name="connsiteY69" fmla="*/ 257651 h 2390466"/>
              <a:gd name="connsiteX70" fmla="*/ 10027169 w 12192000"/>
              <a:gd name="connsiteY70" fmla="*/ 245494 h 2390466"/>
              <a:gd name="connsiteX71" fmla="*/ 10133939 w 12192000"/>
              <a:gd name="connsiteY71" fmla="*/ 205160 h 2390466"/>
              <a:gd name="connsiteX72" fmla="*/ 10149756 w 12192000"/>
              <a:gd name="connsiteY72" fmla="*/ 197031 h 2390466"/>
              <a:gd name="connsiteX73" fmla="*/ 10314272 w 12192000"/>
              <a:gd name="connsiteY73" fmla="*/ 148538 h 2390466"/>
              <a:gd name="connsiteX74" fmla="*/ 10432944 w 12192000"/>
              <a:gd name="connsiteY74" fmla="*/ 122284 h 2390466"/>
              <a:gd name="connsiteX75" fmla="*/ 10554052 w 12192000"/>
              <a:gd name="connsiteY75" fmla="*/ 72143 h 2390466"/>
              <a:gd name="connsiteX76" fmla="*/ 10757451 w 12192000"/>
              <a:gd name="connsiteY76" fmla="*/ 6065 h 2390466"/>
              <a:gd name="connsiteX77" fmla="*/ 10801045 w 12192000"/>
              <a:gd name="connsiteY77" fmla="*/ 201 h 2390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2192000" h="2390466">
                <a:moveTo>
                  <a:pt x="10801045" y="201"/>
                </a:moveTo>
                <a:cubicBezTo>
                  <a:pt x="10809751" y="868"/>
                  <a:pt x="10814523" y="2965"/>
                  <a:pt x="10821038" y="2915"/>
                </a:cubicBezTo>
                <a:lnTo>
                  <a:pt x="10835633" y="5460"/>
                </a:lnTo>
                <a:cubicBezTo>
                  <a:pt x="10850832" y="6853"/>
                  <a:pt x="10885398" y="7232"/>
                  <a:pt x="10912235" y="11275"/>
                </a:cubicBezTo>
                <a:cubicBezTo>
                  <a:pt x="10931890" y="20375"/>
                  <a:pt x="10982150" y="30522"/>
                  <a:pt x="10996653" y="29720"/>
                </a:cubicBezTo>
                <a:cubicBezTo>
                  <a:pt x="11020097" y="24895"/>
                  <a:pt x="11158708" y="18940"/>
                  <a:pt x="11221749" y="20463"/>
                </a:cubicBezTo>
                <a:cubicBezTo>
                  <a:pt x="11278142" y="28951"/>
                  <a:pt x="11334159" y="24310"/>
                  <a:pt x="11379086" y="32130"/>
                </a:cubicBezTo>
                <a:cubicBezTo>
                  <a:pt x="11429033" y="63385"/>
                  <a:pt x="11546068" y="58000"/>
                  <a:pt x="11594775" y="63178"/>
                </a:cubicBezTo>
                <a:cubicBezTo>
                  <a:pt x="11616110" y="67668"/>
                  <a:pt x="11657629" y="62889"/>
                  <a:pt x="11671329" y="63198"/>
                </a:cubicBezTo>
                <a:cubicBezTo>
                  <a:pt x="11736280" y="69124"/>
                  <a:pt x="11742553" y="80411"/>
                  <a:pt x="11778165" y="89018"/>
                </a:cubicBezTo>
                <a:cubicBezTo>
                  <a:pt x="11790041" y="81568"/>
                  <a:pt x="11802378" y="85028"/>
                  <a:pt x="11815487" y="91973"/>
                </a:cubicBezTo>
                <a:cubicBezTo>
                  <a:pt x="11847624" y="89791"/>
                  <a:pt x="11880597" y="100222"/>
                  <a:pt x="11918614" y="104205"/>
                </a:cubicBezTo>
                <a:cubicBezTo>
                  <a:pt x="11968426" y="109039"/>
                  <a:pt x="12075069" y="116146"/>
                  <a:pt x="12114359" y="120975"/>
                </a:cubicBezTo>
                <a:lnTo>
                  <a:pt x="12154355" y="133176"/>
                </a:lnTo>
                <a:cubicBezTo>
                  <a:pt x="12162312" y="139385"/>
                  <a:pt x="12175466" y="137782"/>
                  <a:pt x="12187428" y="137775"/>
                </a:cubicBezTo>
                <a:lnTo>
                  <a:pt x="12192000" y="138440"/>
                </a:lnTo>
                <a:lnTo>
                  <a:pt x="12192000" y="2390466"/>
                </a:lnTo>
                <a:lnTo>
                  <a:pt x="0" y="2390466"/>
                </a:lnTo>
                <a:lnTo>
                  <a:pt x="0" y="1588774"/>
                </a:lnTo>
                <a:cubicBezTo>
                  <a:pt x="157588" y="1582309"/>
                  <a:pt x="200876" y="1601958"/>
                  <a:pt x="301314" y="1608551"/>
                </a:cubicBezTo>
                <a:cubicBezTo>
                  <a:pt x="391655" y="1608847"/>
                  <a:pt x="487002" y="1593270"/>
                  <a:pt x="542046" y="1590558"/>
                </a:cubicBezTo>
                <a:cubicBezTo>
                  <a:pt x="578952" y="1599817"/>
                  <a:pt x="598969" y="1599966"/>
                  <a:pt x="631576" y="1592277"/>
                </a:cubicBezTo>
                <a:cubicBezTo>
                  <a:pt x="703084" y="1592668"/>
                  <a:pt x="742331" y="1565232"/>
                  <a:pt x="833545" y="1592729"/>
                </a:cubicBezTo>
                <a:cubicBezTo>
                  <a:pt x="854656" y="1588907"/>
                  <a:pt x="898051" y="1592256"/>
                  <a:pt x="938627" y="1594718"/>
                </a:cubicBezTo>
                <a:lnTo>
                  <a:pt x="1184424" y="1497877"/>
                </a:lnTo>
                <a:lnTo>
                  <a:pt x="2104961" y="1561710"/>
                </a:lnTo>
                <a:cubicBezTo>
                  <a:pt x="3025944" y="1467610"/>
                  <a:pt x="3910106" y="1201678"/>
                  <a:pt x="4831089" y="984840"/>
                </a:cubicBezTo>
                <a:lnTo>
                  <a:pt x="5665710" y="796164"/>
                </a:lnTo>
                <a:lnTo>
                  <a:pt x="5988429" y="610013"/>
                </a:lnTo>
                <a:lnTo>
                  <a:pt x="6352084" y="478892"/>
                </a:lnTo>
                <a:lnTo>
                  <a:pt x="6673201" y="450192"/>
                </a:lnTo>
                <a:lnTo>
                  <a:pt x="6686986" y="449182"/>
                </a:lnTo>
                <a:lnTo>
                  <a:pt x="6738693" y="453246"/>
                </a:lnTo>
                <a:cubicBezTo>
                  <a:pt x="6827215" y="431780"/>
                  <a:pt x="6919883" y="424861"/>
                  <a:pt x="6970467" y="419633"/>
                </a:cubicBezTo>
                <a:lnTo>
                  <a:pt x="7042198" y="421879"/>
                </a:lnTo>
                <a:cubicBezTo>
                  <a:pt x="7053738" y="422158"/>
                  <a:pt x="7067093" y="419247"/>
                  <a:pt x="7077073" y="418698"/>
                </a:cubicBezTo>
                <a:lnTo>
                  <a:pt x="7083030" y="418582"/>
                </a:lnTo>
                <a:lnTo>
                  <a:pt x="7124039" y="420736"/>
                </a:lnTo>
                <a:lnTo>
                  <a:pt x="7184925" y="428516"/>
                </a:lnTo>
                <a:cubicBezTo>
                  <a:pt x="7204997" y="433937"/>
                  <a:pt x="7222741" y="454691"/>
                  <a:pt x="7247913" y="444836"/>
                </a:cubicBezTo>
                <a:cubicBezTo>
                  <a:pt x="7268694" y="449955"/>
                  <a:pt x="7287506" y="455907"/>
                  <a:pt x="7309614" y="459228"/>
                </a:cubicBezTo>
                <a:cubicBezTo>
                  <a:pt x="7351783" y="463130"/>
                  <a:pt x="7460579" y="463708"/>
                  <a:pt x="7500925" y="468250"/>
                </a:cubicBezTo>
                <a:cubicBezTo>
                  <a:pt x="7534209" y="473175"/>
                  <a:pt x="7529853" y="483677"/>
                  <a:pt x="7551687" y="486478"/>
                </a:cubicBezTo>
                <a:cubicBezTo>
                  <a:pt x="7577449" y="489334"/>
                  <a:pt x="7639161" y="488055"/>
                  <a:pt x="7655497" y="485382"/>
                </a:cubicBezTo>
                <a:lnTo>
                  <a:pt x="7678276" y="478273"/>
                </a:lnTo>
                <a:lnTo>
                  <a:pt x="7732190" y="471988"/>
                </a:lnTo>
                <a:lnTo>
                  <a:pt x="7901019" y="427394"/>
                </a:lnTo>
                <a:cubicBezTo>
                  <a:pt x="7914492" y="424433"/>
                  <a:pt x="7943884" y="417092"/>
                  <a:pt x="7953628" y="414800"/>
                </a:cubicBezTo>
                <a:lnTo>
                  <a:pt x="7959483" y="413640"/>
                </a:lnTo>
                <a:lnTo>
                  <a:pt x="8000268" y="408559"/>
                </a:lnTo>
                <a:lnTo>
                  <a:pt x="8126468" y="410535"/>
                </a:lnTo>
                <a:cubicBezTo>
                  <a:pt x="8122695" y="422772"/>
                  <a:pt x="8155220" y="402360"/>
                  <a:pt x="8163540" y="410897"/>
                </a:cubicBezTo>
                <a:cubicBezTo>
                  <a:pt x="8168776" y="418259"/>
                  <a:pt x="8179862" y="413783"/>
                  <a:pt x="8189733" y="413869"/>
                </a:cubicBezTo>
                <a:cubicBezTo>
                  <a:pt x="8199251" y="420007"/>
                  <a:pt x="8245905" y="413063"/>
                  <a:pt x="8260604" y="406866"/>
                </a:cubicBezTo>
                <a:cubicBezTo>
                  <a:pt x="8300068" y="384582"/>
                  <a:pt x="8347941" y="406135"/>
                  <a:pt x="8379838" y="389167"/>
                </a:cubicBezTo>
                <a:cubicBezTo>
                  <a:pt x="8413482" y="388172"/>
                  <a:pt x="8411898" y="394133"/>
                  <a:pt x="8433895" y="393057"/>
                </a:cubicBezTo>
                <a:cubicBezTo>
                  <a:pt x="8474712" y="389859"/>
                  <a:pt x="8566018" y="375802"/>
                  <a:pt x="8624741" y="369980"/>
                </a:cubicBezTo>
                <a:cubicBezTo>
                  <a:pt x="8679135" y="365237"/>
                  <a:pt x="8728356" y="365030"/>
                  <a:pt x="8786230" y="358126"/>
                </a:cubicBezTo>
                <a:cubicBezTo>
                  <a:pt x="8830973" y="344224"/>
                  <a:pt x="8879561" y="360081"/>
                  <a:pt x="8911903" y="342099"/>
                </a:cubicBezTo>
                <a:cubicBezTo>
                  <a:pt x="9071021" y="315433"/>
                  <a:pt x="9139653" y="327943"/>
                  <a:pt x="9182090" y="301277"/>
                </a:cubicBezTo>
                <a:cubicBezTo>
                  <a:pt x="9186125" y="297338"/>
                  <a:pt x="9190862" y="294124"/>
                  <a:pt x="9196066" y="291440"/>
                </a:cubicBezTo>
                <a:lnTo>
                  <a:pt x="9249142" y="276200"/>
                </a:lnTo>
                <a:lnTo>
                  <a:pt x="9316564" y="259543"/>
                </a:lnTo>
                <a:lnTo>
                  <a:pt x="9317108" y="260495"/>
                </a:lnTo>
                <a:cubicBezTo>
                  <a:pt x="9322404" y="261291"/>
                  <a:pt x="9335211" y="260823"/>
                  <a:pt x="9348338" y="264323"/>
                </a:cubicBezTo>
                <a:lnTo>
                  <a:pt x="9473084" y="266063"/>
                </a:lnTo>
                <a:lnTo>
                  <a:pt x="9478478" y="266804"/>
                </a:lnTo>
                <a:lnTo>
                  <a:pt x="9715853" y="258126"/>
                </a:lnTo>
                <a:cubicBezTo>
                  <a:pt x="9754866" y="241766"/>
                  <a:pt x="9778153" y="256806"/>
                  <a:pt x="9818432" y="252883"/>
                </a:cubicBezTo>
                <a:cubicBezTo>
                  <a:pt x="9849920" y="252804"/>
                  <a:pt x="9883031" y="259766"/>
                  <a:pt x="9904781" y="257651"/>
                </a:cubicBezTo>
                <a:cubicBezTo>
                  <a:pt x="9970026" y="242871"/>
                  <a:pt x="9986373" y="249547"/>
                  <a:pt x="10027169" y="245494"/>
                </a:cubicBezTo>
                <a:cubicBezTo>
                  <a:pt x="10058004" y="237915"/>
                  <a:pt x="10113508" y="213236"/>
                  <a:pt x="10133939" y="205160"/>
                </a:cubicBezTo>
                <a:lnTo>
                  <a:pt x="10149756" y="197031"/>
                </a:lnTo>
                <a:cubicBezTo>
                  <a:pt x="10179424" y="187552"/>
                  <a:pt x="10295649" y="137491"/>
                  <a:pt x="10314272" y="148538"/>
                </a:cubicBezTo>
                <a:cubicBezTo>
                  <a:pt x="10352854" y="147487"/>
                  <a:pt x="10373231" y="140024"/>
                  <a:pt x="10432944" y="122284"/>
                </a:cubicBezTo>
                <a:cubicBezTo>
                  <a:pt x="10472909" y="109553"/>
                  <a:pt x="10500506" y="84415"/>
                  <a:pt x="10554052" y="72143"/>
                </a:cubicBezTo>
                <a:cubicBezTo>
                  <a:pt x="10604694" y="35376"/>
                  <a:pt x="10695759" y="33327"/>
                  <a:pt x="10757451" y="6065"/>
                </a:cubicBezTo>
                <a:cubicBezTo>
                  <a:pt x="10779700" y="296"/>
                  <a:pt x="10792339" y="-467"/>
                  <a:pt x="10801045" y="201"/>
                </a:cubicBezTo>
                <a:close/>
              </a:path>
            </a:pathLst>
          </a:custGeom>
          <a:blipFill>
            <a:blip r:embed="rId2"/>
            <a:tile tx="0" ty="0" sx="70000" sy="7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nsolas"/>
              <a:ea typeface="+mn-ea"/>
              <a:cs typeface="+mn-cs"/>
            </a:endParaRPr>
          </a:p>
        </p:txBody>
      </p:sp>
      <p:sp>
        <p:nvSpPr>
          <p:cNvPr id="17" name="Rectangle 16">
            <a:extLst>
              <a:ext uri="{FF2B5EF4-FFF2-40B4-BE49-F238E27FC236}">
                <a16:creationId xmlns:a16="http://schemas.microsoft.com/office/drawing/2014/main" id="{4F4B01C3-5078-4039-811E-D840C6262C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1480000">
            <a:off x="460170" y="522020"/>
            <a:ext cx="5952906" cy="5836036"/>
          </a:xfrm>
          <a:prstGeom prst="rect">
            <a:avLst/>
          </a:prstGeom>
          <a:solidFill>
            <a:srgbClr val="EFEEE9"/>
          </a:solidFill>
          <a:ln>
            <a:noFill/>
          </a:ln>
          <a:effectLst>
            <a:outerShdw blurRad="50800" dist="38100" dir="36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nsolas"/>
              <a:ea typeface="+mn-ea"/>
              <a:cs typeface="+mn-cs"/>
            </a:endParaRPr>
          </a:p>
        </p:txBody>
      </p:sp>
      <p:sp>
        <p:nvSpPr>
          <p:cNvPr id="10" name="Freeform: Shape 18">
            <a:extLst>
              <a:ext uri="{FF2B5EF4-FFF2-40B4-BE49-F238E27FC236}">
                <a16:creationId xmlns:a16="http://schemas.microsoft.com/office/drawing/2014/main" id="{2EE9B49B-B44A-4DAC-BD6E-17ABCE56DE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1300874">
            <a:off x="476529" y="524155"/>
            <a:ext cx="5950818" cy="5843439"/>
          </a:xfrm>
          <a:custGeom>
            <a:avLst/>
            <a:gdLst>
              <a:gd name="connsiteX0" fmla="*/ 412307 w 4662328"/>
              <a:gd name="connsiteY0" fmla="*/ 0 h 5549975"/>
              <a:gd name="connsiteX1" fmla="*/ 3414493 w 4662328"/>
              <a:gd name="connsiteY1" fmla="*/ 171842 h 5549975"/>
              <a:gd name="connsiteX2" fmla="*/ 4243304 w 4662328"/>
              <a:gd name="connsiteY2" fmla="*/ 226950 h 5549975"/>
              <a:gd name="connsiteX3" fmla="*/ 4616498 w 4662328"/>
              <a:gd name="connsiteY3" fmla="*/ 247374 h 5549975"/>
              <a:gd name="connsiteX4" fmla="*/ 4644377 w 4662328"/>
              <a:gd name="connsiteY4" fmla="*/ 269179 h 5549975"/>
              <a:gd name="connsiteX5" fmla="*/ 4642603 w 4662328"/>
              <a:gd name="connsiteY5" fmla="*/ 300930 h 5549975"/>
              <a:gd name="connsiteX6" fmla="*/ 4645525 w 4662328"/>
              <a:gd name="connsiteY6" fmla="*/ 302647 h 5549975"/>
              <a:gd name="connsiteX7" fmla="*/ 4661951 w 4662328"/>
              <a:gd name="connsiteY7" fmla="*/ 334222 h 5549975"/>
              <a:gd name="connsiteX8" fmla="*/ 4639690 w 4662328"/>
              <a:gd name="connsiteY8" fmla="*/ 391868 h 5549975"/>
              <a:gd name="connsiteX9" fmla="*/ 4636202 w 4662328"/>
              <a:gd name="connsiteY9" fmla="*/ 415489 h 5549975"/>
              <a:gd name="connsiteX10" fmla="*/ 4631097 w 4662328"/>
              <a:gd name="connsiteY10" fmla="*/ 506828 h 5549975"/>
              <a:gd name="connsiteX11" fmla="*/ 4630447 w 4662328"/>
              <a:gd name="connsiteY11" fmla="*/ 553245 h 5549975"/>
              <a:gd name="connsiteX12" fmla="*/ 4627348 w 4662328"/>
              <a:gd name="connsiteY12" fmla="*/ 581709 h 5549975"/>
              <a:gd name="connsiteX13" fmla="*/ 4626679 w 4662328"/>
              <a:gd name="connsiteY13" fmla="*/ 585890 h 5549975"/>
              <a:gd name="connsiteX14" fmla="*/ 4613742 w 4662328"/>
              <a:gd name="connsiteY14" fmla="*/ 817404 h 5549975"/>
              <a:gd name="connsiteX15" fmla="*/ 4615455 w 4662328"/>
              <a:gd name="connsiteY15" fmla="*/ 822238 h 5549975"/>
              <a:gd name="connsiteX16" fmla="*/ 4613304 w 4662328"/>
              <a:gd name="connsiteY16" fmla="*/ 846069 h 5549975"/>
              <a:gd name="connsiteX17" fmla="*/ 4611704 w 4662328"/>
              <a:gd name="connsiteY17" fmla="*/ 853854 h 5549975"/>
              <a:gd name="connsiteX18" fmla="*/ 4605466 w 4662328"/>
              <a:gd name="connsiteY18" fmla="*/ 965485 h 5549975"/>
              <a:gd name="connsiteX19" fmla="*/ 4607543 w 4662328"/>
              <a:gd name="connsiteY19" fmla="*/ 966385 h 5549975"/>
              <a:gd name="connsiteX20" fmla="*/ 4611662 w 4662328"/>
              <a:gd name="connsiteY20" fmla="*/ 1002567 h 5549975"/>
              <a:gd name="connsiteX21" fmla="*/ 4606864 w 4662328"/>
              <a:gd name="connsiteY21" fmla="*/ 1101094 h 5549975"/>
              <a:gd name="connsiteX22" fmla="*/ 4606759 w 4662328"/>
              <a:gd name="connsiteY22" fmla="*/ 1159389 h 5549975"/>
              <a:gd name="connsiteX23" fmla="*/ 4611062 w 4662328"/>
              <a:gd name="connsiteY23" fmla="*/ 1180505 h 5549975"/>
              <a:gd name="connsiteX24" fmla="*/ 4614152 w 4662328"/>
              <a:gd name="connsiteY24" fmla="*/ 1210687 h 5549975"/>
              <a:gd name="connsiteX25" fmla="*/ 4622969 w 4662328"/>
              <a:gd name="connsiteY25" fmla="*/ 1263157 h 5549975"/>
              <a:gd name="connsiteX26" fmla="*/ 4625246 w 4662328"/>
              <a:gd name="connsiteY26" fmla="*/ 1313374 h 5549975"/>
              <a:gd name="connsiteX27" fmla="*/ 4624366 w 4662328"/>
              <a:gd name="connsiteY27" fmla="*/ 1347004 h 5549975"/>
              <a:gd name="connsiteX28" fmla="*/ 4623903 w 4662328"/>
              <a:gd name="connsiteY28" fmla="*/ 1351864 h 5549975"/>
              <a:gd name="connsiteX29" fmla="*/ 4614784 w 4662328"/>
              <a:gd name="connsiteY29" fmla="*/ 1391762 h 5549975"/>
              <a:gd name="connsiteX30" fmla="*/ 4618048 w 4662328"/>
              <a:gd name="connsiteY30" fmla="*/ 1395707 h 5549975"/>
              <a:gd name="connsiteX31" fmla="*/ 4620890 w 4662328"/>
              <a:gd name="connsiteY31" fmla="*/ 1408524 h 5549975"/>
              <a:gd name="connsiteX32" fmla="*/ 4616149 w 4662328"/>
              <a:gd name="connsiteY32" fmla="*/ 1419109 h 5549975"/>
              <a:gd name="connsiteX33" fmla="*/ 4605965 w 4662328"/>
              <a:gd name="connsiteY33" fmla="*/ 1469337 h 5549975"/>
              <a:gd name="connsiteX34" fmla="*/ 4595068 w 4662328"/>
              <a:gd name="connsiteY34" fmla="*/ 1543038 h 5549975"/>
              <a:gd name="connsiteX35" fmla="*/ 4590187 w 4662328"/>
              <a:gd name="connsiteY35" fmla="*/ 1553997 h 5549975"/>
              <a:gd name="connsiteX36" fmla="*/ 4575759 w 4662328"/>
              <a:gd name="connsiteY36" fmla="*/ 1626071 h 5549975"/>
              <a:gd name="connsiteX37" fmla="*/ 4572044 w 4662328"/>
              <a:gd name="connsiteY37" fmla="*/ 1664103 h 5549975"/>
              <a:gd name="connsiteX38" fmla="*/ 4575704 w 4662328"/>
              <a:gd name="connsiteY38" fmla="*/ 1668558 h 5549975"/>
              <a:gd name="connsiteX39" fmla="*/ 4574054 w 4662328"/>
              <a:gd name="connsiteY39" fmla="*/ 1679756 h 5549975"/>
              <a:gd name="connsiteX40" fmla="*/ 4574466 w 4662328"/>
              <a:gd name="connsiteY40" fmla="*/ 1682815 h 5549975"/>
              <a:gd name="connsiteX41" fmla="*/ 4575977 w 4662328"/>
              <a:gd name="connsiteY41" fmla="*/ 1700268 h 5549975"/>
              <a:gd name="connsiteX42" fmla="*/ 4564507 w 4662328"/>
              <a:gd name="connsiteY42" fmla="*/ 1735163 h 5549975"/>
              <a:gd name="connsiteX43" fmla="*/ 4562447 w 4662328"/>
              <a:gd name="connsiteY43" fmla="*/ 1735289 h 5549975"/>
              <a:gd name="connsiteX44" fmla="*/ 4553949 w 4662328"/>
              <a:gd name="connsiteY44" fmla="*/ 1887374 h 5549975"/>
              <a:gd name="connsiteX45" fmla="*/ 4562640 w 4662328"/>
              <a:gd name="connsiteY45" fmla="*/ 1911536 h 5549975"/>
              <a:gd name="connsiteX46" fmla="*/ 4564918 w 4662328"/>
              <a:gd name="connsiteY46" fmla="*/ 1961755 h 5549975"/>
              <a:gd name="connsiteX47" fmla="*/ 4564037 w 4662328"/>
              <a:gd name="connsiteY47" fmla="*/ 1995384 h 5549975"/>
              <a:gd name="connsiteX48" fmla="*/ 4563575 w 4662328"/>
              <a:gd name="connsiteY48" fmla="*/ 2000244 h 5549975"/>
              <a:gd name="connsiteX49" fmla="*/ 4554455 w 4662328"/>
              <a:gd name="connsiteY49" fmla="*/ 2040142 h 5549975"/>
              <a:gd name="connsiteX50" fmla="*/ 4557720 w 4662328"/>
              <a:gd name="connsiteY50" fmla="*/ 2044087 h 5549975"/>
              <a:gd name="connsiteX51" fmla="*/ 4560561 w 4662328"/>
              <a:gd name="connsiteY51" fmla="*/ 2056904 h 5549975"/>
              <a:gd name="connsiteX52" fmla="*/ 4555820 w 4662328"/>
              <a:gd name="connsiteY52" fmla="*/ 2067489 h 5549975"/>
              <a:gd name="connsiteX53" fmla="*/ 4545636 w 4662328"/>
              <a:gd name="connsiteY53" fmla="*/ 2117719 h 5549975"/>
              <a:gd name="connsiteX54" fmla="*/ 4538305 w 4662328"/>
              <a:gd name="connsiteY54" fmla="*/ 2167300 h 5549975"/>
              <a:gd name="connsiteX55" fmla="*/ 4482222 w 4662328"/>
              <a:gd name="connsiteY55" fmla="*/ 3223633 h 5549975"/>
              <a:gd name="connsiteX56" fmla="*/ 4469436 w 4662328"/>
              <a:gd name="connsiteY56" fmla="*/ 3477281 h 5549975"/>
              <a:gd name="connsiteX57" fmla="*/ 4458351 w 4662328"/>
              <a:gd name="connsiteY57" fmla="*/ 3639984 h 5549975"/>
              <a:gd name="connsiteX58" fmla="*/ 4367590 w 4662328"/>
              <a:gd name="connsiteY58" fmla="*/ 5278921 h 5549975"/>
              <a:gd name="connsiteX59" fmla="*/ 4372888 w 4662328"/>
              <a:gd name="connsiteY59" fmla="*/ 5315626 h 5549975"/>
              <a:gd name="connsiteX60" fmla="*/ 4376422 w 4662328"/>
              <a:gd name="connsiteY60" fmla="*/ 5350090 h 5549975"/>
              <a:gd name="connsiteX61" fmla="*/ 4379254 w 4662328"/>
              <a:gd name="connsiteY61" fmla="*/ 5450399 h 5549975"/>
              <a:gd name="connsiteX62" fmla="*/ 4360697 w 4662328"/>
              <a:gd name="connsiteY62" fmla="*/ 5484804 h 5549975"/>
              <a:gd name="connsiteX63" fmla="*/ 4356045 w 4662328"/>
              <a:gd name="connsiteY63" fmla="*/ 5487504 h 5549975"/>
              <a:gd name="connsiteX64" fmla="*/ 4352588 w 4662328"/>
              <a:gd name="connsiteY64" fmla="*/ 5549951 h 5549975"/>
              <a:gd name="connsiteX65" fmla="*/ 121904 w 4662328"/>
              <a:gd name="connsiteY65" fmla="*/ 5314089 h 5549975"/>
              <a:gd name="connsiteX66" fmla="*/ 125710 w 4662328"/>
              <a:gd name="connsiteY66" fmla="*/ 5243704 h 5549975"/>
              <a:gd name="connsiteX67" fmla="*/ 113205 w 4662328"/>
              <a:gd name="connsiteY67" fmla="*/ 5239903 h 5549975"/>
              <a:gd name="connsiteX68" fmla="*/ 117425 w 4662328"/>
              <a:gd name="connsiteY68" fmla="*/ 5233298 h 5549975"/>
              <a:gd name="connsiteX69" fmla="*/ 117694 w 4662328"/>
              <a:gd name="connsiteY69" fmla="*/ 5230552 h 5549975"/>
              <a:gd name="connsiteX70" fmla="*/ 117964 w 4662328"/>
              <a:gd name="connsiteY70" fmla="*/ 5227804 h 5549975"/>
              <a:gd name="connsiteX71" fmla="*/ 118501 w 4662328"/>
              <a:gd name="connsiteY71" fmla="*/ 5222308 h 5549975"/>
              <a:gd name="connsiteX72" fmla="*/ 118186 w 4662328"/>
              <a:gd name="connsiteY72" fmla="*/ 5216405 h 5549975"/>
              <a:gd name="connsiteX73" fmla="*/ 117602 w 4662328"/>
              <a:gd name="connsiteY73" fmla="*/ 5213249 h 5549975"/>
              <a:gd name="connsiteX74" fmla="*/ 117871 w 4662328"/>
              <a:gd name="connsiteY74" fmla="*/ 5210500 h 5549975"/>
              <a:gd name="connsiteX75" fmla="*/ 117555 w 4662328"/>
              <a:gd name="connsiteY75" fmla="*/ 5204597 h 5549975"/>
              <a:gd name="connsiteX76" fmla="*/ 116972 w 4662328"/>
              <a:gd name="connsiteY76" fmla="*/ 5201441 h 5549975"/>
              <a:gd name="connsiteX77" fmla="*/ 116342 w 4662328"/>
              <a:gd name="connsiteY77" fmla="*/ 5189632 h 5549975"/>
              <a:gd name="connsiteX78" fmla="*/ 115758 w 4662328"/>
              <a:gd name="connsiteY78" fmla="*/ 5186477 h 5549975"/>
              <a:gd name="connsiteX79" fmla="*/ 116026 w 4662328"/>
              <a:gd name="connsiteY79" fmla="*/ 5183728 h 5549975"/>
              <a:gd name="connsiteX80" fmla="*/ 114591 w 4662328"/>
              <a:gd name="connsiteY80" fmla="*/ 5180163 h 5549975"/>
              <a:gd name="connsiteX81" fmla="*/ 131086 w 4662328"/>
              <a:gd name="connsiteY81" fmla="*/ 5144275 h 5549975"/>
              <a:gd name="connsiteX82" fmla="*/ 152522 w 4662328"/>
              <a:gd name="connsiteY82" fmla="*/ 4747825 h 5549975"/>
              <a:gd name="connsiteX83" fmla="*/ 0 w 4662328"/>
              <a:gd name="connsiteY83" fmla="*/ 4747825 h 5549975"/>
              <a:gd name="connsiteX84" fmla="*/ 0 w 4662328"/>
              <a:gd name="connsiteY84" fmla="*/ 3811601 h 5549975"/>
              <a:gd name="connsiteX85" fmla="*/ 110031 w 4662328"/>
              <a:gd name="connsiteY85" fmla="*/ 3811601 h 5549975"/>
              <a:gd name="connsiteX0" fmla="*/ 412307 w 4662328"/>
              <a:gd name="connsiteY0" fmla="*/ 0 h 5549975"/>
              <a:gd name="connsiteX1" fmla="*/ 3414493 w 4662328"/>
              <a:gd name="connsiteY1" fmla="*/ 171842 h 5549975"/>
              <a:gd name="connsiteX2" fmla="*/ 4243304 w 4662328"/>
              <a:gd name="connsiteY2" fmla="*/ 226950 h 5549975"/>
              <a:gd name="connsiteX3" fmla="*/ 4616498 w 4662328"/>
              <a:gd name="connsiteY3" fmla="*/ 247374 h 5549975"/>
              <a:gd name="connsiteX4" fmla="*/ 4644377 w 4662328"/>
              <a:gd name="connsiteY4" fmla="*/ 269179 h 5549975"/>
              <a:gd name="connsiteX5" fmla="*/ 4642603 w 4662328"/>
              <a:gd name="connsiteY5" fmla="*/ 300930 h 5549975"/>
              <a:gd name="connsiteX6" fmla="*/ 4645525 w 4662328"/>
              <a:gd name="connsiteY6" fmla="*/ 302647 h 5549975"/>
              <a:gd name="connsiteX7" fmla="*/ 4661951 w 4662328"/>
              <a:gd name="connsiteY7" fmla="*/ 334222 h 5549975"/>
              <a:gd name="connsiteX8" fmla="*/ 4639690 w 4662328"/>
              <a:gd name="connsiteY8" fmla="*/ 391868 h 5549975"/>
              <a:gd name="connsiteX9" fmla="*/ 4636202 w 4662328"/>
              <a:gd name="connsiteY9" fmla="*/ 415489 h 5549975"/>
              <a:gd name="connsiteX10" fmla="*/ 4631097 w 4662328"/>
              <a:gd name="connsiteY10" fmla="*/ 506828 h 5549975"/>
              <a:gd name="connsiteX11" fmla="*/ 4630447 w 4662328"/>
              <a:gd name="connsiteY11" fmla="*/ 553245 h 5549975"/>
              <a:gd name="connsiteX12" fmla="*/ 4627348 w 4662328"/>
              <a:gd name="connsiteY12" fmla="*/ 581709 h 5549975"/>
              <a:gd name="connsiteX13" fmla="*/ 4626679 w 4662328"/>
              <a:gd name="connsiteY13" fmla="*/ 585890 h 5549975"/>
              <a:gd name="connsiteX14" fmla="*/ 4613742 w 4662328"/>
              <a:gd name="connsiteY14" fmla="*/ 817404 h 5549975"/>
              <a:gd name="connsiteX15" fmla="*/ 4615455 w 4662328"/>
              <a:gd name="connsiteY15" fmla="*/ 822238 h 5549975"/>
              <a:gd name="connsiteX16" fmla="*/ 4613304 w 4662328"/>
              <a:gd name="connsiteY16" fmla="*/ 846069 h 5549975"/>
              <a:gd name="connsiteX17" fmla="*/ 4611704 w 4662328"/>
              <a:gd name="connsiteY17" fmla="*/ 853854 h 5549975"/>
              <a:gd name="connsiteX18" fmla="*/ 4605466 w 4662328"/>
              <a:gd name="connsiteY18" fmla="*/ 965485 h 5549975"/>
              <a:gd name="connsiteX19" fmla="*/ 4607543 w 4662328"/>
              <a:gd name="connsiteY19" fmla="*/ 966385 h 5549975"/>
              <a:gd name="connsiteX20" fmla="*/ 4611662 w 4662328"/>
              <a:gd name="connsiteY20" fmla="*/ 1002567 h 5549975"/>
              <a:gd name="connsiteX21" fmla="*/ 4606864 w 4662328"/>
              <a:gd name="connsiteY21" fmla="*/ 1101094 h 5549975"/>
              <a:gd name="connsiteX22" fmla="*/ 4606759 w 4662328"/>
              <a:gd name="connsiteY22" fmla="*/ 1159389 h 5549975"/>
              <a:gd name="connsiteX23" fmla="*/ 4611062 w 4662328"/>
              <a:gd name="connsiteY23" fmla="*/ 1180505 h 5549975"/>
              <a:gd name="connsiteX24" fmla="*/ 4614152 w 4662328"/>
              <a:gd name="connsiteY24" fmla="*/ 1210687 h 5549975"/>
              <a:gd name="connsiteX25" fmla="*/ 4622969 w 4662328"/>
              <a:gd name="connsiteY25" fmla="*/ 1263157 h 5549975"/>
              <a:gd name="connsiteX26" fmla="*/ 4625246 w 4662328"/>
              <a:gd name="connsiteY26" fmla="*/ 1313374 h 5549975"/>
              <a:gd name="connsiteX27" fmla="*/ 4624366 w 4662328"/>
              <a:gd name="connsiteY27" fmla="*/ 1347004 h 5549975"/>
              <a:gd name="connsiteX28" fmla="*/ 4623903 w 4662328"/>
              <a:gd name="connsiteY28" fmla="*/ 1351864 h 5549975"/>
              <a:gd name="connsiteX29" fmla="*/ 4614784 w 4662328"/>
              <a:gd name="connsiteY29" fmla="*/ 1391762 h 5549975"/>
              <a:gd name="connsiteX30" fmla="*/ 4618048 w 4662328"/>
              <a:gd name="connsiteY30" fmla="*/ 1395707 h 5549975"/>
              <a:gd name="connsiteX31" fmla="*/ 4620890 w 4662328"/>
              <a:gd name="connsiteY31" fmla="*/ 1408524 h 5549975"/>
              <a:gd name="connsiteX32" fmla="*/ 4616149 w 4662328"/>
              <a:gd name="connsiteY32" fmla="*/ 1419109 h 5549975"/>
              <a:gd name="connsiteX33" fmla="*/ 4605965 w 4662328"/>
              <a:gd name="connsiteY33" fmla="*/ 1469337 h 5549975"/>
              <a:gd name="connsiteX34" fmla="*/ 4595068 w 4662328"/>
              <a:gd name="connsiteY34" fmla="*/ 1543038 h 5549975"/>
              <a:gd name="connsiteX35" fmla="*/ 4590187 w 4662328"/>
              <a:gd name="connsiteY35" fmla="*/ 1553997 h 5549975"/>
              <a:gd name="connsiteX36" fmla="*/ 4575759 w 4662328"/>
              <a:gd name="connsiteY36" fmla="*/ 1626071 h 5549975"/>
              <a:gd name="connsiteX37" fmla="*/ 4572044 w 4662328"/>
              <a:gd name="connsiteY37" fmla="*/ 1664103 h 5549975"/>
              <a:gd name="connsiteX38" fmla="*/ 4575704 w 4662328"/>
              <a:gd name="connsiteY38" fmla="*/ 1668558 h 5549975"/>
              <a:gd name="connsiteX39" fmla="*/ 4574054 w 4662328"/>
              <a:gd name="connsiteY39" fmla="*/ 1679756 h 5549975"/>
              <a:gd name="connsiteX40" fmla="*/ 4574466 w 4662328"/>
              <a:gd name="connsiteY40" fmla="*/ 1682815 h 5549975"/>
              <a:gd name="connsiteX41" fmla="*/ 4575977 w 4662328"/>
              <a:gd name="connsiteY41" fmla="*/ 1700268 h 5549975"/>
              <a:gd name="connsiteX42" fmla="*/ 4564507 w 4662328"/>
              <a:gd name="connsiteY42" fmla="*/ 1735163 h 5549975"/>
              <a:gd name="connsiteX43" fmla="*/ 4562447 w 4662328"/>
              <a:gd name="connsiteY43" fmla="*/ 1735289 h 5549975"/>
              <a:gd name="connsiteX44" fmla="*/ 4553949 w 4662328"/>
              <a:gd name="connsiteY44" fmla="*/ 1887374 h 5549975"/>
              <a:gd name="connsiteX45" fmla="*/ 4562640 w 4662328"/>
              <a:gd name="connsiteY45" fmla="*/ 1911536 h 5549975"/>
              <a:gd name="connsiteX46" fmla="*/ 4564918 w 4662328"/>
              <a:gd name="connsiteY46" fmla="*/ 1961755 h 5549975"/>
              <a:gd name="connsiteX47" fmla="*/ 4564037 w 4662328"/>
              <a:gd name="connsiteY47" fmla="*/ 1995384 h 5549975"/>
              <a:gd name="connsiteX48" fmla="*/ 4563575 w 4662328"/>
              <a:gd name="connsiteY48" fmla="*/ 2000244 h 5549975"/>
              <a:gd name="connsiteX49" fmla="*/ 4554455 w 4662328"/>
              <a:gd name="connsiteY49" fmla="*/ 2040142 h 5549975"/>
              <a:gd name="connsiteX50" fmla="*/ 4557720 w 4662328"/>
              <a:gd name="connsiteY50" fmla="*/ 2044087 h 5549975"/>
              <a:gd name="connsiteX51" fmla="*/ 4560561 w 4662328"/>
              <a:gd name="connsiteY51" fmla="*/ 2056904 h 5549975"/>
              <a:gd name="connsiteX52" fmla="*/ 4555820 w 4662328"/>
              <a:gd name="connsiteY52" fmla="*/ 2067489 h 5549975"/>
              <a:gd name="connsiteX53" fmla="*/ 4545636 w 4662328"/>
              <a:gd name="connsiteY53" fmla="*/ 2117719 h 5549975"/>
              <a:gd name="connsiteX54" fmla="*/ 4538305 w 4662328"/>
              <a:gd name="connsiteY54" fmla="*/ 2167300 h 5549975"/>
              <a:gd name="connsiteX55" fmla="*/ 4482222 w 4662328"/>
              <a:gd name="connsiteY55" fmla="*/ 3223633 h 5549975"/>
              <a:gd name="connsiteX56" fmla="*/ 4469436 w 4662328"/>
              <a:gd name="connsiteY56" fmla="*/ 3477281 h 5549975"/>
              <a:gd name="connsiteX57" fmla="*/ 4458351 w 4662328"/>
              <a:gd name="connsiteY57" fmla="*/ 3639984 h 5549975"/>
              <a:gd name="connsiteX58" fmla="*/ 4367590 w 4662328"/>
              <a:gd name="connsiteY58" fmla="*/ 5278921 h 5549975"/>
              <a:gd name="connsiteX59" fmla="*/ 4372888 w 4662328"/>
              <a:gd name="connsiteY59" fmla="*/ 5315626 h 5549975"/>
              <a:gd name="connsiteX60" fmla="*/ 4376422 w 4662328"/>
              <a:gd name="connsiteY60" fmla="*/ 5350090 h 5549975"/>
              <a:gd name="connsiteX61" fmla="*/ 4379254 w 4662328"/>
              <a:gd name="connsiteY61" fmla="*/ 5450399 h 5549975"/>
              <a:gd name="connsiteX62" fmla="*/ 4360697 w 4662328"/>
              <a:gd name="connsiteY62" fmla="*/ 5484804 h 5549975"/>
              <a:gd name="connsiteX63" fmla="*/ 4356045 w 4662328"/>
              <a:gd name="connsiteY63" fmla="*/ 5487504 h 5549975"/>
              <a:gd name="connsiteX64" fmla="*/ 4352588 w 4662328"/>
              <a:gd name="connsiteY64" fmla="*/ 5549951 h 5549975"/>
              <a:gd name="connsiteX65" fmla="*/ 121904 w 4662328"/>
              <a:gd name="connsiteY65" fmla="*/ 5314089 h 5549975"/>
              <a:gd name="connsiteX66" fmla="*/ 125710 w 4662328"/>
              <a:gd name="connsiteY66" fmla="*/ 5243704 h 5549975"/>
              <a:gd name="connsiteX67" fmla="*/ 113205 w 4662328"/>
              <a:gd name="connsiteY67" fmla="*/ 5239903 h 5549975"/>
              <a:gd name="connsiteX68" fmla="*/ 117425 w 4662328"/>
              <a:gd name="connsiteY68" fmla="*/ 5233298 h 5549975"/>
              <a:gd name="connsiteX69" fmla="*/ 117694 w 4662328"/>
              <a:gd name="connsiteY69" fmla="*/ 5230552 h 5549975"/>
              <a:gd name="connsiteX70" fmla="*/ 117964 w 4662328"/>
              <a:gd name="connsiteY70" fmla="*/ 5227804 h 5549975"/>
              <a:gd name="connsiteX71" fmla="*/ 118501 w 4662328"/>
              <a:gd name="connsiteY71" fmla="*/ 5222308 h 5549975"/>
              <a:gd name="connsiteX72" fmla="*/ 118186 w 4662328"/>
              <a:gd name="connsiteY72" fmla="*/ 5216405 h 5549975"/>
              <a:gd name="connsiteX73" fmla="*/ 117602 w 4662328"/>
              <a:gd name="connsiteY73" fmla="*/ 5213249 h 5549975"/>
              <a:gd name="connsiteX74" fmla="*/ 117871 w 4662328"/>
              <a:gd name="connsiteY74" fmla="*/ 5210500 h 5549975"/>
              <a:gd name="connsiteX75" fmla="*/ 117555 w 4662328"/>
              <a:gd name="connsiteY75" fmla="*/ 5204597 h 5549975"/>
              <a:gd name="connsiteX76" fmla="*/ 116972 w 4662328"/>
              <a:gd name="connsiteY76" fmla="*/ 5201441 h 5549975"/>
              <a:gd name="connsiteX77" fmla="*/ 116342 w 4662328"/>
              <a:gd name="connsiteY77" fmla="*/ 5189632 h 5549975"/>
              <a:gd name="connsiteX78" fmla="*/ 115758 w 4662328"/>
              <a:gd name="connsiteY78" fmla="*/ 5186477 h 5549975"/>
              <a:gd name="connsiteX79" fmla="*/ 116026 w 4662328"/>
              <a:gd name="connsiteY79" fmla="*/ 5183728 h 5549975"/>
              <a:gd name="connsiteX80" fmla="*/ 114591 w 4662328"/>
              <a:gd name="connsiteY80" fmla="*/ 5180163 h 5549975"/>
              <a:gd name="connsiteX81" fmla="*/ 131086 w 4662328"/>
              <a:gd name="connsiteY81" fmla="*/ 5144275 h 5549975"/>
              <a:gd name="connsiteX82" fmla="*/ 152522 w 4662328"/>
              <a:gd name="connsiteY82" fmla="*/ 4747825 h 5549975"/>
              <a:gd name="connsiteX83" fmla="*/ 0 w 4662328"/>
              <a:gd name="connsiteY83" fmla="*/ 4747825 h 5549975"/>
              <a:gd name="connsiteX84" fmla="*/ 110031 w 4662328"/>
              <a:gd name="connsiteY84" fmla="*/ 3811601 h 5549975"/>
              <a:gd name="connsiteX85" fmla="*/ 412307 w 4662328"/>
              <a:gd name="connsiteY85" fmla="*/ 0 h 5549975"/>
              <a:gd name="connsiteX0" fmla="*/ 302276 w 4552297"/>
              <a:gd name="connsiteY0" fmla="*/ 0 h 5549975"/>
              <a:gd name="connsiteX1" fmla="*/ 3304462 w 4552297"/>
              <a:gd name="connsiteY1" fmla="*/ 171842 h 5549975"/>
              <a:gd name="connsiteX2" fmla="*/ 4133273 w 4552297"/>
              <a:gd name="connsiteY2" fmla="*/ 226950 h 5549975"/>
              <a:gd name="connsiteX3" fmla="*/ 4506467 w 4552297"/>
              <a:gd name="connsiteY3" fmla="*/ 247374 h 5549975"/>
              <a:gd name="connsiteX4" fmla="*/ 4534346 w 4552297"/>
              <a:gd name="connsiteY4" fmla="*/ 269179 h 5549975"/>
              <a:gd name="connsiteX5" fmla="*/ 4532572 w 4552297"/>
              <a:gd name="connsiteY5" fmla="*/ 300930 h 5549975"/>
              <a:gd name="connsiteX6" fmla="*/ 4535494 w 4552297"/>
              <a:gd name="connsiteY6" fmla="*/ 302647 h 5549975"/>
              <a:gd name="connsiteX7" fmla="*/ 4551920 w 4552297"/>
              <a:gd name="connsiteY7" fmla="*/ 334222 h 5549975"/>
              <a:gd name="connsiteX8" fmla="*/ 4529659 w 4552297"/>
              <a:gd name="connsiteY8" fmla="*/ 391868 h 5549975"/>
              <a:gd name="connsiteX9" fmla="*/ 4526171 w 4552297"/>
              <a:gd name="connsiteY9" fmla="*/ 415489 h 5549975"/>
              <a:gd name="connsiteX10" fmla="*/ 4521066 w 4552297"/>
              <a:gd name="connsiteY10" fmla="*/ 506828 h 5549975"/>
              <a:gd name="connsiteX11" fmla="*/ 4520416 w 4552297"/>
              <a:gd name="connsiteY11" fmla="*/ 553245 h 5549975"/>
              <a:gd name="connsiteX12" fmla="*/ 4517317 w 4552297"/>
              <a:gd name="connsiteY12" fmla="*/ 581709 h 5549975"/>
              <a:gd name="connsiteX13" fmla="*/ 4516648 w 4552297"/>
              <a:gd name="connsiteY13" fmla="*/ 585890 h 5549975"/>
              <a:gd name="connsiteX14" fmla="*/ 4503711 w 4552297"/>
              <a:gd name="connsiteY14" fmla="*/ 817404 h 5549975"/>
              <a:gd name="connsiteX15" fmla="*/ 4505424 w 4552297"/>
              <a:gd name="connsiteY15" fmla="*/ 822238 h 5549975"/>
              <a:gd name="connsiteX16" fmla="*/ 4503273 w 4552297"/>
              <a:gd name="connsiteY16" fmla="*/ 846069 h 5549975"/>
              <a:gd name="connsiteX17" fmla="*/ 4501673 w 4552297"/>
              <a:gd name="connsiteY17" fmla="*/ 853854 h 5549975"/>
              <a:gd name="connsiteX18" fmla="*/ 4495435 w 4552297"/>
              <a:gd name="connsiteY18" fmla="*/ 965485 h 5549975"/>
              <a:gd name="connsiteX19" fmla="*/ 4497512 w 4552297"/>
              <a:gd name="connsiteY19" fmla="*/ 966385 h 5549975"/>
              <a:gd name="connsiteX20" fmla="*/ 4501631 w 4552297"/>
              <a:gd name="connsiteY20" fmla="*/ 1002567 h 5549975"/>
              <a:gd name="connsiteX21" fmla="*/ 4496833 w 4552297"/>
              <a:gd name="connsiteY21" fmla="*/ 1101094 h 5549975"/>
              <a:gd name="connsiteX22" fmla="*/ 4496728 w 4552297"/>
              <a:gd name="connsiteY22" fmla="*/ 1159389 h 5549975"/>
              <a:gd name="connsiteX23" fmla="*/ 4501031 w 4552297"/>
              <a:gd name="connsiteY23" fmla="*/ 1180505 h 5549975"/>
              <a:gd name="connsiteX24" fmla="*/ 4504121 w 4552297"/>
              <a:gd name="connsiteY24" fmla="*/ 1210687 h 5549975"/>
              <a:gd name="connsiteX25" fmla="*/ 4512938 w 4552297"/>
              <a:gd name="connsiteY25" fmla="*/ 1263157 h 5549975"/>
              <a:gd name="connsiteX26" fmla="*/ 4515215 w 4552297"/>
              <a:gd name="connsiteY26" fmla="*/ 1313374 h 5549975"/>
              <a:gd name="connsiteX27" fmla="*/ 4514335 w 4552297"/>
              <a:gd name="connsiteY27" fmla="*/ 1347004 h 5549975"/>
              <a:gd name="connsiteX28" fmla="*/ 4513872 w 4552297"/>
              <a:gd name="connsiteY28" fmla="*/ 1351864 h 5549975"/>
              <a:gd name="connsiteX29" fmla="*/ 4504753 w 4552297"/>
              <a:gd name="connsiteY29" fmla="*/ 1391762 h 5549975"/>
              <a:gd name="connsiteX30" fmla="*/ 4508017 w 4552297"/>
              <a:gd name="connsiteY30" fmla="*/ 1395707 h 5549975"/>
              <a:gd name="connsiteX31" fmla="*/ 4510859 w 4552297"/>
              <a:gd name="connsiteY31" fmla="*/ 1408524 h 5549975"/>
              <a:gd name="connsiteX32" fmla="*/ 4506118 w 4552297"/>
              <a:gd name="connsiteY32" fmla="*/ 1419109 h 5549975"/>
              <a:gd name="connsiteX33" fmla="*/ 4495934 w 4552297"/>
              <a:gd name="connsiteY33" fmla="*/ 1469337 h 5549975"/>
              <a:gd name="connsiteX34" fmla="*/ 4485037 w 4552297"/>
              <a:gd name="connsiteY34" fmla="*/ 1543038 h 5549975"/>
              <a:gd name="connsiteX35" fmla="*/ 4480156 w 4552297"/>
              <a:gd name="connsiteY35" fmla="*/ 1553997 h 5549975"/>
              <a:gd name="connsiteX36" fmla="*/ 4465728 w 4552297"/>
              <a:gd name="connsiteY36" fmla="*/ 1626071 h 5549975"/>
              <a:gd name="connsiteX37" fmla="*/ 4462013 w 4552297"/>
              <a:gd name="connsiteY37" fmla="*/ 1664103 h 5549975"/>
              <a:gd name="connsiteX38" fmla="*/ 4465673 w 4552297"/>
              <a:gd name="connsiteY38" fmla="*/ 1668558 h 5549975"/>
              <a:gd name="connsiteX39" fmla="*/ 4464023 w 4552297"/>
              <a:gd name="connsiteY39" fmla="*/ 1679756 h 5549975"/>
              <a:gd name="connsiteX40" fmla="*/ 4464435 w 4552297"/>
              <a:gd name="connsiteY40" fmla="*/ 1682815 h 5549975"/>
              <a:gd name="connsiteX41" fmla="*/ 4465946 w 4552297"/>
              <a:gd name="connsiteY41" fmla="*/ 1700268 h 5549975"/>
              <a:gd name="connsiteX42" fmla="*/ 4454476 w 4552297"/>
              <a:gd name="connsiteY42" fmla="*/ 1735163 h 5549975"/>
              <a:gd name="connsiteX43" fmla="*/ 4452416 w 4552297"/>
              <a:gd name="connsiteY43" fmla="*/ 1735289 h 5549975"/>
              <a:gd name="connsiteX44" fmla="*/ 4443918 w 4552297"/>
              <a:gd name="connsiteY44" fmla="*/ 1887374 h 5549975"/>
              <a:gd name="connsiteX45" fmla="*/ 4452609 w 4552297"/>
              <a:gd name="connsiteY45" fmla="*/ 1911536 h 5549975"/>
              <a:gd name="connsiteX46" fmla="*/ 4454887 w 4552297"/>
              <a:gd name="connsiteY46" fmla="*/ 1961755 h 5549975"/>
              <a:gd name="connsiteX47" fmla="*/ 4454006 w 4552297"/>
              <a:gd name="connsiteY47" fmla="*/ 1995384 h 5549975"/>
              <a:gd name="connsiteX48" fmla="*/ 4453544 w 4552297"/>
              <a:gd name="connsiteY48" fmla="*/ 2000244 h 5549975"/>
              <a:gd name="connsiteX49" fmla="*/ 4444424 w 4552297"/>
              <a:gd name="connsiteY49" fmla="*/ 2040142 h 5549975"/>
              <a:gd name="connsiteX50" fmla="*/ 4447689 w 4552297"/>
              <a:gd name="connsiteY50" fmla="*/ 2044087 h 5549975"/>
              <a:gd name="connsiteX51" fmla="*/ 4450530 w 4552297"/>
              <a:gd name="connsiteY51" fmla="*/ 2056904 h 5549975"/>
              <a:gd name="connsiteX52" fmla="*/ 4445789 w 4552297"/>
              <a:gd name="connsiteY52" fmla="*/ 2067489 h 5549975"/>
              <a:gd name="connsiteX53" fmla="*/ 4435605 w 4552297"/>
              <a:gd name="connsiteY53" fmla="*/ 2117719 h 5549975"/>
              <a:gd name="connsiteX54" fmla="*/ 4428274 w 4552297"/>
              <a:gd name="connsiteY54" fmla="*/ 2167300 h 5549975"/>
              <a:gd name="connsiteX55" fmla="*/ 4372191 w 4552297"/>
              <a:gd name="connsiteY55" fmla="*/ 3223633 h 5549975"/>
              <a:gd name="connsiteX56" fmla="*/ 4359405 w 4552297"/>
              <a:gd name="connsiteY56" fmla="*/ 3477281 h 5549975"/>
              <a:gd name="connsiteX57" fmla="*/ 4348320 w 4552297"/>
              <a:gd name="connsiteY57" fmla="*/ 3639984 h 5549975"/>
              <a:gd name="connsiteX58" fmla="*/ 4257559 w 4552297"/>
              <a:gd name="connsiteY58" fmla="*/ 5278921 h 5549975"/>
              <a:gd name="connsiteX59" fmla="*/ 4262857 w 4552297"/>
              <a:gd name="connsiteY59" fmla="*/ 5315626 h 5549975"/>
              <a:gd name="connsiteX60" fmla="*/ 4266391 w 4552297"/>
              <a:gd name="connsiteY60" fmla="*/ 5350090 h 5549975"/>
              <a:gd name="connsiteX61" fmla="*/ 4269223 w 4552297"/>
              <a:gd name="connsiteY61" fmla="*/ 5450399 h 5549975"/>
              <a:gd name="connsiteX62" fmla="*/ 4250666 w 4552297"/>
              <a:gd name="connsiteY62" fmla="*/ 5484804 h 5549975"/>
              <a:gd name="connsiteX63" fmla="*/ 4246014 w 4552297"/>
              <a:gd name="connsiteY63" fmla="*/ 5487504 h 5549975"/>
              <a:gd name="connsiteX64" fmla="*/ 4242557 w 4552297"/>
              <a:gd name="connsiteY64" fmla="*/ 5549951 h 5549975"/>
              <a:gd name="connsiteX65" fmla="*/ 11873 w 4552297"/>
              <a:gd name="connsiteY65" fmla="*/ 5314089 h 5549975"/>
              <a:gd name="connsiteX66" fmla="*/ 15679 w 4552297"/>
              <a:gd name="connsiteY66" fmla="*/ 5243704 h 5549975"/>
              <a:gd name="connsiteX67" fmla="*/ 3174 w 4552297"/>
              <a:gd name="connsiteY67" fmla="*/ 5239903 h 5549975"/>
              <a:gd name="connsiteX68" fmla="*/ 7394 w 4552297"/>
              <a:gd name="connsiteY68" fmla="*/ 5233298 h 5549975"/>
              <a:gd name="connsiteX69" fmla="*/ 7663 w 4552297"/>
              <a:gd name="connsiteY69" fmla="*/ 5230552 h 5549975"/>
              <a:gd name="connsiteX70" fmla="*/ 7933 w 4552297"/>
              <a:gd name="connsiteY70" fmla="*/ 5227804 h 5549975"/>
              <a:gd name="connsiteX71" fmla="*/ 8470 w 4552297"/>
              <a:gd name="connsiteY71" fmla="*/ 5222308 h 5549975"/>
              <a:gd name="connsiteX72" fmla="*/ 8155 w 4552297"/>
              <a:gd name="connsiteY72" fmla="*/ 5216405 h 5549975"/>
              <a:gd name="connsiteX73" fmla="*/ 7571 w 4552297"/>
              <a:gd name="connsiteY73" fmla="*/ 5213249 h 5549975"/>
              <a:gd name="connsiteX74" fmla="*/ 7840 w 4552297"/>
              <a:gd name="connsiteY74" fmla="*/ 5210500 h 5549975"/>
              <a:gd name="connsiteX75" fmla="*/ 7524 w 4552297"/>
              <a:gd name="connsiteY75" fmla="*/ 5204597 h 5549975"/>
              <a:gd name="connsiteX76" fmla="*/ 6941 w 4552297"/>
              <a:gd name="connsiteY76" fmla="*/ 5201441 h 5549975"/>
              <a:gd name="connsiteX77" fmla="*/ 6311 w 4552297"/>
              <a:gd name="connsiteY77" fmla="*/ 5189632 h 5549975"/>
              <a:gd name="connsiteX78" fmla="*/ 5727 w 4552297"/>
              <a:gd name="connsiteY78" fmla="*/ 5186477 h 5549975"/>
              <a:gd name="connsiteX79" fmla="*/ 5995 w 4552297"/>
              <a:gd name="connsiteY79" fmla="*/ 5183728 h 5549975"/>
              <a:gd name="connsiteX80" fmla="*/ 4560 w 4552297"/>
              <a:gd name="connsiteY80" fmla="*/ 5180163 h 5549975"/>
              <a:gd name="connsiteX81" fmla="*/ 21055 w 4552297"/>
              <a:gd name="connsiteY81" fmla="*/ 5144275 h 5549975"/>
              <a:gd name="connsiteX82" fmla="*/ 42491 w 4552297"/>
              <a:gd name="connsiteY82" fmla="*/ 4747825 h 5549975"/>
              <a:gd name="connsiteX83" fmla="*/ 0 w 4552297"/>
              <a:gd name="connsiteY83" fmla="*/ 3811601 h 5549975"/>
              <a:gd name="connsiteX84" fmla="*/ 302276 w 4552297"/>
              <a:gd name="connsiteY84" fmla="*/ 0 h 5549975"/>
              <a:gd name="connsiteX0" fmla="*/ 299102 w 4549123"/>
              <a:gd name="connsiteY0" fmla="*/ 0 h 5549975"/>
              <a:gd name="connsiteX1" fmla="*/ 3301288 w 4549123"/>
              <a:gd name="connsiteY1" fmla="*/ 171842 h 5549975"/>
              <a:gd name="connsiteX2" fmla="*/ 4130099 w 4549123"/>
              <a:gd name="connsiteY2" fmla="*/ 226950 h 5549975"/>
              <a:gd name="connsiteX3" fmla="*/ 4503293 w 4549123"/>
              <a:gd name="connsiteY3" fmla="*/ 247374 h 5549975"/>
              <a:gd name="connsiteX4" fmla="*/ 4531172 w 4549123"/>
              <a:gd name="connsiteY4" fmla="*/ 269179 h 5549975"/>
              <a:gd name="connsiteX5" fmla="*/ 4529398 w 4549123"/>
              <a:gd name="connsiteY5" fmla="*/ 300930 h 5549975"/>
              <a:gd name="connsiteX6" fmla="*/ 4532320 w 4549123"/>
              <a:gd name="connsiteY6" fmla="*/ 302647 h 5549975"/>
              <a:gd name="connsiteX7" fmla="*/ 4548746 w 4549123"/>
              <a:gd name="connsiteY7" fmla="*/ 334222 h 5549975"/>
              <a:gd name="connsiteX8" fmla="*/ 4526485 w 4549123"/>
              <a:gd name="connsiteY8" fmla="*/ 391868 h 5549975"/>
              <a:gd name="connsiteX9" fmla="*/ 4522997 w 4549123"/>
              <a:gd name="connsiteY9" fmla="*/ 415489 h 5549975"/>
              <a:gd name="connsiteX10" fmla="*/ 4517892 w 4549123"/>
              <a:gd name="connsiteY10" fmla="*/ 506828 h 5549975"/>
              <a:gd name="connsiteX11" fmla="*/ 4517242 w 4549123"/>
              <a:gd name="connsiteY11" fmla="*/ 553245 h 5549975"/>
              <a:gd name="connsiteX12" fmla="*/ 4514143 w 4549123"/>
              <a:gd name="connsiteY12" fmla="*/ 581709 h 5549975"/>
              <a:gd name="connsiteX13" fmla="*/ 4513474 w 4549123"/>
              <a:gd name="connsiteY13" fmla="*/ 585890 h 5549975"/>
              <a:gd name="connsiteX14" fmla="*/ 4500537 w 4549123"/>
              <a:gd name="connsiteY14" fmla="*/ 817404 h 5549975"/>
              <a:gd name="connsiteX15" fmla="*/ 4502250 w 4549123"/>
              <a:gd name="connsiteY15" fmla="*/ 822238 h 5549975"/>
              <a:gd name="connsiteX16" fmla="*/ 4500099 w 4549123"/>
              <a:gd name="connsiteY16" fmla="*/ 846069 h 5549975"/>
              <a:gd name="connsiteX17" fmla="*/ 4498499 w 4549123"/>
              <a:gd name="connsiteY17" fmla="*/ 853854 h 5549975"/>
              <a:gd name="connsiteX18" fmla="*/ 4492261 w 4549123"/>
              <a:gd name="connsiteY18" fmla="*/ 965485 h 5549975"/>
              <a:gd name="connsiteX19" fmla="*/ 4494338 w 4549123"/>
              <a:gd name="connsiteY19" fmla="*/ 966385 h 5549975"/>
              <a:gd name="connsiteX20" fmla="*/ 4498457 w 4549123"/>
              <a:gd name="connsiteY20" fmla="*/ 1002567 h 5549975"/>
              <a:gd name="connsiteX21" fmla="*/ 4493659 w 4549123"/>
              <a:gd name="connsiteY21" fmla="*/ 1101094 h 5549975"/>
              <a:gd name="connsiteX22" fmla="*/ 4493554 w 4549123"/>
              <a:gd name="connsiteY22" fmla="*/ 1159389 h 5549975"/>
              <a:gd name="connsiteX23" fmla="*/ 4497857 w 4549123"/>
              <a:gd name="connsiteY23" fmla="*/ 1180505 h 5549975"/>
              <a:gd name="connsiteX24" fmla="*/ 4500947 w 4549123"/>
              <a:gd name="connsiteY24" fmla="*/ 1210687 h 5549975"/>
              <a:gd name="connsiteX25" fmla="*/ 4509764 w 4549123"/>
              <a:gd name="connsiteY25" fmla="*/ 1263157 h 5549975"/>
              <a:gd name="connsiteX26" fmla="*/ 4512041 w 4549123"/>
              <a:gd name="connsiteY26" fmla="*/ 1313374 h 5549975"/>
              <a:gd name="connsiteX27" fmla="*/ 4511161 w 4549123"/>
              <a:gd name="connsiteY27" fmla="*/ 1347004 h 5549975"/>
              <a:gd name="connsiteX28" fmla="*/ 4510698 w 4549123"/>
              <a:gd name="connsiteY28" fmla="*/ 1351864 h 5549975"/>
              <a:gd name="connsiteX29" fmla="*/ 4501579 w 4549123"/>
              <a:gd name="connsiteY29" fmla="*/ 1391762 h 5549975"/>
              <a:gd name="connsiteX30" fmla="*/ 4504843 w 4549123"/>
              <a:gd name="connsiteY30" fmla="*/ 1395707 h 5549975"/>
              <a:gd name="connsiteX31" fmla="*/ 4507685 w 4549123"/>
              <a:gd name="connsiteY31" fmla="*/ 1408524 h 5549975"/>
              <a:gd name="connsiteX32" fmla="*/ 4502944 w 4549123"/>
              <a:gd name="connsiteY32" fmla="*/ 1419109 h 5549975"/>
              <a:gd name="connsiteX33" fmla="*/ 4492760 w 4549123"/>
              <a:gd name="connsiteY33" fmla="*/ 1469337 h 5549975"/>
              <a:gd name="connsiteX34" fmla="*/ 4481863 w 4549123"/>
              <a:gd name="connsiteY34" fmla="*/ 1543038 h 5549975"/>
              <a:gd name="connsiteX35" fmla="*/ 4476982 w 4549123"/>
              <a:gd name="connsiteY35" fmla="*/ 1553997 h 5549975"/>
              <a:gd name="connsiteX36" fmla="*/ 4462554 w 4549123"/>
              <a:gd name="connsiteY36" fmla="*/ 1626071 h 5549975"/>
              <a:gd name="connsiteX37" fmla="*/ 4458839 w 4549123"/>
              <a:gd name="connsiteY37" fmla="*/ 1664103 h 5549975"/>
              <a:gd name="connsiteX38" fmla="*/ 4462499 w 4549123"/>
              <a:gd name="connsiteY38" fmla="*/ 1668558 h 5549975"/>
              <a:gd name="connsiteX39" fmla="*/ 4460849 w 4549123"/>
              <a:gd name="connsiteY39" fmla="*/ 1679756 h 5549975"/>
              <a:gd name="connsiteX40" fmla="*/ 4461261 w 4549123"/>
              <a:gd name="connsiteY40" fmla="*/ 1682815 h 5549975"/>
              <a:gd name="connsiteX41" fmla="*/ 4462772 w 4549123"/>
              <a:gd name="connsiteY41" fmla="*/ 1700268 h 5549975"/>
              <a:gd name="connsiteX42" fmla="*/ 4451302 w 4549123"/>
              <a:gd name="connsiteY42" fmla="*/ 1735163 h 5549975"/>
              <a:gd name="connsiteX43" fmla="*/ 4449242 w 4549123"/>
              <a:gd name="connsiteY43" fmla="*/ 1735289 h 5549975"/>
              <a:gd name="connsiteX44" fmla="*/ 4440744 w 4549123"/>
              <a:gd name="connsiteY44" fmla="*/ 1887374 h 5549975"/>
              <a:gd name="connsiteX45" fmla="*/ 4449435 w 4549123"/>
              <a:gd name="connsiteY45" fmla="*/ 1911536 h 5549975"/>
              <a:gd name="connsiteX46" fmla="*/ 4451713 w 4549123"/>
              <a:gd name="connsiteY46" fmla="*/ 1961755 h 5549975"/>
              <a:gd name="connsiteX47" fmla="*/ 4450832 w 4549123"/>
              <a:gd name="connsiteY47" fmla="*/ 1995384 h 5549975"/>
              <a:gd name="connsiteX48" fmla="*/ 4450370 w 4549123"/>
              <a:gd name="connsiteY48" fmla="*/ 2000244 h 5549975"/>
              <a:gd name="connsiteX49" fmla="*/ 4441250 w 4549123"/>
              <a:gd name="connsiteY49" fmla="*/ 2040142 h 5549975"/>
              <a:gd name="connsiteX50" fmla="*/ 4444515 w 4549123"/>
              <a:gd name="connsiteY50" fmla="*/ 2044087 h 5549975"/>
              <a:gd name="connsiteX51" fmla="*/ 4447356 w 4549123"/>
              <a:gd name="connsiteY51" fmla="*/ 2056904 h 5549975"/>
              <a:gd name="connsiteX52" fmla="*/ 4442615 w 4549123"/>
              <a:gd name="connsiteY52" fmla="*/ 2067489 h 5549975"/>
              <a:gd name="connsiteX53" fmla="*/ 4432431 w 4549123"/>
              <a:gd name="connsiteY53" fmla="*/ 2117719 h 5549975"/>
              <a:gd name="connsiteX54" fmla="*/ 4425100 w 4549123"/>
              <a:gd name="connsiteY54" fmla="*/ 2167300 h 5549975"/>
              <a:gd name="connsiteX55" fmla="*/ 4369017 w 4549123"/>
              <a:gd name="connsiteY55" fmla="*/ 3223633 h 5549975"/>
              <a:gd name="connsiteX56" fmla="*/ 4356231 w 4549123"/>
              <a:gd name="connsiteY56" fmla="*/ 3477281 h 5549975"/>
              <a:gd name="connsiteX57" fmla="*/ 4345146 w 4549123"/>
              <a:gd name="connsiteY57" fmla="*/ 3639984 h 5549975"/>
              <a:gd name="connsiteX58" fmla="*/ 4254385 w 4549123"/>
              <a:gd name="connsiteY58" fmla="*/ 5278921 h 5549975"/>
              <a:gd name="connsiteX59" fmla="*/ 4259683 w 4549123"/>
              <a:gd name="connsiteY59" fmla="*/ 5315626 h 5549975"/>
              <a:gd name="connsiteX60" fmla="*/ 4263217 w 4549123"/>
              <a:gd name="connsiteY60" fmla="*/ 5350090 h 5549975"/>
              <a:gd name="connsiteX61" fmla="*/ 4266049 w 4549123"/>
              <a:gd name="connsiteY61" fmla="*/ 5450399 h 5549975"/>
              <a:gd name="connsiteX62" fmla="*/ 4247492 w 4549123"/>
              <a:gd name="connsiteY62" fmla="*/ 5484804 h 5549975"/>
              <a:gd name="connsiteX63" fmla="*/ 4242840 w 4549123"/>
              <a:gd name="connsiteY63" fmla="*/ 5487504 h 5549975"/>
              <a:gd name="connsiteX64" fmla="*/ 4239383 w 4549123"/>
              <a:gd name="connsiteY64" fmla="*/ 5549951 h 5549975"/>
              <a:gd name="connsiteX65" fmla="*/ 8699 w 4549123"/>
              <a:gd name="connsiteY65" fmla="*/ 5314089 h 5549975"/>
              <a:gd name="connsiteX66" fmla="*/ 12505 w 4549123"/>
              <a:gd name="connsiteY66" fmla="*/ 5243704 h 5549975"/>
              <a:gd name="connsiteX67" fmla="*/ 0 w 4549123"/>
              <a:gd name="connsiteY67" fmla="*/ 5239903 h 5549975"/>
              <a:gd name="connsiteX68" fmla="*/ 4220 w 4549123"/>
              <a:gd name="connsiteY68" fmla="*/ 5233298 h 5549975"/>
              <a:gd name="connsiteX69" fmla="*/ 4489 w 4549123"/>
              <a:gd name="connsiteY69" fmla="*/ 5230552 h 5549975"/>
              <a:gd name="connsiteX70" fmla="*/ 4759 w 4549123"/>
              <a:gd name="connsiteY70" fmla="*/ 5227804 h 5549975"/>
              <a:gd name="connsiteX71" fmla="*/ 5296 w 4549123"/>
              <a:gd name="connsiteY71" fmla="*/ 5222308 h 5549975"/>
              <a:gd name="connsiteX72" fmla="*/ 4981 w 4549123"/>
              <a:gd name="connsiteY72" fmla="*/ 5216405 h 5549975"/>
              <a:gd name="connsiteX73" fmla="*/ 4397 w 4549123"/>
              <a:gd name="connsiteY73" fmla="*/ 5213249 h 5549975"/>
              <a:gd name="connsiteX74" fmla="*/ 4666 w 4549123"/>
              <a:gd name="connsiteY74" fmla="*/ 5210500 h 5549975"/>
              <a:gd name="connsiteX75" fmla="*/ 4350 w 4549123"/>
              <a:gd name="connsiteY75" fmla="*/ 5204597 h 5549975"/>
              <a:gd name="connsiteX76" fmla="*/ 3767 w 4549123"/>
              <a:gd name="connsiteY76" fmla="*/ 5201441 h 5549975"/>
              <a:gd name="connsiteX77" fmla="*/ 3137 w 4549123"/>
              <a:gd name="connsiteY77" fmla="*/ 5189632 h 5549975"/>
              <a:gd name="connsiteX78" fmla="*/ 2553 w 4549123"/>
              <a:gd name="connsiteY78" fmla="*/ 5186477 h 5549975"/>
              <a:gd name="connsiteX79" fmla="*/ 2821 w 4549123"/>
              <a:gd name="connsiteY79" fmla="*/ 5183728 h 5549975"/>
              <a:gd name="connsiteX80" fmla="*/ 1386 w 4549123"/>
              <a:gd name="connsiteY80" fmla="*/ 5180163 h 5549975"/>
              <a:gd name="connsiteX81" fmla="*/ 17881 w 4549123"/>
              <a:gd name="connsiteY81" fmla="*/ 5144275 h 5549975"/>
              <a:gd name="connsiteX82" fmla="*/ 39317 w 4549123"/>
              <a:gd name="connsiteY82" fmla="*/ 4747825 h 5549975"/>
              <a:gd name="connsiteX83" fmla="*/ 218499 w 4549123"/>
              <a:gd name="connsiteY83" fmla="*/ 3822685 h 5549975"/>
              <a:gd name="connsiteX84" fmla="*/ 299102 w 4549123"/>
              <a:gd name="connsiteY84" fmla="*/ 0 h 5549975"/>
              <a:gd name="connsiteX0" fmla="*/ 299102 w 4549123"/>
              <a:gd name="connsiteY0" fmla="*/ 0 h 5549975"/>
              <a:gd name="connsiteX1" fmla="*/ 3301288 w 4549123"/>
              <a:gd name="connsiteY1" fmla="*/ 171842 h 5549975"/>
              <a:gd name="connsiteX2" fmla="*/ 4130099 w 4549123"/>
              <a:gd name="connsiteY2" fmla="*/ 226950 h 5549975"/>
              <a:gd name="connsiteX3" fmla="*/ 4503293 w 4549123"/>
              <a:gd name="connsiteY3" fmla="*/ 247374 h 5549975"/>
              <a:gd name="connsiteX4" fmla="*/ 4531172 w 4549123"/>
              <a:gd name="connsiteY4" fmla="*/ 269179 h 5549975"/>
              <a:gd name="connsiteX5" fmla="*/ 4529398 w 4549123"/>
              <a:gd name="connsiteY5" fmla="*/ 300930 h 5549975"/>
              <a:gd name="connsiteX6" fmla="*/ 4532320 w 4549123"/>
              <a:gd name="connsiteY6" fmla="*/ 302647 h 5549975"/>
              <a:gd name="connsiteX7" fmla="*/ 4548746 w 4549123"/>
              <a:gd name="connsiteY7" fmla="*/ 334222 h 5549975"/>
              <a:gd name="connsiteX8" fmla="*/ 4526485 w 4549123"/>
              <a:gd name="connsiteY8" fmla="*/ 391868 h 5549975"/>
              <a:gd name="connsiteX9" fmla="*/ 4522997 w 4549123"/>
              <a:gd name="connsiteY9" fmla="*/ 415489 h 5549975"/>
              <a:gd name="connsiteX10" fmla="*/ 4517892 w 4549123"/>
              <a:gd name="connsiteY10" fmla="*/ 506828 h 5549975"/>
              <a:gd name="connsiteX11" fmla="*/ 4517242 w 4549123"/>
              <a:gd name="connsiteY11" fmla="*/ 553245 h 5549975"/>
              <a:gd name="connsiteX12" fmla="*/ 4514143 w 4549123"/>
              <a:gd name="connsiteY12" fmla="*/ 581709 h 5549975"/>
              <a:gd name="connsiteX13" fmla="*/ 4513474 w 4549123"/>
              <a:gd name="connsiteY13" fmla="*/ 585890 h 5549975"/>
              <a:gd name="connsiteX14" fmla="*/ 4500537 w 4549123"/>
              <a:gd name="connsiteY14" fmla="*/ 817404 h 5549975"/>
              <a:gd name="connsiteX15" fmla="*/ 4502250 w 4549123"/>
              <a:gd name="connsiteY15" fmla="*/ 822238 h 5549975"/>
              <a:gd name="connsiteX16" fmla="*/ 4500099 w 4549123"/>
              <a:gd name="connsiteY16" fmla="*/ 846069 h 5549975"/>
              <a:gd name="connsiteX17" fmla="*/ 4498499 w 4549123"/>
              <a:gd name="connsiteY17" fmla="*/ 853854 h 5549975"/>
              <a:gd name="connsiteX18" fmla="*/ 4492261 w 4549123"/>
              <a:gd name="connsiteY18" fmla="*/ 965485 h 5549975"/>
              <a:gd name="connsiteX19" fmla="*/ 4494338 w 4549123"/>
              <a:gd name="connsiteY19" fmla="*/ 966385 h 5549975"/>
              <a:gd name="connsiteX20" fmla="*/ 4498457 w 4549123"/>
              <a:gd name="connsiteY20" fmla="*/ 1002567 h 5549975"/>
              <a:gd name="connsiteX21" fmla="*/ 4493659 w 4549123"/>
              <a:gd name="connsiteY21" fmla="*/ 1101094 h 5549975"/>
              <a:gd name="connsiteX22" fmla="*/ 4493554 w 4549123"/>
              <a:gd name="connsiteY22" fmla="*/ 1159389 h 5549975"/>
              <a:gd name="connsiteX23" fmla="*/ 4497857 w 4549123"/>
              <a:gd name="connsiteY23" fmla="*/ 1180505 h 5549975"/>
              <a:gd name="connsiteX24" fmla="*/ 4500947 w 4549123"/>
              <a:gd name="connsiteY24" fmla="*/ 1210687 h 5549975"/>
              <a:gd name="connsiteX25" fmla="*/ 4509764 w 4549123"/>
              <a:gd name="connsiteY25" fmla="*/ 1263157 h 5549975"/>
              <a:gd name="connsiteX26" fmla="*/ 4512041 w 4549123"/>
              <a:gd name="connsiteY26" fmla="*/ 1313374 h 5549975"/>
              <a:gd name="connsiteX27" fmla="*/ 4511161 w 4549123"/>
              <a:gd name="connsiteY27" fmla="*/ 1347004 h 5549975"/>
              <a:gd name="connsiteX28" fmla="*/ 4510698 w 4549123"/>
              <a:gd name="connsiteY28" fmla="*/ 1351864 h 5549975"/>
              <a:gd name="connsiteX29" fmla="*/ 4501579 w 4549123"/>
              <a:gd name="connsiteY29" fmla="*/ 1391762 h 5549975"/>
              <a:gd name="connsiteX30" fmla="*/ 4504843 w 4549123"/>
              <a:gd name="connsiteY30" fmla="*/ 1395707 h 5549975"/>
              <a:gd name="connsiteX31" fmla="*/ 4507685 w 4549123"/>
              <a:gd name="connsiteY31" fmla="*/ 1408524 h 5549975"/>
              <a:gd name="connsiteX32" fmla="*/ 4502944 w 4549123"/>
              <a:gd name="connsiteY32" fmla="*/ 1419109 h 5549975"/>
              <a:gd name="connsiteX33" fmla="*/ 4492760 w 4549123"/>
              <a:gd name="connsiteY33" fmla="*/ 1469337 h 5549975"/>
              <a:gd name="connsiteX34" fmla="*/ 4481863 w 4549123"/>
              <a:gd name="connsiteY34" fmla="*/ 1543038 h 5549975"/>
              <a:gd name="connsiteX35" fmla="*/ 4476982 w 4549123"/>
              <a:gd name="connsiteY35" fmla="*/ 1553997 h 5549975"/>
              <a:gd name="connsiteX36" fmla="*/ 4462554 w 4549123"/>
              <a:gd name="connsiteY36" fmla="*/ 1626071 h 5549975"/>
              <a:gd name="connsiteX37" fmla="*/ 4458839 w 4549123"/>
              <a:gd name="connsiteY37" fmla="*/ 1664103 h 5549975"/>
              <a:gd name="connsiteX38" fmla="*/ 4462499 w 4549123"/>
              <a:gd name="connsiteY38" fmla="*/ 1668558 h 5549975"/>
              <a:gd name="connsiteX39" fmla="*/ 4460849 w 4549123"/>
              <a:gd name="connsiteY39" fmla="*/ 1679756 h 5549975"/>
              <a:gd name="connsiteX40" fmla="*/ 4461261 w 4549123"/>
              <a:gd name="connsiteY40" fmla="*/ 1682815 h 5549975"/>
              <a:gd name="connsiteX41" fmla="*/ 4462772 w 4549123"/>
              <a:gd name="connsiteY41" fmla="*/ 1700268 h 5549975"/>
              <a:gd name="connsiteX42" fmla="*/ 4451302 w 4549123"/>
              <a:gd name="connsiteY42" fmla="*/ 1735163 h 5549975"/>
              <a:gd name="connsiteX43" fmla="*/ 4449242 w 4549123"/>
              <a:gd name="connsiteY43" fmla="*/ 1735289 h 5549975"/>
              <a:gd name="connsiteX44" fmla="*/ 4440744 w 4549123"/>
              <a:gd name="connsiteY44" fmla="*/ 1887374 h 5549975"/>
              <a:gd name="connsiteX45" fmla="*/ 4449435 w 4549123"/>
              <a:gd name="connsiteY45" fmla="*/ 1911536 h 5549975"/>
              <a:gd name="connsiteX46" fmla="*/ 4451713 w 4549123"/>
              <a:gd name="connsiteY46" fmla="*/ 1961755 h 5549975"/>
              <a:gd name="connsiteX47" fmla="*/ 4450832 w 4549123"/>
              <a:gd name="connsiteY47" fmla="*/ 1995384 h 5549975"/>
              <a:gd name="connsiteX48" fmla="*/ 4450370 w 4549123"/>
              <a:gd name="connsiteY48" fmla="*/ 2000244 h 5549975"/>
              <a:gd name="connsiteX49" fmla="*/ 4441250 w 4549123"/>
              <a:gd name="connsiteY49" fmla="*/ 2040142 h 5549975"/>
              <a:gd name="connsiteX50" fmla="*/ 4444515 w 4549123"/>
              <a:gd name="connsiteY50" fmla="*/ 2044087 h 5549975"/>
              <a:gd name="connsiteX51" fmla="*/ 4447356 w 4549123"/>
              <a:gd name="connsiteY51" fmla="*/ 2056904 h 5549975"/>
              <a:gd name="connsiteX52" fmla="*/ 4442615 w 4549123"/>
              <a:gd name="connsiteY52" fmla="*/ 2067489 h 5549975"/>
              <a:gd name="connsiteX53" fmla="*/ 4432431 w 4549123"/>
              <a:gd name="connsiteY53" fmla="*/ 2117719 h 5549975"/>
              <a:gd name="connsiteX54" fmla="*/ 4425100 w 4549123"/>
              <a:gd name="connsiteY54" fmla="*/ 2167300 h 5549975"/>
              <a:gd name="connsiteX55" fmla="*/ 4369017 w 4549123"/>
              <a:gd name="connsiteY55" fmla="*/ 3223633 h 5549975"/>
              <a:gd name="connsiteX56" fmla="*/ 4356231 w 4549123"/>
              <a:gd name="connsiteY56" fmla="*/ 3477281 h 5549975"/>
              <a:gd name="connsiteX57" fmla="*/ 4345146 w 4549123"/>
              <a:gd name="connsiteY57" fmla="*/ 3639984 h 5549975"/>
              <a:gd name="connsiteX58" fmla="*/ 4254385 w 4549123"/>
              <a:gd name="connsiteY58" fmla="*/ 5278921 h 5549975"/>
              <a:gd name="connsiteX59" fmla="*/ 4259683 w 4549123"/>
              <a:gd name="connsiteY59" fmla="*/ 5315626 h 5549975"/>
              <a:gd name="connsiteX60" fmla="*/ 4263217 w 4549123"/>
              <a:gd name="connsiteY60" fmla="*/ 5350090 h 5549975"/>
              <a:gd name="connsiteX61" fmla="*/ 4266049 w 4549123"/>
              <a:gd name="connsiteY61" fmla="*/ 5450399 h 5549975"/>
              <a:gd name="connsiteX62" fmla="*/ 4247492 w 4549123"/>
              <a:gd name="connsiteY62" fmla="*/ 5484804 h 5549975"/>
              <a:gd name="connsiteX63" fmla="*/ 4242840 w 4549123"/>
              <a:gd name="connsiteY63" fmla="*/ 5487504 h 5549975"/>
              <a:gd name="connsiteX64" fmla="*/ 4239383 w 4549123"/>
              <a:gd name="connsiteY64" fmla="*/ 5549951 h 5549975"/>
              <a:gd name="connsiteX65" fmla="*/ 8699 w 4549123"/>
              <a:gd name="connsiteY65" fmla="*/ 5314089 h 5549975"/>
              <a:gd name="connsiteX66" fmla="*/ 12505 w 4549123"/>
              <a:gd name="connsiteY66" fmla="*/ 5243704 h 5549975"/>
              <a:gd name="connsiteX67" fmla="*/ 0 w 4549123"/>
              <a:gd name="connsiteY67" fmla="*/ 5239903 h 5549975"/>
              <a:gd name="connsiteX68" fmla="*/ 4220 w 4549123"/>
              <a:gd name="connsiteY68" fmla="*/ 5233298 h 5549975"/>
              <a:gd name="connsiteX69" fmla="*/ 4489 w 4549123"/>
              <a:gd name="connsiteY69" fmla="*/ 5230552 h 5549975"/>
              <a:gd name="connsiteX70" fmla="*/ 4759 w 4549123"/>
              <a:gd name="connsiteY70" fmla="*/ 5227804 h 5549975"/>
              <a:gd name="connsiteX71" fmla="*/ 5296 w 4549123"/>
              <a:gd name="connsiteY71" fmla="*/ 5222308 h 5549975"/>
              <a:gd name="connsiteX72" fmla="*/ 4981 w 4549123"/>
              <a:gd name="connsiteY72" fmla="*/ 5216405 h 5549975"/>
              <a:gd name="connsiteX73" fmla="*/ 4397 w 4549123"/>
              <a:gd name="connsiteY73" fmla="*/ 5213249 h 5549975"/>
              <a:gd name="connsiteX74" fmla="*/ 4666 w 4549123"/>
              <a:gd name="connsiteY74" fmla="*/ 5210500 h 5549975"/>
              <a:gd name="connsiteX75" fmla="*/ 4350 w 4549123"/>
              <a:gd name="connsiteY75" fmla="*/ 5204597 h 5549975"/>
              <a:gd name="connsiteX76" fmla="*/ 3767 w 4549123"/>
              <a:gd name="connsiteY76" fmla="*/ 5201441 h 5549975"/>
              <a:gd name="connsiteX77" fmla="*/ 3137 w 4549123"/>
              <a:gd name="connsiteY77" fmla="*/ 5189632 h 5549975"/>
              <a:gd name="connsiteX78" fmla="*/ 2553 w 4549123"/>
              <a:gd name="connsiteY78" fmla="*/ 5186477 h 5549975"/>
              <a:gd name="connsiteX79" fmla="*/ 2821 w 4549123"/>
              <a:gd name="connsiteY79" fmla="*/ 5183728 h 5549975"/>
              <a:gd name="connsiteX80" fmla="*/ 1386 w 4549123"/>
              <a:gd name="connsiteY80" fmla="*/ 5180163 h 5549975"/>
              <a:gd name="connsiteX81" fmla="*/ 17881 w 4549123"/>
              <a:gd name="connsiteY81" fmla="*/ 5144275 h 5549975"/>
              <a:gd name="connsiteX82" fmla="*/ 39317 w 4549123"/>
              <a:gd name="connsiteY82" fmla="*/ 4747825 h 5549975"/>
              <a:gd name="connsiteX83" fmla="*/ 74412 w 4549123"/>
              <a:gd name="connsiteY83" fmla="*/ 3839310 h 5549975"/>
              <a:gd name="connsiteX84" fmla="*/ 299102 w 4549123"/>
              <a:gd name="connsiteY84" fmla="*/ 0 h 5549975"/>
              <a:gd name="connsiteX0" fmla="*/ 299102 w 4549123"/>
              <a:gd name="connsiteY0" fmla="*/ 0 h 5549975"/>
              <a:gd name="connsiteX1" fmla="*/ 3301288 w 4549123"/>
              <a:gd name="connsiteY1" fmla="*/ 171842 h 5549975"/>
              <a:gd name="connsiteX2" fmla="*/ 4130099 w 4549123"/>
              <a:gd name="connsiteY2" fmla="*/ 226950 h 5549975"/>
              <a:gd name="connsiteX3" fmla="*/ 4503293 w 4549123"/>
              <a:gd name="connsiteY3" fmla="*/ 247374 h 5549975"/>
              <a:gd name="connsiteX4" fmla="*/ 4531172 w 4549123"/>
              <a:gd name="connsiteY4" fmla="*/ 269179 h 5549975"/>
              <a:gd name="connsiteX5" fmla="*/ 4529398 w 4549123"/>
              <a:gd name="connsiteY5" fmla="*/ 300930 h 5549975"/>
              <a:gd name="connsiteX6" fmla="*/ 4532320 w 4549123"/>
              <a:gd name="connsiteY6" fmla="*/ 302647 h 5549975"/>
              <a:gd name="connsiteX7" fmla="*/ 4548746 w 4549123"/>
              <a:gd name="connsiteY7" fmla="*/ 334222 h 5549975"/>
              <a:gd name="connsiteX8" fmla="*/ 4526485 w 4549123"/>
              <a:gd name="connsiteY8" fmla="*/ 391868 h 5549975"/>
              <a:gd name="connsiteX9" fmla="*/ 4522997 w 4549123"/>
              <a:gd name="connsiteY9" fmla="*/ 415489 h 5549975"/>
              <a:gd name="connsiteX10" fmla="*/ 4517892 w 4549123"/>
              <a:gd name="connsiteY10" fmla="*/ 506828 h 5549975"/>
              <a:gd name="connsiteX11" fmla="*/ 4517242 w 4549123"/>
              <a:gd name="connsiteY11" fmla="*/ 553245 h 5549975"/>
              <a:gd name="connsiteX12" fmla="*/ 4514143 w 4549123"/>
              <a:gd name="connsiteY12" fmla="*/ 581709 h 5549975"/>
              <a:gd name="connsiteX13" fmla="*/ 4513474 w 4549123"/>
              <a:gd name="connsiteY13" fmla="*/ 585890 h 5549975"/>
              <a:gd name="connsiteX14" fmla="*/ 4500537 w 4549123"/>
              <a:gd name="connsiteY14" fmla="*/ 817404 h 5549975"/>
              <a:gd name="connsiteX15" fmla="*/ 4502250 w 4549123"/>
              <a:gd name="connsiteY15" fmla="*/ 822238 h 5549975"/>
              <a:gd name="connsiteX16" fmla="*/ 4500099 w 4549123"/>
              <a:gd name="connsiteY16" fmla="*/ 846069 h 5549975"/>
              <a:gd name="connsiteX17" fmla="*/ 4498499 w 4549123"/>
              <a:gd name="connsiteY17" fmla="*/ 853854 h 5549975"/>
              <a:gd name="connsiteX18" fmla="*/ 4492261 w 4549123"/>
              <a:gd name="connsiteY18" fmla="*/ 965485 h 5549975"/>
              <a:gd name="connsiteX19" fmla="*/ 4494338 w 4549123"/>
              <a:gd name="connsiteY19" fmla="*/ 966385 h 5549975"/>
              <a:gd name="connsiteX20" fmla="*/ 4498457 w 4549123"/>
              <a:gd name="connsiteY20" fmla="*/ 1002567 h 5549975"/>
              <a:gd name="connsiteX21" fmla="*/ 4493659 w 4549123"/>
              <a:gd name="connsiteY21" fmla="*/ 1101094 h 5549975"/>
              <a:gd name="connsiteX22" fmla="*/ 4493554 w 4549123"/>
              <a:gd name="connsiteY22" fmla="*/ 1159389 h 5549975"/>
              <a:gd name="connsiteX23" fmla="*/ 4497857 w 4549123"/>
              <a:gd name="connsiteY23" fmla="*/ 1180505 h 5549975"/>
              <a:gd name="connsiteX24" fmla="*/ 4500947 w 4549123"/>
              <a:gd name="connsiteY24" fmla="*/ 1210687 h 5549975"/>
              <a:gd name="connsiteX25" fmla="*/ 4509764 w 4549123"/>
              <a:gd name="connsiteY25" fmla="*/ 1263157 h 5549975"/>
              <a:gd name="connsiteX26" fmla="*/ 4512041 w 4549123"/>
              <a:gd name="connsiteY26" fmla="*/ 1313374 h 5549975"/>
              <a:gd name="connsiteX27" fmla="*/ 4511161 w 4549123"/>
              <a:gd name="connsiteY27" fmla="*/ 1347004 h 5549975"/>
              <a:gd name="connsiteX28" fmla="*/ 4510698 w 4549123"/>
              <a:gd name="connsiteY28" fmla="*/ 1351864 h 5549975"/>
              <a:gd name="connsiteX29" fmla="*/ 4501579 w 4549123"/>
              <a:gd name="connsiteY29" fmla="*/ 1391762 h 5549975"/>
              <a:gd name="connsiteX30" fmla="*/ 4504843 w 4549123"/>
              <a:gd name="connsiteY30" fmla="*/ 1395707 h 5549975"/>
              <a:gd name="connsiteX31" fmla="*/ 4507685 w 4549123"/>
              <a:gd name="connsiteY31" fmla="*/ 1408524 h 5549975"/>
              <a:gd name="connsiteX32" fmla="*/ 4502944 w 4549123"/>
              <a:gd name="connsiteY32" fmla="*/ 1419109 h 5549975"/>
              <a:gd name="connsiteX33" fmla="*/ 4492760 w 4549123"/>
              <a:gd name="connsiteY33" fmla="*/ 1469337 h 5549975"/>
              <a:gd name="connsiteX34" fmla="*/ 4481863 w 4549123"/>
              <a:gd name="connsiteY34" fmla="*/ 1543038 h 5549975"/>
              <a:gd name="connsiteX35" fmla="*/ 4476982 w 4549123"/>
              <a:gd name="connsiteY35" fmla="*/ 1553997 h 5549975"/>
              <a:gd name="connsiteX36" fmla="*/ 4462554 w 4549123"/>
              <a:gd name="connsiteY36" fmla="*/ 1626071 h 5549975"/>
              <a:gd name="connsiteX37" fmla="*/ 4458839 w 4549123"/>
              <a:gd name="connsiteY37" fmla="*/ 1664103 h 5549975"/>
              <a:gd name="connsiteX38" fmla="*/ 4462499 w 4549123"/>
              <a:gd name="connsiteY38" fmla="*/ 1668558 h 5549975"/>
              <a:gd name="connsiteX39" fmla="*/ 4460849 w 4549123"/>
              <a:gd name="connsiteY39" fmla="*/ 1679756 h 5549975"/>
              <a:gd name="connsiteX40" fmla="*/ 4461261 w 4549123"/>
              <a:gd name="connsiteY40" fmla="*/ 1682815 h 5549975"/>
              <a:gd name="connsiteX41" fmla="*/ 4462772 w 4549123"/>
              <a:gd name="connsiteY41" fmla="*/ 1700268 h 5549975"/>
              <a:gd name="connsiteX42" fmla="*/ 4451302 w 4549123"/>
              <a:gd name="connsiteY42" fmla="*/ 1735163 h 5549975"/>
              <a:gd name="connsiteX43" fmla="*/ 4449242 w 4549123"/>
              <a:gd name="connsiteY43" fmla="*/ 1735289 h 5549975"/>
              <a:gd name="connsiteX44" fmla="*/ 4440744 w 4549123"/>
              <a:gd name="connsiteY44" fmla="*/ 1887374 h 5549975"/>
              <a:gd name="connsiteX45" fmla="*/ 4449435 w 4549123"/>
              <a:gd name="connsiteY45" fmla="*/ 1911536 h 5549975"/>
              <a:gd name="connsiteX46" fmla="*/ 4451713 w 4549123"/>
              <a:gd name="connsiteY46" fmla="*/ 1961755 h 5549975"/>
              <a:gd name="connsiteX47" fmla="*/ 4450832 w 4549123"/>
              <a:gd name="connsiteY47" fmla="*/ 1995384 h 5549975"/>
              <a:gd name="connsiteX48" fmla="*/ 4450370 w 4549123"/>
              <a:gd name="connsiteY48" fmla="*/ 2000244 h 5549975"/>
              <a:gd name="connsiteX49" fmla="*/ 4441250 w 4549123"/>
              <a:gd name="connsiteY49" fmla="*/ 2040142 h 5549975"/>
              <a:gd name="connsiteX50" fmla="*/ 4444515 w 4549123"/>
              <a:gd name="connsiteY50" fmla="*/ 2044087 h 5549975"/>
              <a:gd name="connsiteX51" fmla="*/ 4447356 w 4549123"/>
              <a:gd name="connsiteY51" fmla="*/ 2056904 h 5549975"/>
              <a:gd name="connsiteX52" fmla="*/ 4442615 w 4549123"/>
              <a:gd name="connsiteY52" fmla="*/ 2067489 h 5549975"/>
              <a:gd name="connsiteX53" fmla="*/ 4432431 w 4549123"/>
              <a:gd name="connsiteY53" fmla="*/ 2117719 h 5549975"/>
              <a:gd name="connsiteX54" fmla="*/ 4425100 w 4549123"/>
              <a:gd name="connsiteY54" fmla="*/ 2167300 h 5549975"/>
              <a:gd name="connsiteX55" fmla="*/ 4369017 w 4549123"/>
              <a:gd name="connsiteY55" fmla="*/ 3223633 h 5549975"/>
              <a:gd name="connsiteX56" fmla="*/ 4356231 w 4549123"/>
              <a:gd name="connsiteY56" fmla="*/ 3477281 h 5549975"/>
              <a:gd name="connsiteX57" fmla="*/ 4345146 w 4549123"/>
              <a:gd name="connsiteY57" fmla="*/ 3639984 h 5549975"/>
              <a:gd name="connsiteX58" fmla="*/ 4254385 w 4549123"/>
              <a:gd name="connsiteY58" fmla="*/ 5278921 h 5549975"/>
              <a:gd name="connsiteX59" fmla="*/ 4259683 w 4549123"/>
              <a:gd name="connsiteY59" fmla="*/ 5315626 h 5549975"/>
              <a:gd name="connsiteX60" fmla="*/ 4263217 w 4549123"/>
              <a:gd name="connsiteY60" fmla="*/ 5350090 h 5549975"/>
              <a:gd name="connsiteX61" fmla="*/ 4266049 w 4549123"/>
              <a:gd name="connsiteY61" fmla="*/ 5450399 h 5549975"/>
              <a:gd name="connsiteX62" fmla="*/ 4247492 w 4549123"/>
              <a:gd name="connsiteY62" fmla="*/ 5484804 h 5549975"/>
              <a:gd name="connsiteX63" fmla="*/ 4242840 w 4549123"/>
              <a:gd name="connsiteY63" fmla="*/ 5487504 h 5549975"/>
              <a:gd name="connsiteX64" fmla="*/ 4239383 w 4549123"/>
              <a:gd name="connsiteY64" fmla="*/ 5549951 h 5549975"/>
              <a:gd name="connsiteX65" fmla="*/ 8699 w 4549123"/>
              <a:gd name="connsiteY65" fmla="*/ 5314089 h 5549975"/>
              <a:gd name="connsiteX66" fmla="*/ 12505 w 4549123"/>
              <a:gd name="connsiteY66" fmla="*/ 5243704 h 5549975"/>
              <a:gd name="connsiteX67" fmla="*/ 0 w 4549123"/>
              <a:gd name="connsiteY67" fmla="*/ 5239903 h 5549975"/>
              <a:gd name="connsiteX68" fmla="*/ 4220 w 4549123"/>
              <a:gd name="connsiteY68" fmla="*/ 5233298 h 5549975"/>
              <a:gd name="connsiteX69" fmla="*/ 4489 w 4549123"/>
              <a:gd name="connsiteY69" fmla="*/ 5230552 h 5549975"/>
              <a:gd name="connsiteX70" fmla="*/ 4759 w 4549123"/>
              <a:gd name="connsiteY70" fmla="*/ 5227804 h 5549975"/>
              <a:gd name="connsiteX71" fmla="*/ 5296 w 4549123"/>
              <a:gd name="connsiteY71" fmla="*/ 5222308 h 5549975"/>
              <a:gd name="connsiteX72" fmla="*/ 4981 w 4549123"/>
              <a:gd name="connsiteY72" fmla="*/ 5216405 h 5549975"/>
              <a:gd name="connsiteX73" fmla="*/ 4397 w 4549123"/>
              <a:gd name="connsiteY73" fmla="*/ 5213249 h 5549975"/>
              <a:gd name="connsiteX74" fmla="*/ 4666 w 4549123"/>
              <a:gd name="connsiteY74" fmla="*/ 5210500 h 5549975"/>
              <a:gd name="connsiteX75" fmla="*/ 4350 w 4549123"/>
              <a:gd name="connsiteY75" fmla="*/ 5204597 h 5549975"/>
              <a:gd name="connsiteX76" fmla="*/ 3767 w 4549123"/>
              <a:gd name="connsiteY76" fmla="*/ 5201441 h 5549975"/>
              <a:gd name="connsiteX77" fmla="*/ 3137 w 4549123"/>
              <a:gd name="connsiteY77" fmla="*/ 5189632 h 5549975"/>
              <a:gd name="connsiteX78" fmla="*/ 2553 w 4549123"/>
              <a:gd name="connsiteY78" fmla="*/ 5186477 h 5549975"/>
              <a:gd name="connsiteX79" fmla="*/ 2821 w 4549123"/>
              <a:gd name="connsiteY79" fmla="*/ 5183728 h 5549975"/>
              <a:gd name="connsiteX80" fmla="*/ 1386 w 4549123"/>
              <a:gd name="connsiteY80" fmla="*/ 5180163 h 5549975"/>
              <a:gd name="connsiteX81" fmla="*/ 17881 w 4549123"/>
              <a:gd name="connsiteY81" fmla="*/ 5144275 h 5549975"/>
              <a:gd name="connsiteX82" fmla="*/ 74412 w 4549123"/>
              <a:gd name="connsiteY82" fmla="*/ 3839310 h 5549975"/>
              <a:gd name="connsiteX83" fmla="*/ 299102 w 4549123"/>
              <a:gd name="connsiteY83" fmla="*/ 0 h 5549975"/>
              <a:gd name="connsiteX0" fmla="*/ 299102 w 4549123"/>
              <a:gd name="connsiteY0" fmla="*/ 0 h 5549975"/>
              <a:gd name="connsiteX1" fmla="*/ 3301288 w 4549123"/>
              <a:gd name="connsiteY1" fmla="*/ 171842 h 5549975"/>
              <a:gd name="connsiteX2" fmla="*/ 4130099 w 4549123"/>
              <a:gd name="connsiteY2" fmla="*/ 226950 h 5549975"/>
              <a:gd name="connsiteX3" fmla="*/ 4503293 w 4549123"/>
              <a:gd name="connsiteY3" fmla="*/ 247374 h 5549975"/>
              <a:gd name="connsiteX4" fmla="*/ 4531172 w 4549123"/>
              <a:gd name="connsiteY4" fmla="*/ 269179 h 5549975"/>
              <a:gd name="connsiteX5" fmla="*/ 4529398 w 4549123"/>
              <a:gd name="connsiteY5" fmla="*/ 300930 h 5549975"/>
              <a:gd name="connsiteX6" fmla="*/ 4532320 w 4549123"/>
              <a:gd name="connsiteY6" fmla="*/ 302647 h 5549975"/>
              <a:gd name="connsiteX7" fmla="*/ 4548746 w 4549123"/>
              <a:gd name="connsiteY7" fmla="*/ 334222 h 5549975"/>
              <a:gd name="connsiteX8" fmla="*/ 4526485 w 4549123"/>
              <a:gd name="connsiteY8" fmla="*/ 391868 h 5549975"/>
              <a:gd name="connsiteX9" fmla="*/ 4522997 w 4549123"/>
              <a:gd name="connsiteY9" fmla="*/ 415489 h 5549975"/>
              <a:gd name="connsiteX10" fmla="*/ 4517892 w 4549123"/>
              <a:gd name="connsiteY10" fmla="*/ 506828 h 5549975"/>
              <a:gd name="connsiteX11" fmla="*/ 4517242 w 4549123"/>
              <a:gd name="connsiteY11" fmla="*/ 553245 h 5549975"/>
              <a:gd name="connsiteX12" fmla="*/ 4514143 w 4549123"/>
              <a:gd name="connsiteY12" fmla="*/ 581709 h 5549975"/>
              <a:gd name="connsiteX13" fmla="*/ 4513474 w 4549123"/>
              <a:gd name="connsiteY13" fmla="*/ 585890 h 5549975"/>
              <a:gd name="connsiteX14" fmla="*/ 4500537 w 4549123"/>
              <a:gd name="connsiteY14" fmla="*/ 817404 h 5549975"/>
              <a:gd name="connsiteX15" fmla="*/ 4502250 w 4549123"/>
              <a:gd name="connsiteY15" fmla="*/ 822238 h 5549975"/>
              <a:gd name="connsiteX16" fmla="*/ 4500099 w 4549123"/>
              <a:gd name="connsiteY16" fmla="*/ 846069 h 5549975"/>
              <a:gd name="connsiteX17" fmla="*/ 4498499 w 4549123"/>
              <a:gd name="connsiteY17" fmla="*/ 853854 h 5549975"/>
              <a:gd name="connsiteX18" fmla="*/ 4492261 w 4549123"/>
              <a:gd name="connsiteY18" fmla="*/ 965485 h 5549975"/>
              <a:gd name="connsiteX19" fmla="*/ 4494338 w 4549123"/>
              <a:gd name="connsiteY19" fmla="*/ 966385 h 5549975"/>
              <a:gd name="connsiteX20" fmla="*/ 4498457 w 4549123"/>
              <a:gd name="connsiteY20" fmla="*/ 1002567 h 5549975"/>
              <a:gd name="connsiteX21" fmla="*/ 4493659 w 4549123"/>
              <a:gd name="connsiteY21" fmla="*/ 1101094 h 5549975"/>
              <a:gd name="connsiteX22" fmla="*/ 4493554 w 4549123"/>
              <a:gd name="connsiteY22" fmla="*/ 1159389 h 5549975"/>
              <a:gd name="connsiteX23" fmla="*/ 4497857 w 4549123"/>
              <a:gd name="connsiteY23" fmla="*/ 1180505 h 5549975"/>
              <a:gd name="connsiteX24" fmla="*/ 4500947 w 4549123"/>
              <a:gd name="connsiteY24" fmla="*/ 1210687 h 5549975"/>
              <a:gd name="connsiteX25" fmla="*/ 4509764 w 4549123"/>
              <a:gd name="connsiteY25" fmla="*/ 1263157 h 5549975"/>
              <a:gd name="connsiteX26" fmla="*/ 4512041 w 4549123"/>
              <a:gd name="connsiteY26" fmla="*/ 1313374 h 5549975"/>
              <a:gd name="connsiteX27" fmla="*/ 4511161 w 4549123"/>
              <a:gd name="connsiteY27" fmla="*/ 1347004 h 5549975"/>
              <a:gd name="connsiteX28" fmla="*/ 4510698 w 4549123"/>
              <a:gd name="connsiteY28" fmla="*/ 1351864 h 5549975"/>
              <a:gd name="connsiteX29" fmla="*/ 4501579 w 4549123"/>
              <a:gd name="connsiteY29" fmla="*/ 1391762 h 5549975"/>
              <a:gd name="connsiteX30" fmla="*/ 4504843 w 4549123"/>
              <a:gd name="connsiteY30" fmla="*/ 1395707 h 5549975"/>
              <a:gd name="connsiteX31" fmla="*/ 4507685 w 4549123"/>
              <a:gd name="connsiteY31" fmla="*/ 1408524 h 5549975"/>
              <a:gd name="connsiteX32" fmla="*/ 4502944 w 4549123"/>
              <a:gd name="connsiteY32" fmla="*/ 1419109 h 5549975"/>
              <a:gd name="connsiteX33" fmla="*/ 4492760 w 4549123"/>
              <a:gd name="connsiteY33" fmla="*/ 1469337 h 5549975"/>
              <a:gd name="connsiteX34" fmla="*/ 4481863 w 4549123"/>
              <a:gd name="connsiteY34" fmla="*/ 1543038 h 5549975"/>
              <a:gd name="connsiteX35" fmla="*/ 4476982 w 4549123"/>
              <a:gd name="connsiteY35" fmla="*/ 1553997 h 5549975"/>
              <a:gd name="connsiteX36" fmla="*/ 4462554 w 4549123"/>
              <a:gd name="connsiteY36" fmla="*/ 1626071 h 5549975"/>
              <a:gd name="connsiteX37" fmla="*/ 4458839 w 4549123"/>
              <a:gd name="connsiteY37" fmla="*/ 1664103 h 5549975"/>
              <a:gd name="connsiteX38" fmla="*/ 4462499 w 4549123"/>
              <a:gd name="connsiteY38" fmla="*/ 1668558 h 5549975"/>
              <a:gd name="connsiteX39" fmla="*/ 4460849 w 4549123"/>
              <a:gd name="connsiteY39" fmla="*/ 1679756 h 5549975"/>
              <a:gd name="connsiteX40" fmla="*/ 4461261 w 4549123"/>
              <a:gd name="connsiteY40" fmla="*/ 1682815 h 5549975"/>
              <a:gd name="connsiteX41" fmla="*/ 4462772 w 4549123"/>
              <a:gd name="connsiteY41" fmla="*/ 1700268 h 5549975"/>
              <a:gd name="connsiteX42" fmla="*/ 4451302 w 4549123"/>
              <a:gd name="connsiteY42" fmla="*/ 1735163 h 5549975"/>
              <a:gd name="connsiteX43" fmla="*/ 4449242 w 4549123"/>
              <a:gd name="connsiteY43" fmla="*/ 1735289 h 5549975"/>
              <a:gd name="connsiteX44" fmla="*/ 4440744 w 4549123"/>
              <a:gd name="connsiteY44" fmla="*/ 1887374 h 5549975"/>
              <a:gd name="connsiteX45" fmla="*/ 4449435 w 4549123"/>
              <a:gd name="connsiteY45" fmla="*/ 1911536 h 5549975"/>
              <a:gd name="connsiteX46" fmla="*/ 4451713 w 4549123"/>
              <a:gd name="connsiteY46" fmla="*/ 1961755 h 5549975"/>
              <a:gd name="connsiteX47" fmla="*/ 4450832 w 4549123"/>
              <a:gd name="connsiteY47" fmla="*/ 1995384 h 5549975"/>
              <a:gd name="connsiteX48" fmla="*/ 4450370 w 4549123"/>
              <a:gd name="connsiteY48" fmla="*/ 2000244 h 5549975"/>
              <a:gd name="connsiteX49" fmla="*/ 4441250 w 4549123"/>
              <a:gd name="connsiteY49" fmla="*/ 2040142 h 5549975"/>
              <a:gd name="connsiteX50" fmla="*/ 4444515 w 4549123"/>
              <a:gd name="connsiteY50" fmla="*/ 2044087 h 5549975"/>
              <a:gd name="connsiteX51" fmla="*/ 4447356 w 4549123"/>
              <a:gd name="connsiteY51" fmla="*/ 2056904 h 5549975"/>
              <a:gd name="connsiteX52" fmla="*/ 4442615 w 4549123"/>
              <a:gd name="connsiteY52" fmla="*/ 2067489 h 5549975"/>
              <a:gd name="connsiteX53" fmla="*/ 4432431 w 4549123"/>
              <a:gd name="connsiteY53" fmla="*/ 2117719 h 5549975"/>
              <a:gd name="connsiteX54" fmla="*/ 4425100 w 4549123"/>
              <a:gd name="connsiteY54" fmla="*/ 2167300 h 5549975"/>
              <a:gd name="connsiteX55" fmla="*/ 4369017 w 4549123"/>
              <a:gd name="connsiteY55" fmla="*/ 3223633 h 5549975"/>
              <a:gd name="connsiteX56" fmla="*/ 4356231 w 4549123"/>
              <a:gd name="connsiteY56" fmla="*/ 3477281 h 5549975"/>
              <a:gd name="connsiteX57" fmla="*/ 4345146 w 4549123"/>
              <a:gd name="connsiteY57" fmla="*/ 3639984 h 5549975"/>
              <a:gd name="connsiteX58" fmla="*/ 4254385 w 4549123"/>
              <a:gd name="connsiteY58" fmla="*/ 5278921 h 5549975"/>
              <a:gd name="connsiteX59" fmla="*/ 4259683 w 4549123"/>
              <a:gd name="connsiteY59" fmla="*/ 5315626 h 5549975"/>
              <a:gd name="connsiteX60" fmla="*/ 4263217 w 4549123"/>
              <a:gd name="connsiteY60" fmla="*/ 5350090 h 5549975"/>
              <a:gd name="connsiteX61" fmla="*/ 4266049 w 4549123"/>
              <a:gd name="connsiteY61" fmla="*/ 5450399 h 5549975"/>
              <a:gd name="connsiteX62" fmla="*/ 4247492 w 4549123"/>
              <a:gd name="connsiteY62" fmla="*/ 5484804 h 5549975"/>
              <a:gd name="connsiteX63" fmla="*/ 4242840 w 4549123"/>
              <a:gd name="connsiteY63" fmla="*/ 5487504 h 5549975"/>
              <a:gd name="connsiteX64" fmla="*/ 4239383 w 4549123"/>
              <a:gd name="connsiteY64" fmla="*/ 5549951 h 5549975"/>
              <a:gd name="connsiteX65" fmla="*/ 8699 w 4549123"/>
              <a:gd name="connsiteY65" fmla="*/ 5314089 h 5549975"/>
              <a:gd name="connsiteX66" fmla="*/ 12505 w 4549123"/>
              <a:gd name="connsiteY66" fmla="*/ 5243704 h 5549975"/>
              <a:gd name="connsiteX67" fmla="*/ 0 w 4549123"/>
              <a:gd name="connsiteY67" fmla="*/ 5239903 h 5549975"/>
              <a:gd name="connsiteX68" fmla="*/ 4220 w 4549123"/>
              <a:gd name="connsiteY68" fmla="*/ 5233298 h 5549975"/>
              <a:gd name="connsiteX69" fmla="*/ 4489 w 4549123"/>
              <a:gd name="connsiteY69" fmla="*/ 5230552 h 5549975"/>
              <a:gd name="connsiteX70" fmla="*/ 4759 w 4549123"/>
              <a:gd name="connsiteY70" fmla="*/ 5227804 h 5549975"/>
              <a:gd name="connsiteX71" fmla="*/ 5296 w 4549123"/>
              <a:gd name="connsiteY71" fmla="*/ 5222308 h 5549975"/>
              <a:gd name="connsiteX72" fmla="*/ 4981 w 4549123"/>
              <a:gd name="connsiteY72" fmla="*/ 5216405 h 5549975"/>
              <a:gd name="connsiteX73" fmla="*/ 4397 w 4549123"/>
              <a:gd name="connsiteY73" fmla="*/ 5213249 h 5549975"/>
              <a:gd name="connsiteX74" fmla="*/ 4666 w 4549123"/>
              <a:gd name="connsiteY74" fmla="*/ 5210500 h 5549975"/>
              <a:gd name="connsiteX75" fmla="*/ 4350 w 4549123"/>
              <a:gd name="connsiteY75" fmla="*/ 5204597 h 5549975"/>
              <a:gd name="connsiteX76" fmla="*/ 3767 w 4549123"/>
              <a:gd name="connsiteY76" fmla="*/ 5201441 h 5549975"/>
              <a:gd name="connsiteX77" fmla="*/ 3137 w 4549123"/>
              <a:gd name="connsiteY77" fmla="*/ 5189632 h 5549975"/>
              <a:gd name="connsiteX78" fmla="*/ 2553 w 4549123"/>
              <a:gd name="connsiteY78" fmla="*/ 5186477 h 5549975"/>
              <a:gd name="connsiteX79" fmla="*/ 2821 w 4549123"/>
              <a:gd name="connsiteY79" fmla="*/ 5183728 h 5549975"/>
              <a:gd name="connsiteX80" fmla="*/ 1386 w 4549123"/>
              <a:gd name="connsiteY80" fmla="*/ 5180163 h 5549975"/>
              <a:gd name="connsiteX81" fmla="*/ 6798 w 4549123"/>
              <a:gd name="connsiteY81" fmla="*/ 5116566 h 5549975"/>
              <a:gd name="connsiteX82" fmla="*/ 74412 w 4549123"/>
              <a:gd name="connsiteY82" fmla="*/ 3839310 h 5549975"/>
              <a:gd name="connsiteX83" fmla="*/ 299102 w 4549123"/>
              <a:gd name="connsiteY83" fmla="*/ 0 h 5549975"/>
              <a:gd name="connsiteX0" fmla="*/ 304427 w 4554448"/>
              <a:gd name="connsiteY0" fmla="*/ 0 h 5549970"/>
              <a:gd name="connsiteX1" fmla="*/ 3306613 w 4554448"/>
              <a:gd name="connsiteY1" fmla="*/ 171842 h 5549970"/>
              <a:gd name="connsiteX2" fmla="*/ 4135424 w 4554448"/>
              <a:gd name="connsiteY2" fmla="*/ 226950 h 5549970"/>
              <a:gd name="connsiteX3" fmla="*/ 4508618 w 4554448"/>
              <a:gd name="connsiteY3" fmla="*/ 247374 h 5549970"/>
              <a:gd name="connsiteX4" fmla="*/ 4536497 w 4554448"/>
              <a:gd name="connsiteY4" fmla="*/ 269179 h 5549970"/>
              <a:gd name="connsiteX5" fmla="*/ 4534723 w 4554448"/>
              <a:gd name="connsiteY5" fmla="*/ 300930 h 5549970"/>
              <a:gd name="connsiteX6" fmla="*/ 4537645 w 4554448"/>
              <a:gd name="connsiteY6" fmla="*/ 302647 h 5549970"/>
              <a:gd name="connsiteX7" fmla="*/ 4554071 w 4554448"/>
              <a:gd name="connsiteY7" fmla="*/ 334222 h 5549970"/>
              <a:gd name="connsiteX8" fmla="*/ 4531810 w 4554448"/>
              <a:gd name="connsiteY8" fmla="*/ 391868 h 5549970"/>
              <a:gd name="connsiteX9" fmla="*/ 4528322 w 4554448"/>
              <a:gd name="connsiteY9" fmla="*/ 415489 h 5549970"/>
              <a:gd name="connsiteX10" fmla="*/ 4523217 w 4554448"/>
              <a:gd name="connsiteY10" fmla="*/ 506828 h 5549970"/>
              <a:gd name="connsiteX11" fmla="*/ 4522567 w 4554448"/>
              <a:gd name="connsiteY11" fmla="*/ 553245 h 5549970"/>
              <a:gd name="connsiteX12" fmla="*/ 4519468 w 4554448"/>
              <a:gd name="connsiteY12" fmla="*/ 581709 h 5549970"/>
              <a:gd name="connsiteX13" fmla="*/ 4518799 w 4554448"/>
              <a:gd name="connsiteY13" fmla="*/ 585890 h 5549970"/>
              <a:gd name="connsiteX14" fmla="*/ 4505862 w 4554448"/>
              <a:gd name="connsiteY14" fmla="*/ 817404 h 5549970"/>
              <a:gd name="connsiteX15" fmla="*/ 4507575 w 4554448"/>
              <a:gd name="connsiteY15" fmla="*/ 822238 h 5549970"/>
              <a:gd name="connsiteX16" fmla="*/ 4505424 w 4554448"/>
              <a:gd name="connsiteY16" fmla="*/ 846069 h 5549970"/>
              <a:gd name="connsiteX17" fmla="*/ 4503824 w 4554448"/>
              <a:gd name="connsiteY17" fmla="*/ 853854 h 5549970"/>
              <a:gd name="connsiteX18" fmla="*/ 4497586 w 4554448"/>
              <a:gd name="connsiteY18" fmla="*/ 965485 h 5549970"/>
              <a:gd name="connsiteX19" fmla="*/ 4499663 w 4554448"/>
              <a:gd name="connsiteY19" fmla="*/ 966385 h 5549970"/>
              <a:gd name="connsiteX20" fmla="*/ 4503782 w 4554448"/>
              <a:gd name="connsiteY20" fmla="*/ 1002567 h 5549970"/>
              <a:gd name="connsiteX21" fmla="*/ 4498984 w 4554448"/>
              <a:gd name="connsiteY21" fmla="*/ 1101094 h 5549970"/>
              <a:gd name="connsiteX22" fmla="*/ 4498879 w 4554448"/>
              <a:gd name="connsiteY22" fmla="*/ 1159389 h 5549970"/>
              <a:gd name="connsiteX23" fmla="*/ 4503182 w 4554448"/>
              <a:gd name="connsiteY23" fmla="*/ 1180505 h 5549970"/>
              <a:gd name="connsiteX24" fmla="*/ 4506272 w 4554448"/>
              <a:gd name="connsiteY24" fmla="*/ 1210687 h 5549970"/>
              <a:gd name="connsiteX25" fmla="*/ 4515089 w 4554448"/>
              <a:gd name="connsiteY25" fmla="*/ 1263157 h 5549970"/>
              <a:gd name="connsiteX26" fmla="*/ 4517366 w 4554448"/>
              <a:gd name="connsiteY26" fmla="*/ 1313374 h 5549970"/>
              <a:gd name="connsiteX27" fmla="*/ 4516486 w 4554448"/>
              <a:gd name="connsiteY27" fmla="*/ 1347004 h 5549970"/>
              <a:gd name="connsiteX28" fmla="*/ 4516023 w 4554448"/>
              <a:gd name="connsiteY28" fmla="*/ 1351864 h 5549970"/>
              <a:gd name="connsiteX29" fmla="*/ 4506904 w 4554448"/>
              <a:gd name="connsiteY29" fmla="*/ 1391762 h 5549970"/>
              <a:gd name="connsiteX30" fmla="*/ 4510168 w 4554448"/>
              <a:gd name="connsiteY30" fmla="*/ 1395707 h 5549970"/>
              <a:gd name="connsiteX31" fmla="*/ 4513010 w 4554448"/>
              <a:gd name="connsiteY31" fmla="*/ 1408524 h 5549970"/>
              <a:gd name="connsiteX32" fmla="*/ 4508269 w 4554448"/>
              <a:gd name="connsiteY32" fmla="*/ 1419109 h 5549970"/>
              <a:gd name="connsiteX33" fmla="*/ 4498085 w 4554448"/>
              <a:gd name="connsiteY33" fmla="*/ 1469337 h 5549970"/>
              <a:gd name="connsiteX34" fmla="*/ 4487188 w 4554448"/>
              <a:gd name="connsiteY34" fmla="*/ 1543038 h 5549970"/>
              <a:gd name="connsiteX35" fmla="*/ 4482307 w 4554448"/>
              <a:gd name="connsiteY35" fmla="*/ 1553997 h 5549970"/>
              <a:gd name="connsiteX36" fmla="*/ 4467879 w 4554448"/>
              <a:gd name="connsiteY36" fmla="*/ 1626071 h 5549970"/>
              <a:gd name="connsiteX37" fmla="*/ 4464164 w 4554448"/>
              <a:gd name="connsiteY37" fmla="*/ 1664103 h 5549970"/>
              <a:gd name="connsiteX38" fmla="*/ 4467824 w 4554448"/>
              <a:gd name="connsiteY38" fmla="*/ 1668558 h 5549970"/>
              <a:gd name="connsiteX39" fmla="*/ 4466174 w 4554448"/>
              <a:gd name="connsiteY39" fmla="*/ 1679756 h 5549970"/>
              <a:gd name="connsiteX40" fmla="*/ 4466586 w 4554448"/>
              <a:gd name="connsiteY40" fmla="*/ 1682815 h 5549970"/>
              <a:gd name="connsiteX41" fmla="*/ 4468097 w 4554448"/>
              <a:gd name="connsiteY41" fmla="*/ 1700268 h 5549970"/>
              <a:gd name="connsiteX42" fmla="*/ 4456627 w 4554448"/>
              <a:gd name="connsiteY42" fmla="*/ 1735163 h 5549970"/>
              <a:gd name="connsiteX43" fmla="*/ 4454567 w 4554448"/>
              <a:gd name="connsiteY43" fmla="*/ 1735289 h 5549970"/>
              <a:gd name="connsiteX44" fmla="*/ 4446069 w 4554448"/>
              <a:gd name="connsiteY44" fmla="*/ 1887374 h 5549970"/>
              <a:gd name="connsiteX45" fmla="*/ 4454760 w 4554448"/>
              <a:gd name="connsiteY45" fmla="*/ 1911536 h 5549970"/>
              <a:gd name="connsiteX46" fmla="*/ 4457038 w 4554448"/>
              <a:gd name="connsiteY46" fmla="*/ 1961755 h 5549970"/>
              <a:gd name="connsiteX47" fmla="*/ 4456157 w 4554448"/>
              <a:gd name="connsiteY47" fmla="*/ 1995384 h 5549970"/>
              <a:gd name="connsiteX48" fmla="*/ 4455695 w 4554448"/>
              <a:gd name="connsiteY48" fmla="*/ 2000244 h 5549970"/>
              <a:gd name="connsiteX49" fmla="*/ 4446575 w 4554448"/>
              <a:gd name="connsiteY49" fmla="*/ 2040142 h 5549970"/>
              <a:gd name="connsiteX50" fmla="*/ 4449840 w 4554448"/>
              <a:gd name="connsiteY50" fmla="*/ 2044087 h 5549970"/>
              <a:gd name="connsiteX51" fmla="*/ 4452681 w 4554448"/>
              <a:gd name="connsiteY51" fmla="*/ 2056904 h 5549970"/>
              <a:gd name="connsiteX52" fmla="*/ 4447940 w 4554448"/>
              <a:gd name="connsiteY52" fmla="*/ 2067489 h 5549970"/>
              <a:gd name="connsiteX53" fmla="*/ 4437756 w 4554448"/>
              <a:gd name="connsiteY53" fmla="*/ 2117719 h 5549970"/>
              <a:gd name="connsiteX54" fmla="*/ 4430425 w 4554448"/>
              <a:gd name="connsiteY54" fmla="*/ 2167300 h 5549970"/>
              <a:gd name="connsiteX55" fmla="*/ 4374342 w 4554448"/>
              <a:gd name="connsiteY55" fmla="*/ 3223633 h 5549970"/>
              <a:gd name="connsiteX56" fmla="*/ 4361556 w 4554448"/>
              <a:gd name="connsiteY56" fmla="*/ 3477281 h 5549970"/>
              <a:gd name="connsiteX57" fmla="*/ 4350471 w 4554448"/>
              <a:gd name="connsiteY57" fmla="*/ 3639984 h 5549970"/>
              <a:gd name="connsiteX58" fmla="*/ 4259710 w 4554448"/>
              <a:gd name="connsiteY58" fmla="*/ 5278921 h 5549970"/>
              <a:gd name="connsiteX59" fmla="*/ 4265008 w 4554448"/>
              <a:gd name="connsiteY59" fmla="*/ 5315626 h 5549970"/>
              <a:gd name="connsiteX60" fmla="*/ 4268542 w 4554448"/>
              <a:gd name="connsiteY60" fmla="*/ 5350090 h 5549970"/>
              <a:gd name="connsiteX61" fmla="*/ 4271374 w 4554448"/>
              <a:gd name="connsiteY61" fmla="*/ 5450399 h 5549970"/>
              <a:gd name="connsiteX62" fmla="*/ 4252817 w 4554448"/>
              <a:gd name="connsiteY62" fmla="*/ 5484804 h 5549970"/>
              <a:gd name="connsiteX63" fmla="*/ 4248165 w 4554448"/>
              <a:gd name="connsiteY63" fmla="*/ 5487504 h 5549970"/>
              <a:gd name="connsiteX64" fmla="*/ 4244708 w 4554448"/>
              <a:gd name="connsiteY64" fmla="*/ 5549951 h 5549970"/>
              <a:gd name="connsiteX65" fmla="*/ 0 w 4554448"/>
              <a:gd name="connsiteY65" fmla="*/ 5272016 h 5549970"/>
              <a:gd name="connsiteX66" fmla="*/ 17830 w 4554448"/>
              <a:gd name="connsiteY66" fmla="*/ 5243704 h 5549970"/>
              <a:gd name="connsiteX67" fmla="*/ 5325 w 4554448"/>
              <a:gd name="connsiteY67" fmla="*/ 5239903 h 5549970"/>
              <a:gd name="connsiteX68" fmla="*/ 9545 w 4554448"/>
              <a:gd name="connsiteY68" fmla="*/ 5233298 h 5549970"/>
              <a:gd name="connsiteX69" fmla="*/ 9814 w 4554448"/>
              <a:gd name="connsiteY69" fmla="*/ 5230552 h 5549970"/>
              <a:gd name="connsiteX70" fmla="*/ 10084 w 4554448"/>
              <a:gd name="connsiteY70" fmla="*/ 5227804 h 5549970"/>
              <a:gd name="connsiteX71" fmla="*/ 10621 w 4554448"/>
              <a:gd name="connsiteY71" fmla="*/ 5222308 h 5549970"/>
              <a:gd name="connsiteX72" fmla="*/ 10306 w 4554448"/>
              <a:gd name="connsiteY72" fmla="*/ 5216405 h 5549970"/>
              <a:gd name="connsiteX73" fmla="*/ 9722 w 4554448"/>
              <a:gd name="connsiteY73" fmla="*/ 5213249 h 5549970"/>
              <a:gd name="connsiteX74" fmla="*/ 9991 w 4554448"/>
              <a:gd name="connsiteY74" fmla="*/ 5210500 h 5549970"/>
              <a:gd name="connsiteX75" fmla="*/ 9675 w 4554448"/>
              <a:gd name="connsiteY75" fmla="*/ 5204597 h 5549970"/>
              <a:gd name="connsiteX76" fmla="*/ 9092 w 4554448"/>
              <a:gd name="connsiteY76" fmla="*/ 5201441 h 5549970"/>
              <a:gd name="connsiteX77" fmla="*/ 8462 w 4554448"/>
              <a:gd name="connsiteY77" fmla="*/ 5189632 h 5549970"/>
              <a:gd name="connsiteX78" fmla="*/ 7878 w 4554448"/>
              <a:gd name="connsiteY78" fmla="*/ 5186477 h 5549970"/>
              <a:gd name="connsiteX79" fmla="*/ 8146 w 4554448"/>
              <a:gd name="connsiteY79" fmla="*/ 5183728 h 5549970"/>
              <a:gd name="connsiteX80" fmla="*/ 6711 w 4554448"/>
              <a:gd name="connsiteY80" fmla="*/ 5180163 h 5549970"/>
              <a:gd name="connsiteX81" fmla="*/ 12123 w 4554448"/>
              <a:gd name="connsiteY81" fmla="*/ 5116566 h 5549970"/>
              <a:gd name="connsiteX82" fmla="*/ 79737 w 4554448"/>
              <a:gd name="connsiteY82" fmla="*/ 3839310 h 5549970"/>
              <a:gd name="connsiteX83" fmla="*/ 304427 w 4554448"/>
              <a:gd name="connsiteY83" fmla="*/ 0 h 5549970"/>
              <a:gd name="connsiteX0" fmla="*/ 338086 w 4588107"/>
              <a:gd name="connsiteY0" fmla="*/ 0 h 5549995"/>
              <a:gd name="connsiteX1" fmla="*/ 3340272 w 4588107"/>
              <a:gd name="connsiteY1" fmla="*/ 171842 h 5549995"/>
              <a:gd name="connsiteX2" fmla="*/ 4169083 w 4588107"/>
              <a:gd name="connsiteY2" fmla="*/ 226950 h 5549995"/>
              <a:gd name="connsiteX3" fmla="*/ 4542277 w 4588107"/>
              <a:gd name="connsiteY3" fmla="*/ 247374 h 5549995"/>
              <a:gd name="connsiteX4" fmla="*/ 4570156 w 4588107"/>
              <a:gd name="connsiteY4" fmla="*/ 269179 h 5549995"/>
              <a:gd name="connsiteX5" fmla="*/ 4568382 w 4588107"/>
              <a:gd name="connsiteY5" fmla="*/ 300930 h 5549995"/>
              <a:gd name="connsiteX6" fmla="*/ 4571304 w 4588107"/>
              <a:gd name="connsiteY6" fmla="*/ 302647 h 5549995"/>
              <a:gd name="connsiteX7" fmla="*/ 4587730 w 4588107"/>
              <a:gd name="connsiteY7" fmla="*/ 334222 h 5549995"/>
              <a:gd name="connsiteX8" fmla="*/ 4565469 w 4588107"/>
              <a:gd name="connsiteY8" fmla="*/ 391868 h 5549995"/>
              <a:gd name="connsiteX9" fmla="*/ 4561981 w 4588107"/>
              <a:gd name="connsiteY9" fmla="*/ 415489 h 5549995"/>
              <a:gd name="connsiteX10" fmla="*/ 4556876 w 4588107"/>
              <a:gd name="connsiteY10" fmla="*/ 506828 h 5549995"/>
              <a:gd name="connsiteX11" fmla="*/ 4556226 w 4588107"/>
              <a:gd name="connsiteY11" fmla="*/ 553245 h 5549995"/>
              <a:gd name="connsiteX12" fmla="*/ 4553127 w 4588107"/>
              <a:gd name="connsiteY12" fmla="*/ 581709 h 5549995"/>
              <a:gd name="connsiteX13" fmla="*/ 4552458 w 4588107"/>
              <a:gd name="connsiteY13" fmla="*/ 585890 h 5549995"/>
              <a:gd name="connsiteX14" fmla="*/ 4539521 w 4588107"/>
              <a:gd name="connsiteY14" fmla="*/ 817404 h 5549995"/>
              <a:gd name="connsiteX15" fmla="*/ 4541234 w 4588107"/>
              <a:gd name="connsiteY15" fmla="*/ 822238 h 5549995"/>
              <a:gd name="connsiteX16" fmla="*/ 4539083 w 4588107"/>
              <a:gd name="connsiteY16" fmla="*/ 846069 h 5549995"/>
              <a:gd name="connsiteX17" fmla="*/ 4537483 w 4588107"/>
              <a:gd name="connsiteY17" fmla="*/ 853854 h 5549995"/>
              <a:gd name="connsiteX18" fmla="*/ 4531245 w 4588107"/>
              <a:gd name="connsiteY18" fmla="*/ 965485 h 5549995"/>
              <a:gd name="connsiteX19" fmla="*/ 4533322 w 4588107"/>
              <a:gd name="connsiteY19" fmla="*/ 966385 h 5549995"/>
              <a:gd name="connsiteX20" fmla="*/ 4537441 w 4588107"/>
              <a:gd name="connsiteY20" fmla="*/ 1002567 h 5549995"/>
              <a:gd name="connsiteX21" fmla="*/ 4532643 w 4588107"/>
              <a:gd name="connsiteY21" fmla="*/ 1101094 h 5549995"/>
              <a:gd name="connsiteX22" fmla="*/ 4532538 w 4588107"/>
              <a:gd name="connsiteY22" fmla="*/ 1159389 h 5549995"/>
              <a:gd name="connsiteX23" fmla="*/ 4536841 w 4588107"/>
              <a:gd name="connsiteY23" fmla="*/ 1180505 h 5549995"/>
              <a:gd name="connsiteX24" fmla="*/ 4539931 w 4588107"/>
              <a:gd name="connsiteY24" fmla="*/ 1210687 h 5549995"/>
              <a:gd name="connsiteX25" fmla="*/ 4548748 w 4588107"/>
              <a:gd name="connsiteY25" fmla="*/ 1263157 h 5549995"/>
              <a:gd name="connsiteX26" fmla="*/ 4551025 w 4588107"/>
              <a:gd name="connsiteY26" fmla="*/ 1313374 h 5549995"/>
              <a:gd name="connsiteX27" fmla="*/ 4550145 w 4588107"/>
              <a:gd name="connsiteY27" fmla="*/ 1347004 h 5549995"/>
              <a:gd name="connsiteX28" fmla="*/ 4549682 w 4588107"/>
              <a:gd name="connsiteY28" fmla="*/ 1351864 h 5549995"/>
              <a:gd name="connsiteX29" fmla="*/ 4540563 w 4588107"/>
              <a:gd name="connsiteY29" fmla="*/ 1391762 h 5549995"/>
              <a:gd name="connsiteX30" fmla="*/ 4543827 w 4588107"/>
              <a:gd name="connsiteY30" fmla="*/ 1395707 h 5549995"/>
              <a:gd name="connsiteX31" fmla="*/ 4546669 w 4588107"/>
              <a:gd name="connsiteY31" fmla="*/ 1408524 h 5549995"/>
              <a:gd name="connsiteX32" fmla="*/ 4541928 w 4588107"/>
              <a:gd name="connsiteY32" fmla="*/ 1419109 h 5549995"/>
              <a:gd name="connsiteX33" fmla="*/ 4531744 w 4588107"/>
              <a:gd name="connsiteY33" fmla="*/ 1469337 h 5549995"/>
              <a:gd name="connsiteX34" fmla="*/ 4520847 w 4588107"/>
              <a:gd name="connsiteY34" fmla="*/ 1543038 h 5549995"/>
              <a:gd name="connsiteX35" fmla="*/ 4515966 w 4588107"/>
              <a:gd name="connsiteY35" fmla="*/ 1553997 h 5549995"/>
              <a:gd name="connsiteX36" fmla="*/ 4501538 w 4588107"/>
              <a:gd name="connsiteY36" fmla="*/ 1626071 h 5549995"/>
              <a:gd name="connsiteX37" fmla="*/ 4497823 w 4588107"/>
              <a:gd name="connsiteY37" fmla="*/ 1664103 h 5549995"/>
              <a:gd name="connsiteX38" fmla="*/ 4501483 w 4588107"/>
              <a:gd name="connsiteY38" fmla="*/ 1668558 h 5549995"/>
              <a:gd name="connsiteX39" fmla="*/ 4499833 w 4588107"/>
              <a:gd name="connsiteY39" fmla="*/ 1679756 h 5549995"/>
              <a:gd name="connsiteX40" fmla="*/ 4500245 w 4588107"/>
              <a:gd name="connsiteY40" fmla="*/ 1682815 h 5549995"/>
              <a:gd name="connsiteX41" fmla="*/ 4501756 w 4588107"/>
              <a:gd name="connsiteY41" fmla="*/ 1700268 h 5549995"/>
              <a:gd name="connsiteX42" fmla="*/ 4490286 w 4588107"/>
              <a:gd name="connsiteY42" fmla="*/ 1735163 h 5549995"/>
              <a:gd name="connsiteX43" fmla="*/ 4488226 w 4588107"/>
              <a:gd name="connsiteY43" fmla="*/ 1735289 h 5549995"/>
              <a:gd name="connsiteX44" fmla="*/ 4479728 w 4588107"/>
              <a:gd name="connsiteY44" fmla="*/ 1887374 h 5549995"/>
              <a:gd name="connsiteX45" fmla="*/ 4488419 w 4588107"/>
              <a:gd name="connsiteY45" fmla="*/ 1911536 h 5549995"/>
              <a:gd name="connsiteX46" fmla="*/ 4490697 w 4588107"/>
              <a:gd name="connsiteY46" fmla="*/ 1961755 h 5549995"/>
              <a:gd name="connsiteX47" fmla="*/ 4489816 w 4588107"/>
              <a:gd name="connsiteY47" fmla="*/ 1995384 h 5549995"/>
              <a:gd name="connsiteX48" fmla="*/ 4489354 w 4588107"/>
              <a:gd name="connsiteY48" fmla="*/ 2000244 h 5549995"/>
              <a:gd name="connsiteX49" fmla="*/ 4480234 w 4588107"/>
              <a:gd name="connsiteY49" fmla="*/ 2040142 h 5549995"/>
              <a:gd name="connsiteX50" fmla="*/ 4483499 w 4588107"/>
              <a:gd name="connsiteY50" fmla="*/ 2044087 h 5549995"/>
              <a:gd name="connsiteX51" fmla="*/ 4486340 w 4588107"/>
              <a:gd name="connsiteY51" fmla="*/ 2056904 h 5549995"/>
              <a:gd name="connsiteX52" fmla="*/ 4481599 w 4588107"/>
              <a:gd name="connsiteY52" fmla="*/ 2067489 h 5549995"/>
              <a:gd name="connsiteX53" fmla="*/ 4471415 w 4588107"/>
              <a:gd name="connsiteY53" fmla="*/ 2117719 h 5549995"/>
              <a:gd name="connsiteX54" fmla="*/ 4464084 w 4588107"/>
              <a:gd name="connsiteY54" fmla="*/ 2167300 h 5549995"/>
              <a:gd name="connsiteX55" fmla="*/ 4408001 w 4588107"/>
              <a:gd name="connsiteY55" fmla="*/ 3223633 h 5549995"/>
              <a:gd name="connsiteX56" fmla="*/ 4395215 w 4588107"/>
              <a:gd name="connsiteY56" fmla="*/ 3477281 h 5549995"/>
              <a:gd name="connsiteX57" fmla="*/ 4384130 w 4588107"/>
              <a:gd name="connsiteY57" fmla="*/ 3639984 h 5549995"/>
              <a:gd name="connsiteX58" fmla="*/ 4293369 w 4588107"/>
              <a:gd name="connsiteY58" fmla="*/ 5278921 h 5549995"/>
              <a:gd name="connsiteX59" fmla="*/ 4298667 w 4588107"/>
              <a:gd name="connsiteY59" fmla="*/ 5315626 h 5549995"/>
              <a:gd name="connsiteX60" fmla="*/ 4302201 w 4588107"/>
              <a:gd name="connsiteY60" fmla="*/ 5350090 h 5549995"/>
              <a:gd name="connsiteX61" fmla="*/ 4305033 w 4588107"/>
              <a:gd name="connsiteY61" fmla="*/ 5450399 h 5549995"/>
              <a:gd name="connsiteX62" fmla="*/ 4286476 w 4588107"/>
              <a:gd name="connsiteY62" fmla="*/ 5484804 h 5549995"/>
              <a:gd name="connsiteX63" fmla="*/ 4281824 w 4588107"/>
              <a:gd name="connsiteY63" fmla="*/ 5487504 h 5549995"/>
              <a:gd name="connsiteX64" fmla="*/ 4278367 w 4588107"/>
              <a:gd name="connsiteY64" fmla="*/ 5549951 h 5549995"/>
              <a:gd name="connsiteX65" fmla="*/ 0 w 4588107"/>
              <a:gd name="connsiteY65" fmla="*/ 5387017 h 5549995"/>
              <a:gd name="connsiteX66" fmla="*/ 51489 w 4588107"/>
              <a:gd name="connsiteY66" fmla="*/ 5243704 h 5549995"/>
              <a:gd name="connsiteX67" fmla="*/ 38984 w 4588107"/>
              <a:gd name="connsiteY67" fmla="*/ 5239903 h 5549995"/>
              <a:gd name="connsiteX68" fmla="*/ 43204 w 4588107"/>
              <a:gd name="connsiteY68" fmla="*/ 5233298 h 5549995"/>
              <a:gd name="connsiteX69" fmla="*/ 43473 w 4588107"/>
              <a:gd name="connsiteY69" fmla="*/ 5230552 h 5549995"/>
              <a:gd name="connsiteX70" fmla="*/ 43743 w 4588107"/>
              <a:gd name="connsiteY70" fmla="*/ 5227804 h 5549995"/>
              <a:gd name="connsiteX71" fmla="*/ 44280 w 4588107"/>
              <a:gd name="connsiteY71" fmla="*/ 5222308 h 5549995"/>
              <a:gd name="connsiteX72" fmla="*/ 43965 w 4588107"/>
              <a:gd name="connsiteY72" fmla="*/ 5216405 h 5549995"/>
              <a:gd name="connsiteX73" fmla="*/ 43381 w 4588107"/>
              <a:gd name="connsiteY73" fmla="*/ 5213249 h 5549995"/>
              <a:gd name="connsiteX74" fmla="*/ 43650 w 4588107"/>
              <a:gd name="connsiteY74" fmla="*/ 5210500 h 5549995"/>
              <a:gd name="connsiteX75" fmla="*/ 43334 w 4588107"/>
              <a:gd name="connsiteY75" fmla="*/ 5204597 h 5549995"/>
              <a:gd name="connsiteX76" fmla="*/ 42751 w 4588107"/>
              <a:gd name="connsiteY76" fmla="*/ 5201441 h 5549995"/>
              <a:gd name="connsiteX77" fmla="*/ 42121 w 4588107"/>
              <a:gd name="connsiteY77" fmla="*/ 5189632 h 5549995"/>
              <a:gd name="connsiteX78" fmla="*/ 41537 w 4588107"/>
              <a:gd name="connsiteY78" fmla="*/ 5186477 h 5549995"/>
              <a:gd name="connsiteX79" fmla="*/ 41805 w 4588107"/>
              <a:gd name="connsiteY79" fmla="*/ 5183728 h 5549995"/>
              <a:gd name="connsiteX80" fmla="*/ 40370 w 4588107"/>
              <a:gd name="connsiteY80" fmla="*/ 5180163 h 5549995"/>
              <a:gd name="connsiteX81" fmla="*/ 45782 w 4588107"/>
              <a:gd name="connsiteY81" fmla="*/ 5116566 h 5549995"/>
              <a:gd name="connsiteX82" fmla="*/ 113396 w 4588107"/>
              <a:gd name="connsiteY82" fmla="*/ 3839310 h 5549995"/>
              <a:gd name="connsiteX83" fmla="*/ 338086 w 4588107"/>
              <a:gd name="connsiteY83" fmla="*/ 0 h 5549995"/>
              <a:gd name="connsiteX0" fmla="*/ 299102 w 4549123"/>
              <a:gd name="connsiteY0" fmla="*/ 0 h 5549966"/>
              <a:gd name="connsiteX1" fmla="*/ 3301288 w 4549123"/>
              <a:gd name="connsiteY1" fmla="*/ 171842 h 5549966"/>
              <a:gd name="connsiteX2" fmla="*/ 4130099 w 4549123"/>
              <a:gd name="connsiteY2" fmla="*/ 226950 h 5549966"/>
              <a:gd name="connsiteX3" fmla="*/ 4503293 w 4549123"/>
              <a:gd name="connsiteY3" fmla="*/ 247374 h 5549966"/>
              <a:gd name="connsiteX4" fmla="*/ 4531172 w 4549123"/>
              <a:gd name="connsiteY4" fmla="*/ 269179 h 5549966"/>
              <a:gd name="connsiteX5" fmla="*/ 4529398 w 4549123"/>
              <a:gd name="connsiteY5" fmla="*/ 300930 h 5549966"/>
              <a:gd name="connsiteX6" fmla="*/ 4532320 w 4549123"/>
              <a:gd name="connsiteY6" fmla="*/ 302647 h 5549966"/>
              <a:gd name="connsiteX7" fmla="*/ 4548746 w 4549123"/>
              <a:gd name="connsiteY7" fmla="*/ 334222 h 5549966"/>
              <a:gd name="connsiteX8" fmla="*/ 4526485 w 4549123"/>
              <a:gd name="connsiteY8" fmla="*/ 391868 h 5549966"/>
              <a:gd name="connsiteX9" fmla="*/ 4522997 w 4549123"/>
              <a:gd name="connsiteY9" fmla="*/ 415489 h 5549966"/>
              <a:gd name="connsiteX10" fmla="*/ 4517892 w 4549123"/>
              <a:gd name="connsiteY10" fmla="*/ 506828 h 5549966"/>
              <a:gd name="connsiteX11" fmla="*/ 4517242 w 4549123"/>
              <a:gd name="connsiteY11" fmla="*/ 553245 h 5549966"/>
              <a:gd name="connsiteX12" fmla="*/ 4514143 w 4549123"/>
              <a:gd name="connsiteY12" fmla="*/ 581709 h 5549966"/>
              <a:gd name="connsiteX13" fmla="*/ 4513474 w 4549123"/>
              <a:gd name="connsiteY13" fmla="*/ 585890 h 5549966"/>
              <a:gd name="connsiteX14" fmla="*/ 4500537 w 4549123"/>
              <a:gd name="connsiteY14" fmla="*/ 817404 h 5549966"/>
              <a:gd name="connsiteX15" fmla="*/ 4502250 w 4549123"/>
              <a:gd name="connsiteY15" fmla="*/ 822238 h 5549966"/>
              <a:gd name="connsiteX16" fmla="*/ 4500099 w 4549123"/>
              <a:gd name="connsiteY16" fmla="*/ 846069 h 5549966"/>
              <a:gd name="connsiteX17" fmla="*/ 4498499 w 4549123"/>
              <a:gd name="connsiteY17" fmla="*/ 853854 h 5549966"/>
              <a:gd name="connsiteX18" fmla="*/ 4492261 w 4549123"/>
              <a:gd name="connsiteY18" fmla="*/ 965485 h 5549966"/>
              <a:gd name="connsiteX19" fmla="*/ 4494338 w 4549123"/>
              <a:gd name="connsiteY19" fmla="*/ 966385 h 5549966"/>
              <a:gd name="connsiteX20" fmla="*/ 4498457 w 4549123"/>
              <a:gd name="connsiteY20" fmla="*/ 1002567 h 5549966"/>
              <a:gd name="connsiteX21" fmla="*/ 4493659 w 4549123"/>
              <a:gd name="connsiteY21" fmla="*/ 1101094 h 5549966"/>
              <a:gd name="connsiteX22" fmla="*/ 4493554 w 4549123"/>
              <a:gd name="connsiteY22" fmla="*/ 1159389 h 5549966"/>
              <a:gd name="connsiteX23" fmla="*/ 4497857 w 4549123"/>
              <a:gd name="connsiteY23" fmla="*/ 1180505 h 5549966"/>
              <a:gd name="connsiteX24" fmla="*/ 4500947 w 4549123"/>
              <a:gd name="connsiteY24" fmla="*/ 1210687 h 5549966"/>
              <a:gd name="connsiteX25" fmla="*/ 4509764 w 4549123"/>
              <a:gd name="connsiteY25" fmla="*/ 1263157 h 5549966"/>
              <a:gd name="connsiteX26" fmla="*/ 4512041 w 4549123"/>
              <a:gd name="connsiteY26" fmla="*/ 1313374 h 5549966"/>
              <a:gd name="connsiteX27" fmla="*/ 4511161 w 4549123"/>
              <a:gd name="connsiteY27" fmla="*/ 1347004 h 5549966"/>
              <a:gd name="connsiteX28" fmla="*/ 4510698 w 4549123"/>
              <a:gd name="connsiteY28" fmla="*/ 1351864 h 5549966"/>
              <a:gd name="connsiteX29" fmla="*/ 4501579 w 4549123"/>
              <a:gd name="connsiteY29" fmla="*/ 1391762 h 5549966"/>
              <a:gd name="connsiteX30" fmla="*/ 4504843 w 4549123"/>
              <a:gd name="connsiteY30" fmla="*/ 1395707 h 5549966"/>
              <a:gd name="connsiteX31" fmla="*/ 4507685 w 4549123"/>
              <a:gd name="connsiteY31" fmla="*/ 1408524 h 5549966"/>
              <a:gd name="connsiteX32" fmla="*/ 4502944 w 4549123"/>
              <a:gd name="connsiteY32" fmla="*/ 1419109 h 5549966"/>
              <a:gd name="connsiteX33" fmla="*/ 4492760 w 4549123"/>
              <a:gd name="connsiteY33" fmla="*/ 1469337 h 5549966"/>
              <a:gd name="connsiteX34" fmla="*/ 4481863 w 4549123"/>
              <a:gd name="connsiteY34" fmla="*/ 1543038 h 5549966"/>
              <a:gd name="connsiteX35" fmla="*/ 4476982 w 4549123"/>
              <a:gd name="connsiteY35" fmla="*/ 1553997 h 5549966"/>
              <a:gd name="connsiteX36" fmla="*/ 4462554 w 4549123"/>
              <a:gd name="connsiteY36" fmla="*/ 1626071 h 5549966"/>
              <a:gd name="connsiteX37" fmla="*/ 4458839 w 4549123"/>
              <a:gd name="connsiteY37" fmla="*/ 1664103 h 5549966"/>
              <a:gd name="connsiteX38" fmla="*/ 4462499 w 4549123"/>
              <a:gd name="connsiteY38" fmla="*/ 1668558 h 5549966"/>
              <a:gd name="connsiteX39" fmla="*/ 4460849 w 4549123"/>
              <a:gd name="connsiteY39" fmla="*/ 1679756 h 5549966"/>
              <a:gd name="connsiteX40" fmla="*/ 4461261 w 4549123"/>
              <a:gd name="connsiteY40" fmla="*/ 1682815 h 5549966"/>
              <a:gd name="connsiteX41" fmla="*/ 4462772 w 4549123"/>
              <a:gd name="connsiteY41" fmla="*/ 1700268 h 5549966"/>
              <a:gd name="connsiteX42" fmla="*/ 4451302 w 4549123"/>
              <a:gd name="connsiteY42" fmla="*/ 1735163 h 5549966"/>
              <a:gd name="connsiteX43" fmla="*/ 4449242 w 4549123"/>
              <a:gd name="connsiteY43" fmla="*/ 1735289 h 5549966"/>
              <a:gd name="connsiteX44" fmla="*/ 4440744 w 4549123"/>
              <a:gd name="connsiteY44" fmla="*/ 1887374 h 5549966"/>
              <a:gd name="connsiteX45" fmla="*/ 4449435 w 4549123"/>
              <a:gd name="connsiteY45" fmla="*/ 1911536 h 5549966"/>
              <a:gd name="connsiteX46" fmla="*/ 4451713 w 4549123"/>
              <a:gd name="connsiteY46" fmla="*/ 1961755 h 5549966"/>
              <a:gd name="connsiteX47" fmla="*/ 4450832 w 4549123"/>
              <a:gd name="connsiteY47" fmla="*/ 1995384 h 5549966"/>
              <a:gd name="connsiteX48" fmla="*/ 4450370 w 4549123"/>
              <a:gd name="connsiteY48" fmla="*/ 2000244 h 5549966"/>
              <a:gd name="connsiteX49" fmla="*/ 4441250 w 4549123"/>
              <a:gd name="connsiteY49" fmla="*/ 2040142 h 5549966"/>
              <a:gd name="connsiteX50" fmla="*/ 4444515 w 4549123"/>
              <a:gd name="connsiteY50" fmla="*/ 2044087 h 5549966"/>
              <a:gd name="connsiteX51" fmla="*/ 4447356 w 4549123"/>
              <a:gd name="connsiteY51" fmla="*/ 2056904 h 5549966"/>
              <a:gd name="connsiteX52" fmla="*/ 4442615 w 4549123"/>
              <a:gd name="connsiteY52" fmla="*/ 2067489 h 5549966"/>
              <a:gd name="connsiteX53" fmla="*/ 4432431 w 4549123"/>
              <a:gd name="connsiteY53" fmla="*/ 2117719 h 5549966"/>
              <a:gd name="connsiteX54" fmla="*/ 4425100 w 4549123"/>
              <a:gd name="connsiteY54" fmla="*/ 2167300 h 5549966"/>
              <a:gd name="connsiteX55" fmla="*/ 4369017 w 4549123"/>
              <a:gd name="connsiteY55" fmla="*/ 3223633 h 5549966"/>
              <a:gd name="connsiteX56" fmla="*/ 4356231 w 4549123"/>
              <a:gd name="connsiteY56" fmla="*/ 3477281 h 5549966"/>
              <a:gd name="connsiteX57" fmla="*/ 4345146 w 4549123"/>
              <a:gd name="connsiteY57" fmla="*/ 3639984 h 5549966"/>
              <a:gd name="connsiteX58" fmla="*/ 4254385 w 4549123"/>
              <a:gd name="connsiteY58" fmla="*/ 5278921 h 5549966"/>
              <a:gd name="connsiteX59" fmla="*/ 4259683 w 4549123"/>
              <a:gd name="connsiteY59" fmla="*/ 5315626 h 5549966"/>
              <a:gd name="connsiteX60" fmla="*/ 4263217 w 4549123"/>
              <a:gd name="connsiteY60" fmla="*/ 5350090 h 5549966"/>
              <a:gd name="connsiteX61" fmla="*/ 4266049 w 4549123"/>
              <a:gd name="connsiteY61" fmla="*/ 5450399 h 5549966"/>
              <a:gd name="connsiteX62" fmla="*/ 4247492 w 4549123"/>
              <a:gd name="connsiteY62" fmla="*/ 5484804 h 5549966"/>
              <a:gd name="connsiteX63" fmla="*/ 4242840 w 4549123"/>
              <a:gd name="connsiteY63" fmla="*/ 5487504 h 5549966"/>
              <a:gd name="connsiteX64" fmla="*/ 4239383 w 4549123"/>
              <a:gd name="connsiteY64" fmla="*/ 5549951 h 5549966"/>
              <a:gd name="connsiteX65" fmla="*/ 266751 w 4549123"/>
              <a:gd name="connsiteY65" fmla="*/ 5218723 h 5549966"/>
              <a:gd name="connsiteX66" fmla="*/ 12505 w 4549123"/>
              <a:gd name="connsiteY66" fmla="*/ 5243704 h 5549966"/>
              <a:gd name="connsiteX67" fmla="*/ 0 w 4549123"/>
              <a:gd name="connsiteY67" fmla="*/ 5239903 h 5549966"/>
              <a:gd name="connsiteX68" fmla="*/ 4220 w 4549123"/>
              <a:gd name="connsiteY68" fmla="*/ 5233298 h 5549966"/>
              <a:gd name="connsiteX69" fmla="*/ 4489 w 4549123"/>
              <a:gd name="connsiteY69" fmla="*/ 5230552 h 5549966"/>
              <a:gd name="connsiteX70" fmla="*/ 4759 w 4549123"/>
              <a:gd name="connsiteY70" fmla="*/ 5227804 h 5549966"/>
              <a:gd name="connsiteX71" fmla="*/ 5296 w 4549123"/>
              <a:gd name="connsiteY71" fmla="*/ 5222308 h 5549966"/>
              <a:gd name="connsiteX72" fmla="*/ 4981 w 4549123"/>
              <a:gd name="connsiteY72" fmla="*/ 5216405 h 5549966"/>
              <a:gd name="connsiteX73" fmla="*/ 4397 w 4549123"/>
              <a:gd name="connsiteY73" fmla="*/ 5213249 h 5549966"/>
              <a:gd name="connsiteX74" fmla="*/ 4666 w 4549123"/>
              <a:gd name="connsiteY74" fmla="*/ 5210500 h 5549966"/>
              <a:gd name="connsiteX75" fmla="*/ 4350 w 4549123"/>
              <a:gd name="connsiteY75" fmla="*/ 5204597 h 5549966"/>
              <a:gd name="connsiteX76" fmla="*/ 3767 w 4549123"/>
              <a:gd name="connsiteY76" fmla="*/ 5201441 h 5549966"/>
              <a:gd name="connsiteX77" fmla="*/ 3137 w 4549123"/>
              <a:gd name="connsiteY77" fmla="*/ 5189632 h 5549966"/>
              <a:gd name="connsiteX78" fmla="*/ 2553 w 4549123"/>
              <a:gd name="connsiteY78" fmla="*/ 5186477 h 5549966"/>
              <a:gd name="connsiteX79" fmla="*/ 2821 w 4549123"/>
              <a:gd name="connsiteY79" fmla="*/ 5183728 h 5549966"/>
              <a:gd name="connsiteX80" fmla="*/ 1386 w 4549123"/>
              <a:gd name="connsiteY80" fmla="*/ 5180163 h 5549966"/>
              <a:gd name="connsiteX81" fmla="*/ 6798 w 4549123"/>
              <a:gd name="connsiteY81" fmla="*/ 5116566 h 5549966"/>
              <a:gd name="connsiteX82" fmla="*/ 74412 w 4549123"/>
              <a:gd name="connsiteY82" fmla="*/ 3839310 h 5549966"/>
              <a:gd name="connsiteX83" fmla="*/ 299102 w 4549123"/>
              <a:gd name="connsiteY83" fmla="*/ 0 h 5549966"/>
              <a:gd name="connsiteX0" fmla="*/ 303426 w 4553447"/>
              <a:gd name="connsiteY0" fmla="*/ 0 h 5549966"/>
              <a:gd name="connsiteX1" fmla="*/ 3305612 w 4553447"/>
              <a:gd name="connsiteY1" fmla="*/ 171842 h 5549966"/>
              <a:gd name="connsiteX2" fmla="*/ 4134423 w 4553447"/>
              <a:gd name="connsiteY2" fmla="*/ 226950 h 5549966"/>
              <a:gd name="connsiteX3" fmla="*/ 4507617 w 4553447"/>
              <a:gd name="connsiteY3" fmla="*/ 247374 h 5549966"/>
              <a:gd name="connsiteX4" fmla="*/ 4535496 w 4553447"/>
              <a:gd name="connsiteY4" fmla="*/ 269179 h 5549966"/>
              <a:gd name="connsiteX5" fmla="*/ 4533722 w 4553447"/>
              <a:gd name="connsiteY5" fmla="*/ 300930 h 5549966"/>
              <a:gd name="connsiteX6" fmla="*/ 4536644 w 4553447"/>
              <a:gd name="connsiteY6" fmla="*/ 302647 h 5549966"/>
              <a:gd name="connsiteX7" fmla="*/ 4553070 w 4553447"/>
              <a:gd name="connsiteY7" fmla="*/ 334222 h 5549966"/>
              <a:gd name="connsiteX8" fmla="*/ 4530809 w 4553447"/>
              <a:gd name="connsiteY8" fmla="*/ 391868 h 5549966"/>
              <a:gd name="connsiteX9" fmla="*/ 4527321 w 4553447"/>
              <a:gd name="connsiteY9" fmla="*/ 415489 h 5549966"/>
              <a:gd name="connsiteX10" fmla="*/ 4522216 w 4553447"/>
              <a:gd name="connsiteY10" fmla="*/ 506828 h 5549966"/>
              <a:gd name="connsiteX11" fmla="*/ 4521566 w 4553447"/>
              <a:gd name="connsiteY11" fmla="*/ 553245 h 5549966"/>
              <a:gd name="connsiteX12" fmla="*/ 4518467 w 4553447"/>
              <a:gd name="connsiteY12" fmla="*/ 581709 h 5549966"/>
              <a:gd name="connsiteX13" fmla="*/ 4517798 w 4553447"/>
              <a:gd name="connsiteY13" fmla="*/ 585890 h 5549966"/>
              <a:gd name="connsiteX14" fmla="*/ 4504861 w 4553447"/>
              <a:gd name="connsiteY14" fmla="*/ 817404 h 5549966"/>
              <a:gd name="connsiteX15" fmla="*/ 4506574 w 4553447"/>
              <a:gd name="connsiteY15" fmla="*/ 822238 h 5549966"/>
              <a:gd name="connsiteX16" fmla="*/ 4504423 w 4553447"/>
              <a:gd name="connsiteY16" fmla="*/ 846069 h 5549966"/>
              <a:gd name="connsiteX17" fmla="*/ 4502823 w 4553447"/>
              <a:gd name="connsiteY17" fmla="*/ 853854 h 5549966"/>
              <a:gd name="connsiteX18" fmla="*/ 4496585 w 4553447"/>
              <a:gd name="connsiteY18" fmla="*/ 965485 h 5549966"/>
              <a:gd name="connsiteX19" fmla="*/ 4498662 w 4553447"/>
              <a:gd name="connsiteY19" fmla="*/ 966385 h 5549966"/>
              <a:gd name="connsiteX20" fmla="*/ 4502781 w 4553447"/>
              <a:gd name="connsiteY20" fmla="*/ 1002567 h 5549966"/>
              <a:gd name="connsiteX21" fmla="*/ 4497983 w 4553447"/>
              <a:gd name="connsiteY21" fmla="*/ 1101094 h 5549966"/>
              <a:gd name="connsiteX22" fmla="*/ 4497878 w 4553447"/>
              <a:gd name="connsiteY22" fmla="*/ 1159389 h 5549966"/>
              <a:gd name="connsiteX23" fmla="*/ 4502181 w 4553447"/>
              <a:gd name="connsiteY23" fmla="*/ 1180505 h 5549966"/>
              <a:gd name="connsiteX24" fmla="*/ 4505271 w 4553447"/>
              <a:gd name="connsiteY24" fmla="*/ 1210687 h 5549966"/>
              <a:gd name="connsiteX25" fmla="*/ 4514088 w 4553447"/>
              <a:gd name="connsiteY25" fmla="*/ 1263157 h 5549966"/>
              <a:gd name="connsiteX26" fmla="*/ 4516365 w 4553447"/>
              <a:gd name="connsiteY26" fmla="*/ 1313374 h 5549966"/>
              <a:gd name="connsiteX27" fmla="*/ 4515485 w 4553447"/>
              <a:gd name="connsiteY27" fmla="*/ 1347004 h 5549966"/>
              <a:gd name="connsiteX28" fmla="*/ 4515022 w 4553447"/>
              <a:gd name="connsiteY28" fmla="*/ 1351864 h 5549966"/>
              <a:gd name="connsiteX29" fmla="*/ 4505903 w 4553447"/>
              <a:gd name="connsiteY29" fmla="*/ 1391762 h 5549966"/>
              <a:gd name="connsiteX30" fmla="*/ 4509167 w 4553447"/>
              <a:gd name="connsiteY30" fmla="*/ 1395707 h 5549966"/>
              <a:gd name="connsiteX31" fmla="*/ 4512009 w 4553447"/>
              <a:gd name="connsiteY31" fmla="*/ 1408524 h 5549966"/>
              <a:gd name="connsiteX32" fmla="*/ 4507268 w 4553447"/>
              <a:gd name="connsiteY32" fmla="*/ 1419109 h 5549966"/>
              <a:gd name="connsiteX33" fmla="*/ 4497084 w 4553447"/>
              <a:gd name="connsiteY33" fmla="*/ 1469337 h 5549966"/>
              <a:gd name="connsiteX34" fmla="*/ 4486187 w 4553447"/>
              <a:gd name="connsiteY34" fmla="*/ 1543038 h 5549966"/>
              <a:gd name="connsiteX35" fmla="*/ 4481306 w 4553447"/>
              <a:gd name="connsiteY35" fmla="*/ 1553997 h 5549966"/>
              <a:gd name="connsiteX36" fmla="*/ 4466878 w 4553447"/>
              <a:gd name="connsiteY36" fmla="*/ 1626071 h 5549966"/>
              <a:gd name="connsiteX37" fmla="*/ 4463163 w 4553447"/>
              <a:gd name="connsiteY37" fmla="*/ 1664103 h 5549966"/>
              <a:gd name="connsiteX38" fmla="*/ 4466823 w 4553447"/>
              <a:gd name="connsiteY38" fmla="*/ 1668558 h 5549966"/>
              <a:gd name="connsiteX39" fmla="*/ 4465173 w 4553447"/>
              <a:gd name="connsiteY39" fmla="*/ 1679756 h 5549966"/>
              <a:gd name="connsiteX40" fmla="*/ 4465585 w 4553447"/>
              <a:gd name="connsiteY40" fmla="*/ 1682815 h 5549966"/>
              <a:gd name="connsiteX41" fmla="*/ 4467096 w 4553447"/>
              <a:gd name="connsiteY41" fmla="*/ 1700268 h 5549966"/>
              <a:gd name="connsiteX42" fmla="*/ 4455626 w 4553447"/>
              <a:gd name="connsiteY42" fmla="*/ 1735163 h 5549966"/>
              <a:gd name="connsiteX43" fmla="*/ 4453566 w 4553447"/>
              <a:gd name="connsiteY43" fmla="*/ 1735289 h 5549966"/>
              <a:gd name="connsiteX44" fmla="*/ 4445068 w 4553447"/>
              <a:gd name="connsiteY44" fmla="*/ 1887374 h 5549966"/>
              <a:gd name="connsiteX45" fmla="*/ 4453759 w 4553447"/>
              <a:gd name="connsiteY45" fmla="*/ 1911536 h 5549966"/>
              <a:gd name="connsiteX46" fmla="*/ 4456037 w 4553447"/>
              <a:gd name="connsiteY46" fmla="*/ 1961755 h 5549966"/>
              <a:gd name="connsiteX47" fmla="*/ 4455156 w 4553447"/>
              <a:gd name="connsiteY47" fmla="*/ 1995384 h 5549966"/>
              <a:gd name="connsiteX48" fmla="*/ 4454694 w 4553447"/>
              <a:gd name="connsiteY48" fmla="*/ 2000244 h 5549966"/>
              <a:gd name="connsiteX49" fmla="*/ 4445574 w 4553447"/>
              <a:gd name="connsiteY49" fmla="*/ 2040142 h 5549966"/>
              <a:gd name="connsiteX50" fmla="*/ 4448839 w 4553447"/>
              <a:gd name="connsiteY50" fmla="*/ 2044087 h 5549966"/>
              <a:gd name="connsiteX51" fmla="*/ 4451680 w 4553447"/>
              <a:gd name="connsiteY51" fmla="*/ 2056904 h 5549966"/>
              <a:gd name="connsiteX52" fmla="*/ 4446939 w 4553447"/>
              <a:gd name="connsiteY52" fmla="*/ 2067489 h 5549966"/>
              <a:gd name="connsiteX53" fmla="*/ 4436755 w 4553447"/>
              <a:gd name="connsiteY53" fmla="*/ 2117719 h 5549966"/>
              <a:gd name="connsiteX54" fmla="*/ 4429424 w 4553447"/>
              <a:gd name="connsiteY54" fmla="*/ 2167300 h 5549966"/>
              <a:gd name="connsiteX55" fmla="*/ 4373341 w 4553447"/>
              <a:gd name="connsiteY55" fmla="*/ 3223633 h 5549966"/>
              <a:gd name="connsiteX56" fmla="*/ 4360555 w 4553447"/>
              <a:gd name="connsiteY56" fmla="*/ 3477281 h 5549966"/>
              <a:gd name="connsiteX57" fmla="*/ 4349470 w 4553447"/>
              <a:gd name="connsiteY57" fmla="*/ 3639984 h 5549966"/>
              <a:gd name="connsiteX58" fmla="*/ 4258709 w 4553447"/>
              <a:gd name="connsiteY58" fmla="*/ 5278921 h 5549966"/>
              <a:gd name="connsiteX59" fmla="*/ 4264007 w 4553447"/>
              <a:gd name="connsiteY59" fmla="*/ 5315626 h 5549966"/>
              <a:gd name="connsiteX60" fmla="*/ 4267541 w 4553447"/>
              <a:gd name="connsiteY60" fmla="*/ 5350090 h 5549966"/>
              <a:gd name="connsiteX61" fmla="*/ 4270373 w 4553447"/>
              <a:gd name="connsiteY61" fmla="*/ 5450399 h 5549966"/>
              <a:gd name="connsiteX62" fmla="*/ 4251816 w 4553447"/>
              <a:gd name="connsiteY62" fmla="*/ 5484804 h 5549966"/>
              <a:gd name="connsiteX63" fmla="*/ 4247164 w 4553447"/>
              <a:gd name="connsiteY63" fmla="*/ 5487504 h 5549966"/>
              <a:gd name="connsiteX64" fmla="*/ 4243707 w 4553447"/>
              <a:gd name="connsiteY64" fmla="*/ 5549951 h 5549966"/>
              <a:gd name="connsiteX65" fmla="*/ 271075 w 4553447"/>
              <a:gd name="connsiteY65" fmla="*/ 5218723 h 5549966"/>
              <a:gd name="connsiteX66" fmla="*/ 0 w 4553447"/>
              <a:gd name="connsiteY66" fmla="*/ 5280167 h 5549966"/>
              <a:gd name="connsiteX67" fmla="*/ 4324 w 4553447"/>
              <a:gd name="connsiteY67" fmla="*/ 5239903 h 5549966"/>
              <a:gd name="connsiteX68" fmla="*/ 8544 w 4553447"/>
              <a:gd name="connsiteY68" fmla="*/ 5233298 h 5549966"/>
              <a:gd name="connsiteX69" fmla="*/ 8813 w 4553447"/>
              <a:gd name="connsiteY69" fmla="*/ 5230552 h 5549966"/>
              <a:gd name="connsiteX70" fmla="*/ 9083 w 4553447"/>
              <a:gd name="connsiteY70" fmla="*/ 5227804 h 5549966"/>
              <a:gd name="connsiteX71" fmla="*/ 9620 w 4553447"/>
              <a:gd name="connsiteY71" fmla="*/ 5222308 h 5549966"/>
              <a:gd name="connsiteX72" fmla="*/ 9305 w 4553447"/>
              <a:gd name="connsiteY72" fmla="*/ 5216405 h 5549966"/>
              <a:gd name="connsiteX73" fmla="*/ 8721 w 4553447"/>
              <a:gd name="connsiteY73" fmla="*/ 5213249 h 5549966"/>
              <a:gd name="connsiteX74" fmla="*/ 8990 w 4553447"/>
              <a:gd name="connsiteY74" fmla="*/ 5210500 h 5549966"/>
              <a:gd name="connsiteX75" fmla="*/ 8674 w 4553447"/>
              <a:gd name="connsiteY75" fmla="*/ 5204597 h 5549966"/>
              <a:gd name="connsiteX76" fmla="*/ 8091 w 4553447"/>
              <a:gd name="connsiteY76" fmla="*/ 5201441 h 5549966"/>
              <a:gd name="connsiteX77" fmla="*/ 7461 w 4553447"/>
              <a:gd name="connsiteY77" fmla="*/ 5189632 h 5549966"/>
              <a:gd name="connsiteX78" fmla="*/ 6877 w 4553447"/>
              <a:gd name="connsiteY78" fmla="*/ 5186477 h 5549966"/>
              <a:gd name="connsiteX79" fmla="*/ 7145 w 4553447"/>
              <a:gd name="connsiteY79" fmla="*/ 5183728 h 5549966"/>
              <a:gd name="connsiteX80" fmla="*/ 5710 w 4553447"/>
              <a:gd name="connsiteY80" fmla="*/ 5180163 h 5549966"/>
              <a:gd name="connsiteX81" fmla="*/ 11122 w 4553447"/>
              <a:gd name="connsiteY81" fmla="*/ 5116566 h 5549966"/>
              <a:gd name="connsiteX82" fmla="*/ 78736 w 4553447"/>
              <a:gd name="connsiteY82" fmla="*/ 3839310 h 5549966"/>
              <a:gd name="connsiteX83" fmla="*/ 303426 w 4553447"/>
              <a:gd name="connsiteY83" fmla="*/ 0 h 5549966"/>
              <a:gd name="connsiteX0" fmla="*/ 303426 w 4553447"/>
              <a:gd name="connsiteY0" fmla="*/ 0 h 5549973"/>
              <a:gd name="connsiteX1" fmla="*/ 3305612 w 4553447"/>
              <a:gd name="connsiteY1" fmla="*/ 171842 h 5549973"/>
              <a:gd name="connsiteX2" fmla="*/ 4134423 w 4553447"/>
              <a:gd name="connsiteY2" fmla="*/ 226950 h 5549973"/>
              <a:gd name="connsiteX3" fmla="*/ 4507617 w 4553447"/>
              <a:gd name="connsiteY3" fmla="*/ 247374 h 5549973"/>
              <a:gd name="connsiteX4" fmla="*/ 4535496 w 4553447"/>
              <a:gd name="connsiteY4" fmla="*/ 269179 h 5549973"/>
              <a:gd name="connsiteX5" fmla="*/ 4533722 w 4553447"/>
              <a:gd name="connsiteY5" fmla="*/ 300930 h 5549973"/>
              <a:gd name="connsiteX6" fmla="*/ 4536644 w 4553447"/>
              <a:gd name="connsiteY6" fmla="*/ 302647 h 5549973"/>
              <a:gd name="connsiteX7" fmla="*/ 4553070 w 4553447"/>
              <a:gd name="connsiteY7" fmla="*/ 334222 h 5549973"/>
              <a:gd name="connsiteX8" fmla="*/ 4530809 w 4553447"/>
              <a:gd name="connsiteY8" fmla="*/ 391868 h 5549973"/>
              <a:gd name="connsiteX9" fmla="*/ 4527321 w 4553447"/>
              <a:gd name="connsiteY9" fmla="*/ 415489 h 5549973"/>
              <a:gd name="connsiteX10" fmla="*/ 4522216 w 4553447"/>
              <a:gd name="connsiteY10" fmla="*/ 506828 h 5549973"/>
              <a:gd name="connsiteX11" fmla="*/ 4521566 w 4553447"/>
              <a:gd name="connsiteY11" fmla="*/ 553245 h 5549973"/>
              <a:gd name="connsiteX12" fmla="*/ 4518467 w 4553447"/>
              <a:gd name="connsiteY12" fmla="*/ 581709 h 5549973"/>
              <a:gd name="connsiteX13" fmla="*/ 4517798 w 4553447"/>
              <a:gd name="connsiteY13" fmla="*/ 585890 h 5549973"/>
              <a:gd name="connsiteX14" fmla="*/ 4504861 w 4553447"/>
              <a:gd name="connsiteY14" fmla="*/ 817404 h 5549973"/>
              <a:gd name="connsiteX15" fmla="*/ 4506574 w 4553447"/>
              <a:gd name="connsiteY15" fmla="*/ 822238 h 5549973"/>
              <a:gd name="connsiteX16" fmla="*/ 4504423 w 4553447"/>
              <a:gd name="connsiteY16" fmla="*/ 846069 h 5549973"/>
              <a:gd name="connsiteX17" fmla="*/ 4502823 w 4553447"/>
              <a:gd name="connsiteY17" fmla="*/ 853854 h 5549973"/>
              <a:gd name="connsiteX18" fmla="*/ 4496585 w 4553447"/>
              <a:gd name="connsiteY18" fmla="*/ 965485 h 5549973"/>
              <a:gd name="connsiteX19" fmla="*/ 4498662 w 4553447"/>
              <a:gd name="connsiteY19" fmla="*/ 966385 h 5549973"/>
              <a:gd name="connsiteX20" fmla="*/ 4502781 w 4553447"/>
              <a:gd name="connsiteY20" fmla="*/ 1002567 h 5549973"/>
              <a:gd name="connsiteX21" fmla="*/ 4497983 w 4553447"/>
              <a:gd name="connsiteY21" fmla="*/ 1101094 h 5549973"/>
              <a:gd name="connsiteX22" fmla="*/ 4497878 w 4553447"/>
              <a:gd name="connsiteY22" fmla="*/ 1159389 h 5549973"/>
              <a:gd name="connsiteX23" fmla="*/ 4502181 w 4553447"/>
              <a:gd name="connsiteY23" fmla="*/ 1180505 h 5549973"/>
              <a:gd name="connsiteX24" fmla="*/ 4505271 w 4553447"/>
              <a:gd name="connsiteY24" fmla="*/ 1210687 h 5549973"/>
              <a:gd name="connsiteX25" fmla="*/ 4514088 w 4553447"/>
              <a:gd name="connsiteY25" fmla="*/ 1263157 h 5549973"/>
              <a:gd name="connsiteX26" fmla="*/ 4516365 w 4553447"/>
              <a:gd name="connsiteY26" fmla="*/ 1313374 h 5549973"/>
              <a:gd name="connsiteX27" fmla="*/ 4515485 w 4553447"/>
              <a:gd name="connsiteY27" fmla="*/ 1347004 h 5549973"/>
              <a:gd name="connsiteX28" fmla="*/ 4515022 w 4553447"/>
              <a:gd name="connsiteY28" fmla="*/ 1351864 h 5549973"/>
              <a:gd name="connsiteX29" fmla="*/ 4505903 w 4553447"/>
              <a:gd name="connsiteY29" fmla="*/ 1391762 h 5549973"/>
              <a:gd name="connsiteX30" fmla="*/ 4509167 w 4553447"/>
              <a:gd name="connsiteY30" fmla="*/ 1395707 h 5549973"/>
              <a:gd name="connsiteX31" fmla="*/ 4512009 w 4553447"/>
              <a:gd name="connsiteY31" fmla="*/ 1408524 h 5549973"/>
              <a:gd name="connsiteX32" fmla="*/ 4507268 w 4553447"/>
              <a:gd name="connsiteY32" fmla="*/ 1419109 h 5549973"/>
              <a:gd name="connsiteX33" fmla="*/ 4497084 w 4553447"/>
              <a:gd name="connsiteY33" fmla="*/ 1469337 h 5549973"/>
              <a:gd name="connsiteX34" fmla="*/ 4486187 w 4553447"/>
              <a:gd name="connsiteY34" fmla="*/ 1543038 h 5549973"/>
              <a:gd name="connsiteX35" fmla="*/ 4481306 w 4553447"/>
              <a:gd name="connsiteY35" fmla="*/ 1553997 h 5549973"/>
              <a:gd name="connsiteX36" fmla="*/ 4466878 w 4553447"/>
              <a:gd name="connsiteY36" fmla="*/ 1626071 h 5549973"/>
              <a:gd name="connsiteX37" fmla="*/ 4463163 w 4553447"/>
              <a:gd name="connsiteY37" fmla="*/ 1664103 h 5549973"/>
              <a:gd name="connsiteX38" fmla="*/ 4466823 w 4553447"/>
              <a:gd name="connsiteY38" fmla="*/ 1668558 h 5549973"/>
              <a:gd name="connsiteX39" fmla="*/ 4465173 w 4553447"/>
              <a:gd name="connsiteY39" fmla="*/ 1679756 h 5549973"/>
              <a:gd name="connsiteX40" fmla="*/ 4465585 w 4553447"/>
              <a:gd name="connsiteY40" fmla="*/ 1682815 h 5549973"/>
              <a:gd name="connsiteX41" fmla="*/ 4467096 w 4553447"/>
              <a:gd name="connsiteY41" fmla="*/ 1700268 h 5549973"/>
              <a:gd name="connsiteX42" fmla="*/ 4455626 w 4553447"/>
              <a:gd name="connsiteY42" fmla="*/ 1735163 h 5549973"/>
              <a:gd name="connsiteX43" fmla="*/ 4453566 w 4553447"/>
              <a:gd name="connsiteY43" fmla="*/ 1735289 h 5549973"/>
              <a:gd name="connsiteX44" fmla="*/ 4445068 w 4553447"/>
              <a:gd name="connsiteY44" fmla="*/ 1887374 h 5549973"/>
              <a:gd name="connsiteX45" fmla="*/ 4453759 w 4553447"/>
              <a:gd name="connsiteY45" fmla="*/ 1911536 h 5549973"/>
              <a:gd name="connsiteX46" fmla="*/ 4456037 w 4553447"/>
              <a:gd name="connsiteY46" fmla="*/ 1961755 h 5549973"/>
              <a:gd name="connsiteX47" fmla="*/ 4455156 w 4553447"/>
              <a:gd name="connsiteY47" fmla="*/ 1995384 h 5549973"/>
              <a:gd name="connsiteX48" fmla="*/ 4454694 w 4553447"/>
              <a:gd name="connsiteY48" fmla="*/ 2000244 h 5549973"/>
              <a:gd name="connsiteX49" fmla="*/ 4445574 w 4553447"/>
              <a:gd name="connsiteY49" fmla="*/ 2040142 h 5549973"/>
              <a:gd name="connsiteX50" fmla="*/ 4448839 w 4553447"/>
              <a:gd name="connsiteY50" fmla="*/ 2044087 h 5549973"/>
              <a:gd name="connsiteX51" fmla="*/ 4451680 w 4553447"/>
              <a:gd name="connsiteY51" fmla="*/ 2056904 h 5549973"/>
              <a:gd name="connsiteX52" fmla="*/ 4446939 w 4553447"/>
              <a:gd name="connsiteY52" fmla="*/ 2067489 h 5549973"/>
              <a:gd name="connsiteX53" fmla="*/ 4436755 w 4553447"/>
              <a:gd name="connsiteY53" fmla="*/ 2117719 h 5549973"/>
              <a:gd name="connsiteX54" fmla="*/ 4429424 w 4553447"/>
              <a:gd name="connsiteY54" fmla="*/ 2167300 h 5549973"/>
              <a:gd name="connsiteX55" fmla="*/ 4373341 w 4553447"/>
              <a:gd name="connsiteY55" fmla="*/ 3223633 h 5549973"/>
              <a:gd name="connsiteX56" fmla="*/ 4360555 w 4553447"/>
              <a:gd name="connsiteY56" fmla="*/ 3477281 h 5549973"/>
              <a:gd name="connsiteX57" fmla="*/ 4349470 w 4553447"/>
              <a:gd name="connsiteY57" fmla="*/ 3639984 h 5549973"/>
              <a:gd name="connsiteX58" fmla="*/ 4258709 w 4553447"/>
              <a:gd name="connsiteY58" fmla="*/ 5278921 h 5549973"/>
              <a:gd name="connsiteX59" fmla="*/ 4264007 w 4553447"/>
              <a:gd name="connsiteY59" fmla="*/ 5315626 h 5549973"/>
              <a:gd name="connsiteX60" fmla="*/ 4267541 w 4553447"/>
              <a:gd name="connsiteY60" fmla="*/ 5350090 h 5549973"/>
              <a:gd name="connsiteX61" fmla="*/ 4270373 w 4553447"/>
              <a:gd name="connsiteY61" fmla="*/ 5450399 h 5549973"/>
              <a:gd name="connsiteX62" fmla="*/ 4251816 w 4553447"/>
              <a:gd name="connsiteY62" fmla="*/ 5484804 h 5549973"/>
              <a:gd name="connsiteX63" fmla="*/ 4247164 w 4553447"/>
              <a:gd name="connsiteY63" fmla="*/ 5487504 h 5549973"/>
              <a:gd name="connsiteX64" fmla="*/ 4243707 w 4553447"/>
              <a:gd name="connsiteY64" fmla="*/ 5549951 h 5549973"/>
              <a:gd name="connsiteX65" fmla="*/ 310344 w 4553447"/>
              <a:gd name="connsiteY65" fmla="*/ 5297261 h 5549973"/>
              <a:gd name="connsiteX66" fmla="*/ 0 w 4553447"/>
              <a:gd name="connsiteY66" fmla="*/ 5280167 h 5549973"/>
              <a:gd name="connsiteX67" fmla="*/ 4324 w 4553447"/>
              <a:gd name="connsiteY67" fmla="*/ 5239903 h 5549973"/>
              <a:gd name="connsiteX68" fmla="*/ 8544 w 4553447"/>
              <a:gd name="connsiteY68" fmla="*/ 5233298 h 5549973"/>
              <a:gd name="connsiteX69" fmla="*/ 8813 w 4553447"/>
              <a:gd name="connsiteY69" fmla="*/ 5230552 h 5549973"/>
              <a:gd name="connsiteX70" fmla="*/ 9083 w 4553447"/>
              <a:gd name="connsiteY70" fmla="*/ 5227804 h 5549973"/>
              <a:gd name="connsiteX71" fmla="*/ 9620 w 4553447"/>
              <a:gd name="connsiteY71" fmla="*/ 5222308 h 5549973"/>
              <a:gd name="connsiteX72" fmla="*/ 9305 w 4553447"/>
              <a:gd name="connsiteY72" fmla="*/ 5216405 h 5549973"/>
              <a:gd name="connsiteX73" fmla="*/ 8721 w 4553447"/>
              <a:gd name="connsiteY73" fmla="*/ 5213249 h 5549973"/>
              <a:gd name="connsiteX74" fmla="*/ 8990 w 4553447"/>
              <a:gd name="connsiteY74" fmla="*/ 5210500 h 5549973"/>
              <a:gd name="connsiteX75" fmla="*/ 8674 w 4553447"/>
              <a:gd name="connsiteY75" fmla="*/ 5204597 h 5549973"/>
              <a:gd name="connsiteX76" fmla="*/ 8091 w 4553447"/>
              <a:gd name="connsiteY76" fmla="*/ 5201441 h 5549973"/>
              <a:gd name="connsiteX77" fmla="*/ 7461 w 4553447"/>
              <a:gd name="connsiteY77" fmla="*/ 5189632 h 5549973"/>
              <a:gd name="connsiteX78" fmla="*/ 6877 w 4553447"/>
              <a:gd name="connsiteY78" fmla="*/ 5186477 h 5549973"/>
              <a:gd name="connsiteX79" fmla="*/ 7145 w 4553447"/>
              <a:gd name="connsiteY79" fmla="*/ 5183728 h 5549973"/>
              <a:gd name="connsiteX80" fmla="*/ 5710 w 4553447"/>
              <a:gd name="connsiteY80" fmla="*/ 5180163 h 5549973"/>
              <a:gd name="connsiteX81" fmla="*/ 11122 w 4553447"/>
              <a:gd name="connsiteY81" fmla="*/ 5116566 h 5549973"/>
              <a:gd name="connsiteX82" fmla="*/ 78736 w 4553447"/>
              <a:gd name="connsiteY82" fmla="*/ 3839310 h 5549973"/>
              <a:gd name="connsiteX83" fmla="*/ 303426 w 4553447"/>
              <a:gd name="connsiteY83" fmla="*/ 0 h 5549973"/>
              <a:gd name="connsiteX0" fmla="*/ 303426 w 4553447"/>
              <a:gd name="connsiteY0" fmla="*/ 0 h 5549974"/>
              <a:gd name="connsiteX1" fmla="*/ 3305612 w 4553447"/>
              <a:gd name="connsiteY1" fmla="*/ 171842 h 5549974"/>
              <a:gd name="connsiteX2" fmla="*/ 4134423 w 4553447"/>
              <a:gd name="connsiteY2" fmla="*/ 226950 h 5549974"/>
              <a:gd name="connsiteX3" fmla="*/ 4507617 w 4553447"/>
              <a:gd name="connsiteY3" fmla="*/ 247374 h 5549974"/>
              <a:gd name="connsiteX4" fmla="*/ 4535496 w 4553447"/>
              <a:gd name="connsiteY4" fmla="*/ 269179 h 5549974"/>
              <a:gd name="connsiteX5" fmla="*/ 4533722 w 4553447"/>
              <a:gd name="connsiteY5" fmla="*/ 300930 h 5549974"/>
              <a:gd name="connsiteX6" fmla="*/ 4536644 w 4553447"/>
              <a:gd name="connsiteY6" fmla="*/ 302647 h 5549974"/>
              <a:gd name="connsiteX7" fmla="*/ 4553070 w 4553447"/>
              <a:gd name="connsiteY7" fmla="*/ 334222 h 5549974"/>
              <a:gd name="connsiteX8" fmla="*/ 4530809 w 4553447"/>
              <a:gd name="connsiteY8" fmla="*/ 391868 h 5549974"/>
              <a:gd name="connsiteX9" fmla="*/ 4527321 w 4553447"/>
              <a:gd name="connsiteY9" fmla="*/ 415489 h 5549974"/>
              <a:gd name="connsiteX10" fmla="*/ 4522216 w 4553447"/>
              <a:gd name="connsiteY10" fmla="*/ 506828 h 5549974"/>
              <a:gd name="connsiteX11" fmla="*/ 4521566 w 4553447"/>
              <a:gd name="connsiteY11" fmla="*/ 553245 h 5549974"/>
              <a:gd name="connsiteX12" fmla="*/ 4518467 w 4553447"/>
              <a:gd name="connsiteY12" fmla="*/ 581709 h 5549974"/>
              <a:gd name="connsiteX13" fmla="*/ 4517798 w 4553447"/>
              <a:gd name="connsiteY13" fmla="*/ 585890 h 5549974"/>
              <a:gd name="connsiteX14" fmla="*/ 4504861 w 4553447"/>
              <a:gd name="connsiteY14" fmla="*/ 817404 h 5549974"/>
              <a:gd name="connsiteX15" fmla="*/ 4506574 w 4553447"/>
              <a:gd name="connsiteY15" fmla="*/ 822238 h 5549974"/>
              <a:gd name="connsiteX16" fmla="*/ 4504423 w 4553447"/>
              <a:gd name="connsiteY16" fmla="*/ 846069 h 5549974"/>
              <a:gd name="connsiteX17" fmla="*/ 4502823 w 4553447"/>
              <a:gd name="connsiteY17" fmla="*/ 853854 h 5549974"/>
              <a:gd name="connsiteX18" fmla="*/ 4496585 w 4553447"/>
              <a:gd name="connsiteY18" fmla="*/ 965485 h 5549974"/>
              <a:gd name="connsiteX19" fmla="*/ 4498662 w 4553447"/>
              <a:gd name="connsiteY19" fmla="*/ 966385 h 5549974"/>
              <a:gd name="connsiteX20" fmla="*/ 4502781 w 4553447"/>
              <a:gd name="connsiteY20" fmla="*/ 1002567 h 5549974"/>
              <a:gd name="connsiteX21" fmla="*/ 4497983 w 4553447"/>
              <a:gd name="connsiteY21" fmla="*/ 1101094 h 5549974"/>
              <a:gd name="connsiteX22" fmla="*/ 4497878 w 4553447"/>
              <a:gd name="connsiteY22" fmla="*/ 1159389 h 5549974"/>
              <a:gd name="connsiteX23" fmla="*/ 4502181 w 4553447"/>
              <a:gd name="connsiteY23" fmla="*/ 1180505 h 5549974"/>
              <a:gd name="connsiteX24" fmla="*/ 4505271 w 4553447"/>
              <a:gd name="connsiteY24" fmla="*/ 1210687 h 5549974"/>
              <a:gd name="connsiteX25" fmla="*/ 4514088 w 4553447"/>
              <a:gd name="connsiteY25" fmla="*/ 1263157 h 5549974"/>
              <a:gd name="connsiteX26" fmla="*/ 4516365 w 4553447"/>
              <a:gd name="connsiteY26" fmla="*/ 1313374 h 5549974"/>
              <a:gd name="connsiteX27" fmla="*/ 4515485 w 4553447"/>
              <a:gd name="connsiteY27" fmla="*/ 1347004 h 5549974"/>
              <a:gd name="connsiteX28" fmla="*/ 4515022 w 4553447"/>
              <a:gd name="connsiteY28" fmla="*/ 1351864 h 5549974"/>
              <a:gd name="connsiteX29" fmla="*/ 4505903 w 4553447"/>
              <a:gd name="connsiteY29" fmla="*/ 1391762 h 5549974"/>
              <a:gd name="connsiteX30" fmla="*/ 4509167 w 4553447"/>
              <a:gd name="connsiteY30" fmla="*/ 1395707 h 5549974"/>
              <a:gd name="connsiteX31" fmla="*/ 4512009 w 4553447"/>
              <a:gd name="connsiteY31" fmla="*/ 1408524 h 5549974"/>
              <a:gd name="connsiteX32" fmla="*/ 4507268 w 4553447"/>
              <a:gd name="connsiteY32" fmla="*/ 1419109 h 5549974"/>
              <a:gd name="connsiteX33" fmla="*/ 4497084 w 4553447"/>
              <a:gd name="connsiteY33" fmla="*/ 1469337 h 5549974"/>
              <a:gd name="connsiteX34" fmla="*/ 4486187 w 4553447"/>
              <a:gd name="connsiteY34" fmla="*/ 1543038 h 5549974"/>
              <a:gd name="connsiteX35" fmla="*/ 4481306 w 4553447"/>
              <a:gd name="connsiteY35" fmla="*/ 1553997 h 5549974"/>
              <a:gd name="connsiteX36" fmla="*/ 4466878 w 4553447"/>
              <a:gd name="connsiteY36" fmla="*/ 1626071 h 5549974"/>
              <a:gd name="connsiteX37" fmla="*/ 4463163 w 4553447"/>
              <a:gd name="connsiteY37" fmla="*/ 1664103 h 5549974"/>
              <a:gd name="connsiteX38" fmla="*/ 4466823 w 4553447"/>
              <a:gd name="connsiteY38" fmla="*/ 1668558 h 5549974"/>
              <a:gd name="connsiteX39" fmla="*/ 4465173 w 4553447"/>
              <a:gd name="connsiteY39" fmla="*/ 1679756 h 5549974"/>
              <a:gd name="connsiteX40" fmla="*/ 4465585 w 4553447"/>
              <a:gd name="connsiteY40" fmla="*/ 1682815 h 5549974"/>
              <a:gd name="connsiteX41" fmla="*/ 4467096 w 4553447"/>
              <a:gd name="connsiteY41" fmla="*/ 1700268 h 5549974"/>
              <a:gd name="connsiteX42" fmla="*/ 4455626 w 4553447"/>
              <a:gd name="connsiteY42" fmla="*/ 1735163 h 5549974"/>
              <a:gd name="connsiteX43" fmla="*/ 4453566 w 4553447"/>
              <a:gd name="connsiteY43" fmla="*/ 1735289 h 5549974"/>
              <a:gd name="connsiteX44" fmla="*/ 4445068 w 4553447"/>
              <a:gd name="connsiteY44" fmla="*/ 1887374 h 5549974"/>
              <a:gd name="connsiteX45" fmla="*/ 4453759 w 4553447"/>
              <a:gd name="connsiteY45" fmla="*/ 1911536 h 5549974"/>
              <a:gd name="connsiteX46" fmla="*/ 4456037 w 4553447"/>
              <a:gd name="connsiteY46" fmla="*/ 1961755 h 5549974"/>
              <a:gd name="connsiteX47" fmla="*/ 4455156 w 4553447"/>
              <a:gd name="connsiteY47" fmla="*/ 1995384 h 5549974"/>
              <a:gd name="connsiteX48" fmla="*/ 4454694 w 4553447"/>
              <a:gd name="connsiteY48" fmla="*/ 2000244 h 5549974"/>
              <a:gd name="connsiteX49" fmla="*/ 4445574 w 4553447"/>
              <a:gd name="connsiteY49" fmla="*/ 2040142 h 5549974"/>
              <a:gd name="connsiteX50" fmla="*/ 4448839 w 4553447"/>
              <a:gd name="connsiteY50" fmla="*/ 2044087 h 5549974"/>
              <a:gd name="connsiteX51" fmla="*/ 4451680 w 4553447"/>
              <a:gd name="connsiteY51" fmla="*/ 2056904 h 5549974"/>
              <a:gd name="connsiteX52" fmla="*/ 4446939 w 4553447"/>
              <a:gd name="connsiteY52" fmla="*/ 2067489 h 5549974"/>
              <a:gd name="connsiteX53" fmla="*/ 4436755 w 4553447"/>
              <a:gd name="connsiteY53" fmla="*/ 2117719 h 5549974"/>
              <a:gd name="connsiteX54" fmla="*/ 4429424 w 4553447"/>
              <a:gd name="connsiteY54" fmla="*/ 2167300 h 5549974"/>
              <a:gd name="connsiteX55" fmla="*/ 4373341 w 4553447"/>
              <a:gd name="connsiteY55" fmla="*/ 3223633 h 5549974"/>
              <a:gd name="connsiteX56" fmla="*/ 4360555 w 4553447"/>
              <a:gd name="connsiteY56" fmla="*/ 3477281 h 5549974"/>
              <a:gd name="connsiteX57" fmla="*/ 4349470 w 4553447"/>
              <a:gd name="connsiteY57" fmla="*/ 3639984 h 5549974"/>
              <a:gd name="connsiteX58" fmla="*/ 4258709 w 4553447"/>
              <a:gd name="connsiteY58" fmla="*/ 5278921 h 5549974"/>
              <a:gd name="connsiteX59" fmla="*/ 4264007 w 4553447"/>
              <a:gd name="connsiteY59" fmla="*/ 5315626 h 5549974"/>
              <a:gd name="connsiteX60" fmla="*/ 4267541 w 4553447"/>
              <a:gd name="connsiteY60" fmla="*/ 5350090 h 5549974"/>
              <a:gd name="connsiteX61" fmla="*/ 4270373 w 4553447"/>
              <a:gd name="connsiteY61" fmla="*/ 5450399 h 5549974"/>
              <a:gd name="connsiteX62" fmla="*/ 4251816 w 4553447"/>
              <a:gd name="connsiteY62" fmla="*/ 5484804 h 5549974"/>
              <a:gd name="connsiteX63" fmla="*/ 4247164 w 4553447"/>
              <a:gd name="connsiteY63" fmla="*/ 5487504 h 5549974"/>
              <a:gd name="connsiteX64" fmla="*/ 4243707 w 4553447"/>
              <a:gd name="connsiteY64" fmla="*/ 5549951 h 5549974"/>
              <a:gd name="connsiteX65" fmla="*/ 310344 w 4553447"/>
              <a:gd name="connsiteY65" fmla="*/ 5297261 h 5549974"/>
              <a:gd name="connsiteX66" fmla="*/ 0 w 4553447"/>
              <a:gd name="connsiteY66" fmla="*/ 5280167 h 5549974"/>
              <a:gd name="connsiteX67" fmla="*/ 4324 w 4553447"/>
              <a:gd name="connsiteY67" fmla="*/ 5239903 h 5549974"/>
              <a:gd name="connsiteX68" fmla="*/ 8544 w 4553447"/>
              <a:gd name="connsiteY68" fmla="*/ 5233298 h 5549974"/>
              <a:gd name="connsiteX69" fmla="*/ 8813 w 4553447"/>
              <a:gd name="connsiteY69" fmla="*/ 5230552 h 5549974"/>
              <a:gd name="connsiteX70" fmla="*/ 9083 w 4553447"/>
              <a:gd name="connsiteY70" fmla="*/ 5227804 h 5549974"/>
              <a:gd name="connsiteX71" fmla="*/ 9620 w 4553447"/>
              <a:gd name="connsiteY71" fmla="*/ 5222308 h 5549974"/>
              <a:gd name="connsiteX72" fmla="*/ 9305 w 4553447"/>
              <a:gd name="connsiteY72" fmla="*/ 5216405 h 5549974"/>
              <a:gd name="connsiteX73" fmla="*/ 8721 w 4553447"/>
              <a:gd name="connsiteY73" fmla="*/ 5213249 h 5549974"/>
              <a:gd name="connsiteX74" fmla="*/ 8990 w 4553447"/>
              <a:gd name="connsiteY74" fmla="*/ 5210500 h 5549974"/>
              <a:gd name="connsiteX75" fmla="*/ 8674 w 4553447"/>
              <a:gd name="connsiteY75" fmla="*/ 5204597 h 5549974"/>
              <a:gd name="connsiteX76" fmla="*/ 8091 w 4553447"/>
              <a:gd name="connsiteY76" fmla="*/ 5201441 h 5549974"/>
              <a:gd name="connsiteX77" fmla="*/ 7461 w 4553447"/>
              <a:gd name="connsiteY77" fmla="*/ 5189632 h 5549974"/>
              <a:gd name="connsiteX78" fmla="*/ 6877 w 4553447"/>
              <a:gd name="connsiteY78" fmla="*/ 5186477 h 5549974"/>
              <a:gd name="connsiteX79" fmla="*/ 7145 w 4553447"/>
              <a:gd name="connsiteY79" fmla="*/ 5183728 h 5549974"/>
              <a:gd name="connsiteX80" fmla="*/ 5710 w 4553447"/>
              <a:gd name="connsiteY80" fmla="*/ 5180163 h 5549974"/>
              <a:gd name="connsiteX81" fmla="*/ 11122 w 4553447"/>
              <a:gd name="connsiteY81" fmla="*/ 5116566 h 5549974"/>
              <a:gd name="connsiteX82" fmla="*/ 78736 w 4553447"/>
              <a:gd name="connsiteY82" fmla="*/ 3839310 h 5549974"/>
              <a:gd name="connsiteX83" fmla="*/ 303426 w 4553447"/>
              <a:gd name="connsiteY83" fmla="*/ 0 h 5549974"/>
              <a:gd name="connsiteX0" fmla="*/ 276445 w 4553447"/>
              <a:gd name="connsiteY0" fmla="*/ 0 h 5531266"/>
              <a:gd name="connsiteX1" fmla="*/ 3305612 w 4553447"/>
              <a:gd name="connsiteY1" fmla="*/ 153134 h 5531266"/>
              <a:gd name="connsiteX2" fmla="*/ 4134423 w 4553447"/>
              <a:gd name="connsiteY2" fmla="*/ 208242 h 5531266"/>
              <a:gd name="connsiteX3" fmla="*/ 4507617 w 4553447"/>
              <a:gd name="connsiteY3" fmla="*/ 228666 h 5531266"/>
              <a:gd name="connsiteX4" fmla="*/ 4535496 w 4553447"/>
              <a:gd name="connsiteY4" fmla="*/ 250471 h 5531266"/>
              <a:gd name="connsiteX5" fmla="*/ 4533722 w 4553447"/>
              <a:gd name="connsiteY5" fmla="*/ 282222 h 5531266"/>
              <a:gd name="connsiteX6" fmla="*/ 4536644 w 4553447"/>
              <a:gd name="connsiteY6" fmla="*/ 283939 h 5531266"/>
              <a:gd name="connsiteX7" fmla="*/ 4553070 w 4553447"/>
              <a:gd name="connsiteY7" fmla="*/ 315514 h 5531266"/>
              <a:gd name="connsiteX8" fmla="*/ 4530809 w 4553447"/>
              <a:gd name="connsiteY8" fmla="*/ 373160 h 5531266"/>
              <a:gd name="connsiteX9" fmla="*/ 4527321 w 4553447"/>
              <a:gd name="connsiteY9" fmla="*/ 396781 h 5531266"/>
              <a:gd name="connsiteX10" fmla="*/ 4522216 w 4553447"/>
              <a:gd name="connsiteY10" fmla="*/ 488120 h 5531266"/>
              <a:gd name="connsiteX11" fmla="*/ 4521566 w 4553447"/>
              <a:gd name="connsiteY11" fmla="*/ 534537 h 5531266"/>
              <a:gd name="connsiteX12" fmla="*/ 4518467 w 4553447"/>
              <a:gd name="connsiteY12" fmla="*/ 563001 h 5531266"/>
              <a:gd name="connsiteX13" fmla="*/ 4517798 w 4553447"/>
              <a:gd name="connsiteY13" fmla="*/ 567182 h 5531266"/>
              <a:gd name="connsiteX14" fmla="*/ 4504861 w 4553447"/>
              <a:gd name="connsiteY14" fmla="*/ 798696 h 5531266"/>
              <a:gd name="connsiteX15" fmla="*/ 4506574 w 4553447"/>
              <a:gd name="connsiteY15" fmla="*/ 803530 h 5531266"/>
              <a:gd name="connsiteX16" fmla="*/ 4504423 w 4553447"/>
              <a:gd name="connsiteY16" fmla="*/ 827361 h 5531266"/>
              <a:gd name="connsiteX17" fmla="*/ 4502823 w 4553447"/>
              <a:gd name="connsiteY17" fmla="*/ 835146 h 5531266"/>
              <a:gd name="connsiteX18" fmla="*/ 4496585 w 4553447"/>
              <a:gd name="connsiteY18" fmla="*/ 946777 h 5531266"/>
              <a:gd name="connsiteX19" fmla="*/ 4498662 w 4553447"/>
              <a:gd name="connsiteY19" fmla="*/ 947677 h 5531266"/>
              <a:gd name="connsiteX20" fmla="*/ 4502781 w 4553447"/>
              <a:gd name="connsiteY20" fmla="*/ 983859 h 5531266"/>
              <a:gd name="connsiteX21" fmla="*/ 4497983 w 4553447"/>
              <a:gd name="connsiteY21" fmla="*/ 1082386 h 5531266"/>
              <a:gd name="connsiteX22" fmla="*/ 4497878 w 4553447"/>
              <a:gd name="connsiteY22" fmla="*/ 1140681 h 5531266"/>
              <a:gd name="connsiteX23" fmla="*/ 4502181 w 4553447"/>
              <a:gd name="connsiteY23" fmla="*/ 1161797 h 5531266"/>
              <a:gd name="connsiteX24" fmla="*/ 4505271 w 4553447"/>
              <a:gd name="connsiteY24" fmla="*/ 1191979 h 5531266"/>
              <a:gd name="connsiteX25" fmla="*/ 4514088 w 4553447"/>
              <a:gd name="connsiteY25" fmla="*/ 1244449 h 5531266"/>
              <a:gd name="connsiteX26" fmla="*/ 4516365 w 4553447"/>
              <a:gd name="connsiteY26" fmla="*/ 1294666 h 5531266"/>
              <a:gd name="connsiteX27" fmla="*/ 4515485 w 4553447"/>
              <a:gd name="connsiteY27" fmla="*/ 1328296 h 5531266"/>
              <a:gd name="connsiteX28" fmla="*/ 4515022 w 4553447"/>
              <a:gd name="connsiteY28" fmla="*/ 1333156 h 5531266"/>
              <a:gd name="connsiteX29" fmla="*/ 4505903 w 4553447"/>
              <a:gd name="connsiteY29" fmla="*/ 1373054 h 5531266"/>
              <a:gd name="connsiteX30" fmla="*/ 4509167 w 4553447"/>
              <a:gd name="connsiteY30" fmla="*/ 1376999 h 5531266"/>
              <a:gd name="connsiteX31" fmla="*/ 4512009 w 4553447"/>
              <a:gd name="connsiteY31" fmla="*/ 1389816 h 5531266"/>
              <a:gd name="connsiteX32" fmla="*/ 4507268 w 4553447"/>
              <a:gd name="connsiteY32" fmla="*/ 1400401 h 5531266"/>
              <a:gd name="connsiteX33" fmla="*/ 4497084 w 4553447"/>
              <a:gd name="connsiteY33" fmla="*/ 1450629 h 5531266"/>
              <a:gd name="connsiteX34" fmla="*/ 4486187 w 4553447"/>
              <a:gd name="connsiteY34" fmla="*/ 1524330 h 5531266"/>
              <a:gd name="connsiteX35" fmla="*/ 4481306 w 4553447"/>
              <a:gd name="connsiteY35" fmla="*/ 1535289 h 5531266"/>
              <a:gd name="connsiteX36" fmla="*/ 4466878 w 4553447"/>
              <a:gd name="connsiteY36" fmla="*/ 1607363 h 5531266"/>
              <a:gd name="connsiteX37" fmla="*/ 4463163 w 4553447"/>
              <a:gd name="connsiteY37" fmla="*/ 1645395 h 5531266"/>
              <a:gd name="connsiteX38" fmla="*/ 4466823 w 4553447"/>
              <a:gd name="connsiteY38" fmla="*/ 1649850 h 5531266"/>
              <a:gd name="connsiteX39" fmla="*/ 4465173 w 4553447"/>
              <a:gd name="connsiteY39" fmla="*/ 1661048 h 5531266"/>
              <a:gd name="connsiteX40" fmla="*/ 4465585 w 4553447"/>
              <a:gd name="connsiteY40" fmla="*/ 1664107 h 5531266"/>
              <a:gd name="connsiteX41" fmla="*/ 4467096 w 4553447"/>
              <a:gd name="connsiteY41" fmla="*/ 1681560 h 5531266"/>
              <a:gd name="connsiteX42" fmla="*/ 4455626 w 4553447"/>
              <a:gd name="connsiteY42" fmla="*/ 1716455 h 5531266"/>
              <a:gd name="connsiteX43" fmla="*/ 4453566 w 4553447"/>
              <a:gd name="connsiteY43" fmla="*/ 1716581 h 5531266"/>
              <a:gd name="connsiteX44" fmla="*/ 4445068 w 4553447"/>
              <a:gd name="connsiteY44" fmla="*/ 1868666 h 5531266"/>
              <a:gd name="connsiteX45" fmla="*/ 4453759 w 4553447"/>
              <a:gd name="connsiteY45" fmla="*/ 1892828 h 5531266"/>
              <a:gd name="connsiteX46" fmla="*/ 4456037 w 4553447"/>
              <a:gd name="connsiteY46" fmla="*/ 1943047 h 5531266"/>
              <a:gd name="connsiteX47" fmla="*/ 4455156 w 4553447"/>
              <a:gd name="connsiteY47" fmla="*/ 1976676 h 5531266"/>
              <a:gd name="connsiteX48" fmla="*/ 4454694 w 4553447"/>
              <a:gd name="connsiteY48" fmla="*/ 1981536 h 5531266"/>
              <a:gd name="connsiteX49" fmla="*/ 4445574 w 4553447"/>
              <a:gd name="connsiteY49" fmla="*/ 2021434 h 5531266"/>
              <a:gd name="connsiteX50" fmla="*/ 4448839 w 4553447"/>
              <a:gd name="connsiteY50" fmla="*/ 2025379 h 5531266"/>
              <a:gd name="connsiteX51" fmla="*/ 4451680 w 4553447"/>
              <a:gd name="connsiteY51" fmla="*/ 2038196 h 5531266"/>
              <a:gd name="connsiteX52" fmla="*/ 4446939 w 4553447"/>
              <a:gd name="connsiteY52" fmla="*/ 2048781 h 5531266"/>
              <a:gd name="connsiteX53" fmla="*/ 4436755 w 4553447"/>
              <a:gd name="connsiteY53" fmla="*/ 2099011 h 5531266"/>
              <a:gd name="connsiteX54" fmla="*/ 4429424 w 4553447"/>
              <a:gd name="connsiteY54" fmla="*/ 2148592 h 5531266"/>
              <a:gd name="connsiteX55" fmla="*/ 4373341 w 4553447"/>
              <a:gd name="connsiteY55" fmla="*/ 3204925 h 5531266"/>
              <a:gd name="connsiteX56" fmla="*/ 4360555 w 4553447"/>
              <a:gd name="connsiteY56" fmla="*/ 3458573 h 5531266"/>
              <a:gd name="connsiteX57" fmla="*/ 4349470 w 4553447"/>
              <a:gd name="connsiteY57" fmla="*/ 3621276 h 5531266"/>
              <a:gd name="connsiteX58" fmla="*/ 4258709 w 4553447"/>
              <a:gd name="connsiteY58" fmla="*/ 5260213 h 5531266"/>
              <a:gd name="connsiteX59" fmla="*/ 4264007 w 4553447"/>
              <a:gd name="connsiteY59" fmla="*/ 5296918 h 5531266"/>
              <a:gd name="connsiteX60" fmla="*/ 4267541 w 4553447"/>
              <a:gd name="connsiteY60" fmla="*/ 5331382 h 5531266"/>
              <a:gd name="connsiteX61" fmla="*/ 4270373 w 4553447"/>
              <a:gd name="connsiteY61" fmla="*/ 5431691 h 5531266"/>
              <a:gd name="connsiteX62" fmla="*/ 4251816 w 4553447"/>
              <a:gd name="connsiteY62" fmla="*/ 5466096 h 5531266"/>
              <a:gd name="connsiteX63" fmla="*/ 4247164 w 4553447"/>
              <a:gd name="connsiteY63" fmla="*/ 5468796 h 5531266"/>
              <a:gd name="connsiteX64" fmla="*/ 4243707 w 4553447"/>
              <a:gd name="connsiteY64" fmla="*/ 5531243 h 5531266"/>
              <a:gd name="connsiteX65" fmla="*/ 310344 w 4553447"/>
              <a:gd name="connsiteY65" fmla="*/ 5278553 h 5531266"/>
              <a:gd name="connsiteX66" fmla="*/ 0 w 4553447"/>
              <a:gd name="connsiteY66" fmla="*/ 5261459 h 5531266"/>
              <a:gd name="connsiteX67" fmla="*/ 4324 w 4553447"/>
              <a:gd name="connsiteY67" fmla="*/ 5221195 h 5531266"/>
              <a:gd name="connsiteX68" fmla="*/ 8544 w 4553447"/>
              <a:gd name="connsiteY68" fmla="*/ 5214590 h 5531266"/>
              <a:gd name="connsiteX69" fmla="*/ 8813 w 4553447"/>
              <a:gd name="connsiteY69" fmla="*/ 5211844 h 5531266"/>
              <a:gd name="connsiteX70" fmla="*/ 9083 w 4553447"/>
              <a:gd name="connsiteY70" fmla="*/ 5209096 h 5531266"/>
              <a:gd name="connsiteX71" fmla="*/ 9620 w 4553447"/>
              <a:gd name="connsiteY71" fmla="*/ 5203600 h 5531266"/>
              <a:gd name="connsiteX72" fmla="*/ 9305 w 4553447"/>
              <a:gd name="connsiteY72" fmla="*/ 5197697 h 5531266"/>
              <a:gd name="connsiteX73" fmla="*/ 8721 w 4553447"/>
              <a:gd name="connsiteY73" fmla="*/ 5194541 h 5531266"/>
              <a:gd name="connsiteX74" fmla="*/ 8990 w 4553447"/>
              <a:gd name="connsiteY74" fmla="*/ 5191792 h 5531266"/>
              <a:gd name="connsiteX75" fmla="*/ 8674 w 4553447"/>
              <a:gd name="connsiteY75" fmla="*/ 5185889 h 5531266"/>
              <a:gd name="connsiteX76" fmla="*/ 8091 w 4553447"/>
              <a:gd name="connsiteY76" fmla="*/ 5182733 h 5531266"/>
              <a:gd name="connsiteX77" fmla="*/ 7461 w 4553447"/>
              <a:gd name="connsiteY77" fmla="*/ 5170924 h 5531266"/>
              <a:gd name="connsiteX78" fmla="*/ 6877 w 4553447"/>
              <a:gd name="connsiteY78" fmla="*/ 5167769 h 5531266"/>
              <a:gd name="connsiteX79" fmla="*/ 7145 w 4553447"/>
              <a:gd name="connsiteY79" fmla="*/ 5165020 h 5531266"/>
              <a:gd name="connsiteX80" fmla="*/ 5710 w 4553447"/>
              <a:gd name="connsiteY80" fmla="*/ 5161455 h 5531266"/>
              <a:gd name="connsiteX81" fmla="*/ 11122 w 4553447"/>
              <a:gd name="connsiteY81" fmla="*/ 5097858 h 5531266"/>
              <a:gd name="connsiteX82" fmla="*/ 78736 w 4553447"/>
              <a:gd name="connsiteY82" fmla="*/ 3820602 h 5531266"/>
              <a:gd name="connsiteX83" fmla="*/ 276445 w 4553447"/>
              <a:gd name="connsiteY83" fmla="*/ 0 h 5531266"/>
              <a:gd name="connsiteX0" fmla="*/ 276445 w 4553447"/>
              <a:gd name="connsiteY0" fmla="*/ 0 h 5531266"/>
              <a:gd name="connsiteX1" fmla="*/ 3305612 w 4553447"/>
              <a:gd name="connsiteY1" fmla="*/ 153134 h 5531266"/>
              <a:gd name="connsiteX2" fmla="*/ 4134423 w 4553447"/>
              <a:gd name="connsiteY2" fmla="*/ 208242 h 5531266"/>
              <a:gd name="connsiteX3" fmla="*/ 4507617 w 4553447"/>
              <a:gd name="connsiteY3" fmla="*/ 228666 h 5531266"/>
              <a:gd name="connsiteX4" fmla="*/ 4535496 w 4553447"/>
              <a:gd name="connsiteY4" fmla="*/ 250471 h 5531266"/>
              <a:gd name="connsiteX5" fmla="*/ 4533722 w 4553447"/>
              <a:gd name="connsiteY5" fmla="*/ 282222 h 5531266"/>
              <a:gd name="connsiteX6" fmla="*/ 4536644 w 4553447"/>
              <a:gd name="connsiteY6" fmla="*/ 283939 h 5531266"/>
              <a:gd name="connsiteX7" fmla="*/ 4553070 w 4553447"/>
              <a:gd name="connsiteY7" fmla="*/ 315514 h 5531266"/>
              <a:gd name="connsiteX8" fmla="*/ 4530809 w 4553447"/>
              <a:gd name="connsiteY8" fmla="*/ 373160 h 5531266"/>
              <a:gd name="connsiteX9" fmla="*/ 4527321 w 4553447"/>
              <a:gd name="connsiteY9" fmla="*/ 396781 h 5531266"/>
              <a:gd name="connsiteX10" fmla="*/ 4522216 w 4553447"/>
              <a:gd name="connsiteY10" fmla="*/ 488120 h 5531266"/>
              <a:gd name="connsiteX11" fmla="*/ 4521566 w 4553447"/>
              <a:gd name="connsiteY11" fmla="*/ 534537 h 5531266"/>
              <a:gd name="connsiteX12" fmla="*/ 4518467 w 4553447"/>
              <a:gd name="connsiteY12" fmla="*/ 563001 h 5531266"/>
              <a:gd name="connsiteX13" fmla="*/ 4517798 w 4553447"/>
              <a:gd name="connsiteY13" fmla="*/ 567182 h 5531266"/>
              <a:gd name="connsiteX14" fmla="*/ 4504861 w 4553447"/>
              <a:gd name="connsiteY14" fmla="*/ 798696 h 5531266"/>
              <a:gd name="connsiteX15" fmla="*/ 4506574 w 4553447"/>
              <a:gd name="connsiteY15" fmla="*/ 803530 h 5531266"/>
              <a:gd name="connsiteX16" fmla="*/ 4504423 w 4553447"/>
              <a:gd name="connsiteY16" fmla="*/ 827361 h 5531266"/>
              <a:gd name="connsiteX17" fmla="*/ 4502823 w 4553447"/>
              <a:gd name="connsiteY17" fmla="*/ 835146 h 5531266"/>
              <a:gd name="connsiteX18" fmla="*/ 4496585 w 4553447"/>
              <a:gd name="connsiteY18" fmla="*/ 946777 h 5531266"/>
              <a:gd name="connsiteX19" fmla="*/ 4498662 w 4553447"/>
              <a:gd name="connsiteY19" fmla="*/ 947677 h 5531266"/>
              <a:gd name="connsiteX20" fmla="*/ 4502781 w 4553447"/>
              <a:gd name="connsiteY20" fmla="*/ 983859 h 5531266"/>
              <a:gd name="connsiteX21" fmla="*/ 4497983 w 4553447"/>
              <a:gd name="connsiteY21" fmla="*/ 1082386 h 5531266"/>
              <a:gd name="connsiteX22" fmla="*/ 4497878 w 4553447"/>
              <a:gd name="connsiteY22" fmla="*/ 1140681 h 5531266"/>
              <a:gd name="connsiteX23" fmla="*/ 4502181 w 4553447"/>
              <a:gd name="connsiteY23" fmla="*/ 1161797 h 5531266"/>
              <a:gd name="connsiteX24" fmla="*/ 4505271 w 4553447"/>
              <a:gd name="connsiteY24" fmla="*/ 1191979 h 5531266"/>
              <a:gd name="connsiteX25" fmla="*/ 4514088 w 4553447"/>
              <a:gd name="connsiteY25" fmla="*/ 1244449 h 5531266"/>
              <a:gd name="connsiteX26" fmla="*/ 4516365 w 4553447"/>
              <a:gd name="connsiteY26" fmla="*/ 1294666 h 5531266"/>
              <a:gd name="connsiteX27" fmla="*/ 4515485 w 4553447"/>
              <a:gd name="connsiteY27" fmla="*/ 1328296 h 5531266"/>
              <a:gd name="connsiteX28" fmla="*/ 4515022 w 4553447"/>
              <a:gd name="connsiteY28" fmla="*/ 1333156 h 5531266"/>
              <a:gd name="connsiteX29" fmla="*/ 4505903 w 4553447"/>
              <a:gd name="connsiteY29" fmla="*/ 1373054 h 5531266"/>
              <a:gd name="connsiteX30" fmla="*/ 4509167 w 4553447"/>
              <a:gd name="connsiteY30" fmla="*/ 1376999 h 5531266"/>
              <a:gd name="connsiteX31" fmla="*/ 4512009 w 4553447"/>
              <a:gd name="connsiteY31" fmla="*/ 1389816 h 5531266"/>
              <a:gd name="connsiteX32" fmla="*/ 4507268 w 4553447"/>
              <a:gd name="connsiteY32" fmla="*/ 1400401 h 5531266"/>
              <a:gd name="connsiteX33" fmla="*/ 4497084 w 4553447"/>
              <a:gd name="connsiteY33" fmla="*/ 1450629 h 5531266"/>
              <a:gd name="connsiteX34" fmla="*/ 4486187 w 4553447"/>
              <a:gd name="connsiteY34" fmla="*/ 1524330 h 5531266"/>
              <a:gd name="connsiteX35" fmla="*/ 4481306 w 4553447"/>
              <a:gd name="connsiteY35" fmla="*/ 1535289 h 5531266"/>
              <a:gd name="connsiteX36" fmla="*/ 4466878 w 4553447"/>
              <a:gd name="connsiteY36" fmla="*/ 1607363 h 5531266"/>
              <a:gd name="connsiteX37" fmla="*/ 4463163 w 4553447"/>
              <a:gd name="connsiteY37" fmla="*/ 1645395 h 5531266"/>
              <a:gd name="connsiteX38" fmla="*/ 4466823 w 4553447"/>
              <a:gd name="connsiteY38" fmla="*/ 1649850 h 5531266"/>
              <a:gd name="connsiteX39" fmla="*/ 4465173 w 4553447"/>
              <a:gd name="connsiteY39" fmla="*/ 1661048 h 5531266"/>
              <a:gd name="connsiteX40" fmla="*/ 4465585 w 4553447"/>
              <a:gd name="connsiteY40" fmla="*/ 1664107 h 5531266"/>
              <a:gd name="connsiteX41" fmla="*/ 4467096 w 4553447"/>
              <a:gd name="connsiteY41" fmla="*/ 1681560 h 5531266"/>
              <a:gd name="connsiteX42" fmla="*/ 4455626 w 4553447"/>
              <a:gd name="connsiteY42" fmla="*/ 1716455 h 5531266"/>
              <a:gd name="connsiteX43" fmla="*/ 4453566 w 4553447"/>
              <a:gd name="connsiteY43" fmla="*/ 1716581 h 5531266"/>
              <a:gd name="connsiteX44" fmla="*/ 4445068 w 4553447"/>
              <a:gd name="connsiteY44" fmla="*/ 1868666 h 5531266"/>
              <a:gd name="connsiteX45" fmla="*/ 4453759 w 4553447"/>
              <a:gd name="connsiteY45" fmla="*/ 1892828 h 5531266"/>
              <a:gd name="connsiteX46" fmla="*/ 4456037 w 4553447"/>
              <a:gd name="connsiteY46" fmla="*/ 1943047 h 5531266"/>
              <a:gd name="connsiteX47" fmla="*/ 4455156 w 4553447"/>
              <a:gd name="connsiteY47" fmla="*/ 1976676 h 5531266"/>
              <a:gd name="connsiteX48" fmla="*/ 4454694 w 4553447"/>
              <a:gd name="connsiteY48" fmla="*/ 1981536 h 5531266"/>
              <a:gd name="connsiteX49" fmla="*/ 4445574 w 4553447"/>
              <a:gd name="connsiteY49" fmla="*/ 2021434 h 5531266"/>
              <a:gd name="connsiteX50" fmla="*/ 4448839 w 4553447"/>
              <a:gd name="connsiteY50" fmla="*/ 2025379 h 5531266"/>
              <a:gd name="connsiteX51" fmla="*/ 4451680 w 4553447"/>
              <a:gd name="connsiteY51" fmla="*/ 2038196 h 5531266"/>
              <a:gd name="connsiteX52" fmla="*/ 4446939 w 4553447"/>
              <a:gd name="connsiteY52" fmla="*/ 2048781 h 5531266"/>
              <a:gd name="connsiteX53" fmla="*/ 4436755 w 4553447"/>
              <a:gd name="connsiteY53" fmla="*/ 2099011 h 5531266"/>
              <a:gd name="connsiteX54" fmla="*/ 4429424 w 4553447"/>
              <a:gd name="connsiteY54" fmla="*/ 2148592 h 5531266"/>
              <a:gd name="connsiteX55" fmla="*/ 4373341 w 4553447"/>
              <a:gd name="connsiteY55" fmla="*/ 3204925 h 5531266"/>
              <a:gd name="connsiteX56" fmla="*/ 4360555 w 4553447"/>
              <a:gd name="connsiteY56" fmla="*/ 3458573 h 5531266"/>
              <a:gd name="connsiteX57" fmla="*/ 4349470 w 4553447"/>
              <a:gd name="connsiteY57" fmla="*/ 3621276 h 5531266"/>
              <a:gd name="connsiteX58" fmla="*/ 4258709 w 4553447"/>
              <a:gd name="connsiteY58" fmla="*/ 5260213 h 5531266"/>
              <a:gd name="connsiteX59" fmla="*/ 4264007 w 4553447"/>
              <a:gd name="connsiteY59" fmla="*/ 5296918 h 5531266"/>
              <a:gd name="connsiteX60" fmla="*/ 4267541 w 4553447"/>
              <a:gd name="connsiteY60" fmla="*/ 5331382 h 5531266"/>
              <a:gd name="connsiteX61" fmla="*/ 4270373 w 4553447"/>
              <a:gd name="connsiteY61" fmla="*/ 5431691 h 5531266"/>
              <a:gd name="connsiteX62" fmla="*/ 4251816 w 4553447"/>
              <a:gd name="connsiteY62" fmla="*/ 5466096 h 5531266"/>
              <a:gd name="connsiteX63" fmla="*/ 4247164 w 4553447"/>
              <a:gd name="connsiteY63" fmla="*/ 5468796 h 5531266"/>
              <a:gd name="connsiteX64" fmla="*/ 4243707 w 4553447"/>
              <a:gd name="connsiteY64" fmla="*/ 5531243 h 5531266"/>
              <a:gd name="connsiteX65" fmla="*/ 310344 w 4553447"/>
              <a:gd name="connsiteY65" fmla="*/ 5278553 h 5531266"/>
              <a:gd name="connsiteX66" fmla="*/ 0 w 4553447"/>
              <a:gd name="connsiteY66" fmla="*/ 5261459 h 5531266"/>
              <a:gd name="connsiteX67" fmla="*/ 4324 w 4553447"/>
              <a:gd name="connsiteY67" fmla="*/ 5221195 h 5531266"/>
              <a:gd name="connsiteX68" fmla="*/ 8544 w 4553447"/>
              <a:gd name="connsiteY68" fmla="*/ 5214590 h 5531266"/>
              <a:gd name="connsiteX69" fmla="*/ 8813 w 4553447"/>
              <a:gd name="connsiteY69" fmla="*/ 5211844 h 5531266"/>
              <a:gd name="connsiteX70" fmla="*/ 9083 w 4553447"/>
              <a:gd name="connsiteY70" fmla="*/ 5209096 h 5531266"/>
              <a:gd name="connsiteX71" fmla="*/ 9620 w 4553447"/>
              <a:gd name="connsiteY71" fmla="*/ 5203600 h 5531266"/>
              <a:gd name="connsiteX72" fmla="*/ 9305 w 4553447"/>
              <a:gd name="connsiteY72" fmla="*/ 5197697 h 5531266"/>
              <a:gd name="connsiteX73" fmla="*/ 8721 w 4553447"/>
              <a:gd name="connsiteY73" fmla="*/ 5194541 h 5531266"/>
              <a:gd name="connsiteX74" fmla="*/ 8990 w 4553447"/>
              <a:gd name="connsiteY74" fmla="*/ 5191792 h 5531266"/>
              <a:gd name="connsiteX75" fmla="*/ 8674 w 4553447"/>
              <a:gd name="connsiteY75" fmla="*/ 5185889 h 5531266"/>
              <a:gd name="connsiteX76" fmla="*/ 8091 w 4553447"/>
              <a:gd name="connsiteY76" fmla="*/ 5182733 h 5531266"/>
              <a:gd name="connsiteX77" fmla="*/ 7461 w 4553447"/>
              <a:gd name="connsiteY77" fmla="*/ 5170924 h 5531266"/>
              <a:gd name="connsiteX78" fmla="*/ 6877 w 4553447"/>
              <a:gd name="connsiteY78" fmla="*/ 5167769 h 5531266"/>
              <a:gd name="connsiteX79" fmla="*/ 7145 w 4553447"/>
              <a:gd name="connsiteY79" fmla="*/ 5165020 h 5531266"/>
              <a:gd name="connsiteX80" fmla="*/ 5710 w 4553447"/>
              <a:gd name="connsiteY80" fmla="*/ 5161455 h 5531266"/>
              <a:gd name="connsiteX81" fmla="*/ 11122 w 4553447"/>
              <a:gd name="connsiteY81" fmla="*/ 5097858 h 5531266"/>
              <a:gd name="connsiteX82" fmla="*/ 276445 w 4553447"/>
              <a:gd name="connsiteY82" fmla="*/ 0 h 5531266"/>
              <a:gd name="connsiteX0" fmla="*/ 276445 w 4553447"/>
              <a:gd name="connsiteY0" fmla="*/ 0 h 5531266"/>
              <a:gd name="connsiteX1" fmla="*/ 3305612 w 4553447"/>
              <a:gd name="connsiteY1" fmla="*/ 153134 h 5531266"/>
              <a:gd name="connsiteX2" fmla="*/ 4134423 w 4553447"/>
              <a:gd name="connsiteY2" fmla="*/ 208242 h 5531266"/>
              <a:gd name="connsiteX3" fmla="*/ 4507617 w 4553447"/>
              <a:gd name="connsiteY3" fmla="*/ 228666 h 5531266"/>
              <a:gd name="connsiteX4" fmla="*/ 4535496 w 4553447"/>
              <a:gd name="connsiteY4" fmla="*/ 250471 h 5531266"/>
              <a:gd name="connsiteX5" fmla="*/ 4533722 w 4553447"/>
              <a:gd name="connsiteY5" fmla="*/ 282222 h 5531266"/>
              <a:gd name="connsiteX6" fmla="*/ 4536644 w 4553447"/>
              <a:gd name="connsiteY6" fmla="*/ 283939 h 5531266"/>
              <a:gd name="connsiteX7" fmla="*/ 4553070 w 4553447"/>
              <a:gd name="connsiteY7" fmla="*/ 315514 h 5531266"/>
              <a:gd name="connsiteX8" fmla="*/ 4530809 w 4553447"/>
              <a:gd name="connsiteY8" fmla="*/ 373160 h 5531266"/>
              <a:gd name="connsiteX9" fmla="*/ 4527321 w 4553447"/>
              <a:gd name="connsiteY9" fmla="*/ 396781 h 5531266"/>
              <a:gd name="connsiteX10" fmla="*/ 4522216 w 4553447"/>
              <a:gd name="connsiteY10" fmla="*/ 488120 h 5531266"/>
              <a:gd name="connsiteX11" fmla="*/ 4521566 w 4553447"/>
              <a:gd name="connsiteY11" fmla="*/ 534537 h 5531266"/>
              <a:gd name="connsiteX12" fmla="*/ 4518467 w 4553447"/>
              <a:gd name="connsiteY12" fmla="*/ 563001 h 5531266"/>
              <a:gd name="connsiteX13" fmla="*/ 4517798 w 4553447"/>
              <a:gd name="connsiteY13" fmla="*/ 567182 h 5531266"/>
              <a:gd name="connsiteX14" fmla="*/ 4504861 w 4553447"/>
              <a:gd name="connsiteY14" fmla="*/ 798696 h 5531266"/>
              <a:gd name="connsiteX15" fmla="*/ 4506574 w 4553447"/>
              <a:gd name="connsiteY15" fmla="*/ 803530 h 5531266"/>
              <a:gd name="connsiteX16" fmla="*/ 4504423 w 4553447"/>
              <a:gd name="connsiteY16" fmla="*/ 827361 h 5531266"/>
              <a:gd name="connsiteX17" fmla="*/ 4502823 w 4553447"/>
              <a:gd name="connsiteY17" fmla="*/ 835146 h 5531266"/>
              <a:gd name="connsiteX18" fmla="*/ 4496585 w 4553447"/>
              <a:gd name="connsiteY18" fmla="*/ 946777 h 5531266"/>
              <a:gd name="connsiteX19" fmla="*/ 4498662 w 4553447"/>
              <a:gd name="connsiteY19" fmla="*/ 947677 h 5531266"/>
              <a:gd name="connsiteX20" fmla="*/ 4502781 w 4553447"/>
              <a:gd name="connsiteY20" fmla="*/ 983859 h 5531266"/>
              <a:gd name="connsiteX21" fmla="*/ 4497983 w 4553447"/>
              <a:gd name="connsiteY21" fmla="*/ 1082386 h 5531266"/>
              <a:gd name="connsiteX22" fmla="*/ 4497878 w 4553447"/>
              <a:gd name="connsiteY22" fmla="*/ 1140681 h 5531266"/>
              <a:gd name="connsiteX23" fmla="*/ 4502181 w 4553447"/>
              <a:gd name="connsiteY23" fmla="*/ 1161797 h 5531266"/>
              <a:gd name="connsiteX24" fmla="*/ 4505271 w 4553447"/>
              <a:gd name="connsiteY24" fmla="*/ 1191979 h 5531266"/>
              <a:gd name="connsiteX25" fmla="*/ 4514088 w 4553447"/>
              <a:gd name="connsiteY25" fmla="*/ 1244449 h 5531266"/>
              <a:gd name="connsiteX26" fmla="*/ 4516365 w 4553447"/>
              <a:gd name="connsiteY26" fmla="*/ 1294666 h 5531266"/>
              <a:gd name="connsiteX27" fmla="*/ 4515485 w 4553447"/>
              <a:gd name="connsiteY27" fmla="*/ 1328296 h 5531266"/>
              <a:gd name="connsiteX28" fmla="*/ 4515022 w 4553447"/>
              <a:gd name="connsiteY28" fmla="*/ 1333156 h 5531266"/>
              <a:gd name="connsiteX29" fmla="*/ 4505903 w 4553447"/>
              <a:gd name="connsiteY29" fmla="*/ 1373054 h 5531266"/>
              <a:gd name="connsiteX30" fmla="*/ 4509167 w 4553447"/>
              <a:gd name="connsiteY30" fmla="*/ 1376999 h 5531266"/>
              <a:gd name="connsiteX31" fmla="*/ 4512009 w 4553447"/>
              <a:gd name="connsiteY31" fmla="*/ 1389816 h 5531266"/>
              <a:gd name="connsiteX32" fmla="*/ 4507268 w 4553447"/>
              <a:gd name="connsiteY32" fmla="*/ 1400401 h 5531266"/>
              <a:gd name="connsiteX33" fmla="*/ 4497084 w 4553447"/>
              <a:gd name="connsiteY33" fmla="*/ 1450629 h 5531266"/>
              <a:gd name="connsiteX34" fmla="*/ 4486187 w 4553447"/>
              <a:gd name="connsiteY34" fmla="*/ 1524330 h 5531266"/>
              <a:gd name="connsiteX35" fmla="*/ 4481306 w 4553447"/>
              <a:gd name="connsiteY35" fmla="*/ 1535289 h 5531266"/>
              <a:gd name="connsiteX36" fmla="*/ 4466878 w 4553447"/>
              <a:gd name="connsiteY36" fmla="*/ 1607363 h 5531266"/>
              <a:gd name="connsiteX37" fmla="*/ 4463163 w 4553447"/>
              <a:gd name="connsiteY37" fmla="*/ 1645395 h 5531266"/>
              <a:gd name="connsiteX38" fmla="*/ 4466823 w 4553447"/>
              <a:gd name="connsiteY38" fmla="*/ 1649850 h 5531266"/>
              <a:gd name="connsiteX39" fmla="*/ 4465173 w 4553447"/>
              <a:gd name="connsiteY39" fmla="*/ 1661048 h 5531266"/>
              <a:gd name="connsiteX40" fmla="*/ 4465585 w 4553447"/>
              <a:gd name="connsiteY40" fmla="*/ 1664107 h 5531266"/>
              <a:gd name="connsiteX41" fmla="*/ 4467096 w 4553447"/>
              <a:gd name="connsiteY41" fmla="*/ 1681560 h 5531266"/>
              <a:gd name="connsiteX42" fmla="*/ 4455626 w 4553447"/>
              <a:gd name="connsiteY42" fmla="*/ 1716455 h 5531266"/>
              <a:gd name="connsiteX43" fmla="*/ 4453566 w 4553447"/>
              <a:gd name="connsiteY43" fmla="*/ 1716581 h 5531266"/>
              <a:gd name="connsiteX44" fmla="*/ 4445068 w 4553447"/>
              <a:gd name="connsiteY44" fmla="*/ 1868666 h 5531266"/>
              <a:gd name="connsiteX45" fmla="*/ 4453759 w 4553447"/>
              <a:gd name="connsiteY45" fmla="*/ 1892828 h 5531266"/>
              <a:gd name="connsiteX46" fmla="*/ 4456037 w 4553447"/>
              <a:gd name="connsiteY46" fmla="*/ 1943047 h 5531266"/>
              <a:gd name="connsiteX47" fmla="*/ 4455156 w 4553447"/>
              <a:gd name="connsiteY47" fmla="*/ 1976676 h 5531266"/>
              <a:gd name="connsiteX48" fmla="*/ 4454694 w 4553447"/>
              <a:gd name="connsiteY48" fmla="*/ 1981536 h 5531266"/>
              <a:gd name="connsiteX49" fmla="*/ 4445574 w 4553447"/>
              <a:gd name="connsiteY49" fmla="*/ 2021434 h 5531266"/>
              <a:gd name="connsiteX50" fmla="*/ 4448839 w 4553447"/>
              <a:gd name="connsiteY50" fmla="*/ 2025379 h 5531266"/>
              <a:gd name="connsiteX51" fmla="*/ 4451680 w 4553447"/>
              <a:gd name="connsiteY51" fmla="*/ 2038196 h 5531266"/>
              <a:gd name="connsiteX52" fmla="*/ 4446939 w 4553447"/>
              <a:gd name="connsiteY52" fmla="*/ 2048781 h 5531266"/>
              <a:gd name="connsiteX53" fmla="*/ 4436755 w 4553447"/>
              <a:gd name="connsiteY53" fmla="*/ 2099011 h 5531266"/>
              <a:gd name="connsiteX54" fmla="*/ 4429424 w 4553447"/>
              <a:gd name="connsiteY54" fmla="*/ 2148592 h 5531266"/>
              <a:gd name="connsiteX55" fmla="*/ 4373341 w 4553447"/>
              <a:gd name="connsiteY55" fmla="*/ 3204925 h 5531266"/>
              <a:gd name="connsiteX56" fmla="*/ 4360555 w 4553447"/>
              <a:gd name="connsiteY56" fmla="*/ 3458573 h 5531266"/>
              <a:gd name="connsiteX57" fmla="*/ 4349470 w 4553447"/>
              <a:gd name="connsiteY57" fmla="*/ 3621276 h 5531266"/>
              <a:gd name="connsiteX58" fmla="*/ 4258709 w 4553447"/>
              <a:gd name="connsiteY58" fmla="*/ 5260213 h 5531266"/>
              <a:gd name="connsiteX59" fmla="*/ 4264007 w 4553447"/>
              <a:gd name="connsiteY59" fmla="*/ 5296918 h 5531266"/>
              <a:gd name="connsiteX60" fmla="*/ 4267541 w 4553447"/>
              <a:gd name="connsiteY60" fmla="*/ 5331382 h 5531266"/>
              <a:gd name="connsiteX61" fmla="*/ 4270373 w 4553447"/>
              <a:gd name="connsiteY61" fmla="*/ 5431691 h 5531266"/>
              <a:gd name="connsiteX62" fmla="*/ 4251816 w 4553447"/>
              <a:gd name="connsiteY62" fmla="*/ 5466096 h 5531266"/>
              <a:gd name="connsiteX63" fmla="*/ 4247164 w 4553447"/>
              <a:gd name="connsiteY63" fmla="*/ 5468796 h 5531266"/>
              <a:gd name="connsiteX64" fmla="*/ 4243707 w 4553447"/>
              <a:gd name="connsiteY64" fmla="*/ 5531243 h 5531266"/>
              <a:gd name="connsiteX65" fmla="*/ 310344 w 4553447"/>
              <a:gd name="connsiteY65" fmla="*/ 5278553 h 5531266"/>
              <a:gd name="connsiteX66" fmla="*/ 0 w 4553447"/>
              <a:gd name="connsiteY66" fmla="*/ 5261459 h 5531266"/>
              <a:gd name="connsiteX67" fmla="*/ 4324 w 4553447"/>
              <a:gd name="connsiteY67" fmla="*/ 5221195 h 5531266"/>
              <a:gd name="connsiteX68" fmla="*/ 8544 w 4553447"/>
              <a:gd name="connsiteY68" fmla="*/ 5214590 h 5531266"/>
              <a:gd name="connsiteX69" fmla="*/ 8813 w 4553447"/>
              <a:gd name="connsiteY69" fmla="*/ 5211844 h 5531266"/>
              <a:gd name="connsiteX70" fmla="*/ 9083 w 4553447"/>
              <a:gd name="connsiteY70" fmla="*/ 5209096 h 5531266"/>
              <a:gd name="connsiteX71" fmla="*/ 9620 w 4553447"/>
              <a:gd name="connsiteY71" fmla="*/ 5203600 h 5531266"/>
              <a:gd name="connsiteX72" fmla="*/ 9305 w 4553447"/>
              <a:gd name="connsiteY72" fmla="*/ 5197697 h 5531266"/>
              <a:gd name="connsiteX73" fmla="*/ 8721 w 4553447"/>
              <a:gd name="connsiteY73" fmla="*/ 5194541 h 5531266"/>
              <a:gd name="connsiteX74" fmla="*/ 8990 w 4553447"/>
              <a:gd name="connsiteY74" fmla="*/ 5191792 h 5531266"/>
              <a:gd name="connsiteX75" fmla="*/ 8674 w 4553447"/>
              <a:gd name="connsiteY75" fmla="*/ 5185889 h 5531266"/>
              <a:gd name="connsiteX76" fmla="*/ 8091 w 4553447"/>
              <a:gd name="connsiteY76" fmla="*/ 5182733 h 5531266"/>
              <a:gd name="connsiteX77" fmla="*/ 7461 w 4553447"/>
              <a:gd name="connsiteY77" fmla="*/ 5170924 h 5531266"/>
              <a:gd name="connsiteX78" fmla="*/ 6877 w 4553447"/>
              <a:gd name="connsiteY78" fmla="*/ 5167769 h 5531266"/>
              <a:gd name="connsiteX79" fmla="*/ 7145 w 4553447"/>
              <a:gd name="connsiteY79" fmla="*/ 5165020 h 5531266"/>
              <a:gd name="connsiteX80" fmla="*/ 5710 w 4553447"/>
              <a:gd name="connsiteY80" fmla="*/ 5161455 h 5531266"/>
              <a:gd name="connsiteX81" fmla="*/ 276445 w 4553447"/>
              <a:gd name="connsiteY81" fmla="*/ 0 h 5531266"/>
              <a:gd name="connsiteX0" fmla="*/ 324515 w 4601517"/>
              <a:gd name="connsiteY0" fmla="*/ 0 h 5548359"/>
              <a:gd name="connsiteX1" fmla="*/ 3353682 w 4601517"/>
              <a:gd name="connsiteY1" fmla="*/ 153134 h 5548359"/>
              <a:gd name="connsiteX2" fmla="*/ 4182493 w 4601517"/>
              <a:gd name="connsiteY2" fmla="*/ 208242 h 5548359"/>
              <a:gd name="connsiteX3" fmla="*/ 4555687 w 4601517"/>
              <a:gd name="connsiteY3" fmla="*/ 228666 h 5548359"/>
              <a:gd name="connsiteX4" fmla="*/ 4583566 w 4601517"/>
              <a:gd name="connsiteY4" fmla="*/ 250471 h 5548359"/>
              <a:gd name="connsiteX5" fmla="*/ 4581792 w 4601517"/>
              <a:gd name="connsiteY5" fmla="*/ 282222 h 5548359"/>
              <a:gd name="connsiteX6" fmla="*/ 4584714 w 4601517"/>
              <a:gd name="connsiteY6" fmla="*/ 283939 h 5548359"/>
              <a:gd name="connsiteX7" fmla="*/ 4601140 w 4601517"/>
              <a:gd name="connsiteY7" fmla="*/ 315514 h 5548359"/>
              <a:gd name="connsiteX8" fmla="*/ 4578879 w 4601517"/>
              <a:gd name="connsiteY8" fmla="*/ 373160 h 5548359"/>
              <a:gd name="connsiteX9" fmla="*/ 4575391 w 4601517"/>
              <a:gd name="connsiteY9" fmla="*/ 396781 h 5548359"/>
              <a:gd name="connsiteX10" fmla="*/ 4570286 w 4601517"/>
              <a:gd name="connsiteY10" fmla="*/ 488120 h 5548359"/>
              <a:gd name="connsiteX11" fmla="*/ 4569636 w 4601517"/>
              <a:gd name="connsiteY11" fmla="*/ 534537 h 5548359"/>
              <a:gd name="connsiteX12" fmla="*/ 4566537 w 4601517"/>
              <a:gd name="connsiteY12" fmla="*/ 563001 h 5548359"/>
              <a:gd name="connsiteX13" fmla="*/ 4565868 w 4601517"/>
              <a:gd name="connsiteY13" fmla="*/ 567182 h 5548359"/>
              <a:gd name="connsiteX14" fmla="*/ 4552931 w 4601517"/>
              <a:gd name="connsiteY14" fmla="*/ 798696 h 5548359"/>
              <a:gd name="connsiteX15" fmla="*/ 4554644 w 4601517"/>
              <a:gd name="connsiteY15" fmla="*/ 803530 h 5548359"/>
              <a:gd name="connsiteX16" fmla="*/ 4552493 w 4601517"/>
              <a:gd name="connsiteY16" fmla="*/ 827361 h 5548359"/>
              <a:gd name="connsiteX17" fmla="*/ 4550893 w 4601517"/>
              <a:gd name="connsiteY17" fmla="*/ 835146 h 5548359"/>
              <a:gd name="connsiteX18" fmla="*/ 4544655 w 4601517"/>
              <a:gd name="connsiteY18" fmla="*/ 946777 h 5548359"/>
              <a:gd name="connsiteX19" fmla="*/ 4546732 w 4601517"/>
              <a:gd name="connsiteY19" fmla="*/ 947677 h 5548359"/>
              <a:gd name="connsiteX20" fmla="*/ 4550851 w 4601517"/>
              <a:gd name="connsiteY20" fmla="*/ 983859 h 5548359"/>
              <a:gd name="connsiteX21" fmla="*/ 4546053 w 4601517"/>
              <a:gd name="connsiteY21" fmla="*/ 1082386 h 5548359"/>
              <a:gd name="connsiteX22" fmla="*/ 4545948 w 4601517"/>
              <a:gd name="connsiteY22" fmla="*/ 1140681 h 5548359"/>
              <a:gd name="connsiteX23" fmla="*/ 4550251 w 4601517"/>
              <a:gd name="connsiteY23" fmla="*/ 1161797 h 5548359"/>
              <a:gd name="connsiteX24" fmla="*/ 4553341 w 4601517"/>
              <a:gd name="connsiteY24" fmla="*/ 1191979 h 5548359"/>
              <a:gd name="connsiteX25" fmla="*/ 4562158 w 4601517"/>
              <a:gd name="connsiteY25" fmla="*/ 1244449 h 5548359"/>
              <a:gd name="connsiteX26" fmla="*/ 4564435 w 4601517"/>
              <a:gd name="connsiteY26" fmla="*/ 1294666 h 5548359"/>
              <a:gd name="connsiteX27" fmla="*/ 4563555 w 4601517"/>
              <a:gd name="connsiteY27" fmla="*/ 1328296 h 5548359"/>
              <a:gd name="connsiteX28" fmla="*/ 4563092 w 4601517"/>
              <a:gd name="connsiteY28" fmla="*/ 1333156 h 5548359"/>
              <a:gd name="connsiteX29" fmla="*/ 4553973 w 4601517"/>
              <a:gd name="connsiteY29" fmla="*/ 1373054 h 5548359"/>
              <a:gd name="connsiteX30" fmla="*/ 4557237 w 4601517"/>
              <a:gd name="connsiteY30" fmla="*/ 1376999 h 5548359"/>
              <a:gd name="connsiteX31" fmla="*/ 4560079 w 4601517"/>
              <a:gd name="connsiteY31" fmla="*/ 1389816 h 5548359"/>
              <a:gd name="connsiteX32" fmla="*/ 4555338 w 4601517"/>
              <a:gd name="connsiteY32" fmla="*/ 1400401 h 5548359"/>
              <a:gd name="connsiteX33" fmla="*/ 4545154 w 4601517"/>
              <a:gd name="connsiteY33" fmla="*/ 1450629 h 5548359"/>
              <a:gd name="connsiteX34" fmla="*/ 4534257 w 4601517"/>
              <a:gd name="connsiteY34" fmla="*/ 1524330 h 5548359"/>
              <a:gd name="connsiteX35" fmla="*/ 4529376 w 4601517"/>
              <a:gd name="connsiteY35" fmla="*/ 1535289 h 5548359"/>
              <a:gd name="connsiteX36" fmla="*/ 4514948 w 4601517"/>
              <a:gd name="connsiteY36" fmla="*/ 1607363 h 5548359"/>
              <a:gd name="connsiteX37" fmla="*/ 4511233 w 4601517"/>
              <a:gd name="connsiteY37" fmla="*/ 1645395 h 5548359"/>
              <a:gd name="connsiteX38" fmla="*/ 4514893 w 4601517"/>
              <a:gd name="connsiteY38" fmla="*/ 1649850 h 5548359"/>
              <a:gd name="connsiteX39" fmla="*/ 4513243 w 4601517"/>
              <a:gd name="connsiteY39" fmla="*/ 1661048 h 5548359"/>
              <a:gd name="connsiteX40" fmla="*/ 4513655 w 4601517"/>
              <a:gd name="connsiteY40" fmla="*/ 1664107 h 5548359"/>
              <a:gd name="connsiteX41" fmla="*/ 4515166 w 4601517"/>
              <a:gd name="connsiteY41" fmla="*/ 1681560 h 5548359"/>
              <a:gd name="connsiteX42" fmla="*/ 4503696 w 4601517"/>
              <a:gd name="connsiteY42" fmla="*/ 1716455 h 5548359"/>
              <a:gd name="connsiteX43" fmla="*/ 4501636 w 4601517"/>
              <a:gd name="connsiteY43" fmla="*/ 1716581 h 5548359"/>
              <a:gd name="connsiteX44" fmla="*/ 4493138 w 4601517"/>
              <a:gd name="connsiteY44" fmla="*/ 1868666 h 5548359"/>
              <a:gd name="connsiteX45" fmla="*/ 4501829 w 4601517"/>
              <a:gd name="connsiteY45" fmla="*/ 1892828 h 5548359"/>
              <a:gd name="connsiteX46" fmla="*/ 4504107 w 4601517"/>
              <a:gd name="connsiteY46" fmla="*/ 1943047 h 5548359"/>
              <a:gd name="connsiteX47" fmla="*/ 4503226 w 4601517"/>
              <a:gd name="connsiteY47" fmla="*/ 1976676 h 5548359"/>
              <a:gd name="connsiteX48" fmla="*/ 4502764 w 4601517"/>
              <a:gd name="connsiteY48" fmla="*/ 1981536 h 5548359"/>
              <a:gd name="connsiteX49" fmla="*/ 4493644 w 4601517"/>
              <a:gd name="connsiteY49" fmla="*/ 2021434 h 5548359"/>
              <a:gd name="connsiteX50" fmla="*/ 4496909 w 4601517"/>
              <a:gd name="connsiteY50" fmla="*/ 2025379 h 5548359"/>
              <a:gd name="connsiteX51" fmla="*/ 4499750 w 4601517"/>
              <a:gd name="connsiteY51" fmla="*/ 2038196 h 5548359"/>
              <a:gd name="connsiteX52" fmla="*/ 4495009 w 4601517"/>
              <a:gd name="connsiteY52" fmla="*/ 2048781 h 5548359"/>
              <a:gd name="connsiteX53" fmla="*/ 4484825 w 4601517"/>
              <a:gd name="connsiteY53" fmla="*/ 2099011 h 5548359"/>
              <a:gd name="connsiteX54" fmla="*/ 4477494 w 4601517"/>
              <a:gd name="connsiteY54" fmla="*/ 2148592 h 5548359"/>
              <a:gd name="connsiteX55" fmla="*/ 4421411 w 4601517"/>
              <a:gd name="connsiteY55" fmla="*/ 3204925 h 5548359"/>
              <a:gd name="connsiteX56" fmla="*/ 4408625 w 4601517"/>
              <a:gd name="connsiteY56" fmla="*/ 3458573 h 5548359"/>
              <a:gd name="connsiteX57" fmla="*/ 4397540 w 4601517"/>
              <a:gd name="connsiteY57" fmla="*/ 3621276 h 5548359"/>
              <a:gd name="connsiteX58" fmla="*/ 4306779 w 4601517"/>
              <a:gd name="connsiteY58" fmla="*/ 5260213 h 5548359"/>
              <a:gd name="connsiteX59" fmla="*/ 4312077 w 4601517"/>
              <a:gd name="connsiteY59" fmla="*/ 5296918 h 5548359"/>
              <a:gd name="connsiteX60" fmla="*/ 4315611 w 4601517"/>
              <a:gd name="connsiteY60" fmla="*/ 5331382 h 5548359"/>
              <a:gd name="connsiteX61" fmla="*/ 4318443 w 4601517"/>
              <a:gd name="connsiteY61" fmla="*/ 5431691 h 5548359"/>
              <a:gd name="connsiteX62" fmla="*/ 4299886 w 4601517"/>
              <a:gd name="connsiteY62" fmla="*/ 5466096 h 5548359"/>
              <a:gd name="connsiteX63" fmla="*/ 4295234 w 4601517"/>
              <a:gd name="connsiteY63" fmla="*/ 5468796 h 5548359"/>
              <a:gd name="connsiteX64" fmla="*/ 4291777 w 4601517"/>
              <a:gd name="connsiteY64" fmla="*/ 5531243 h 5548359"/>
              <a:gd name="connsiteX65" fmla="*/ 358414 w 4601517"/>
              <a:gd name="connsiteY65" fmla="*/ 5278553 h 5548359"/>
              <a:gd name="connsiteX66" fmla="*/ 48070 w 4601517"/>
              <a:gd name="connsiteY66" fmla="*/ 5261459 h 5548359"/>
              <a:gd name="connsiteX67" fmla="*/ 52394 w 4601517"/>
              <a:gd name="connsiteY67" fmla="*/ 5221195 h 5548359"/>
              <a:gd name="connsiteX68" fmla="*/ 56614 w 4601517"/>
              <a:gd name="connsiteY68" fmla="*/ 5214590 h 5548359"/>
              <a:gd name="connsiteX69" fmla="*/ 56883 w 4601517"/>
              <a:gd name="connsiteY69" fmla="*/ 5211844 h 5548359"/>
              <a:gd name="connsiteX70" fmla="*/ 57153 w 4601517"/>
              <a:gd name="connsiteY70" fmla="*/ 5209096 h 5548359"/>
              <a:gd name="connsiteX71" fmla="*/ 57690 w 4601517"/>
              <a:gd name="connsiteY71" fmla="*/ 5203600 h 5548359"/>
              <a:gd name="connsiteX72" fmla="*/ 57375 w 4601517"/>
              <a:gd name="connsiteY72" fmla="*/ 5197697 h 5548359"/>
              <a:gd name="connsiteX73" fmla="*/ 56791 w 4601517"/>
              <a:gd name="connsiteY73" fmla="*/ 5194541 h 5548359"/>
              <a:gd name="connsiteX74" fmla="*/ 57060 w 4601517"/>
              <a:gd name="connsiteY74" fmla="*/ 5191792 h 5548359"/>
              <a:gd name="connsiteX75" fmla="*/ 56744 w 4601517"/>
              <a:gd name="connsiteY75" fmla="*/ 5185889 h 5548359"/>
              <a:gd name="connsiteX76" fmla="*/ 56161 w 4601517"/>
              <a:gd name="connsiteY76" fmla="*/ 5182733 h 5548359"/>
              <a:gd name="connsiteX77" fmla="*/ 55531 w 4601517"/>
              <a:gd name="connsiteY77" fmla="*/ 5170924 h 5548359"/>
              <a:gd name="connsiteX78" fmla="*/ 54947 w 4601517"/>
              <a:gd name="connsiteY78" fmla="*/ 5167769 h 5548359"/>
              <a:gd name="connsiteX79" fmla="*/ 55215 w 4601517"/>
              <a:gd name="connsiteY79" fmla="*/ 5165020 h 5548359"/>
              <a:gd name="connsiteX80" fmla="*/ 324515 w 4601517"/>
              <a:gd name="connsiteY80" fmla="*/ 0 h 5548359"/>
              <a:gd name="connsiteX0" fmla="*/ 324691 w 4601693"/>
              <a:gd name="connsiteY0" fmla="*/ 0 h 5531266"/>
              <a:gd name="connsiteX1" fmla="*/ 3353858 w 4601693"/>
              <a:gd name="connsiteY1" fmla="*/ 153134 h 5531266"/>
              <a:gd name="connsiteX2" fmla="*/ 4182669 w 4601693"/>
              <a:gd name="connsiteY2" fmla="*/ 208242 h 5531266"/>
              <a:gd name="connsiteX3" fmla="*/ 4555863 w 4601693"/>
              <a:gd name="connsiteY3" fmla="*/ 228666 h 5531266"/>
              <a:gd name="connsiteX4" fmla="*/ 4583742 w 4601693"/>
              <a:gd name="connsiteY4" fmla="*/ 250471 h 5531266"/>
              <a:gd name="connsiteX5" fmla="*/ 4581968 w 4601693"/>
              <a:gd name="connsiteY5" fmla="*/ 282222 h 5531266"/>
              <a:gd name="connsiteX6" fmla="*/ 4584890 w 4601693"/>
              <a:gd name="connsiteY6" fmla="*/ 283939 h 5531266"/>
              <a:gd name="connsiteX7" fmla="*/ 4601316 w 4601693"/>
              <a:gd name="connsiteY7" fmla="*/ 315514 h 5531266"/>
              <a:gd name="connsiteX8" fmla="*/ 4579055 w 4601693"/>
              <a:gd name="connsiteY8" fmla="*/ 373160 h 5531266"/>
              <a:gd name="connsiteX9" fmla="*/ 4575567 w 4601693"/>
              <a:gd name="connsiteY9" fmla="*/ 396781 h 5531266"/>
              <a:gd name="connsiteX10" fmla="*/ 4570462 w 4601693"/>
              <a:gd name="connsiteY10" fmla="*/ 488120 h 5531266"/>
              <a:gd name="connsiteX11" fmla="*/ 4569812 w 4601693"/>
              <a:gd name="connsiteY11" fmla="*/ 534537 h 5531266"/>
              <a:gd name="connsiteX12" fmla="*/ 4566713 w 4601693"/>
              <a:gd name="connsiteY12" fmla="*/ 563001 h 5531266"/>
              <a:gd name="connsiteX13" fmla="*/ 4566044 w 4601693"/>
              <a:gd name="connsiteY13" fmla="*/ 567182 h 5531266"/>
              <a:gd name="connsiteX14" fmla="*/ 4553107 w 4601693"/>
              <a:gd name="connsiteY14" fmla="*/ 798696 h 5531266"/>
              <a:gd name="connsiteX15" fmla="*/ 4554820 w 4601693"/>
              <a:gd name="connsiteY15" fmla="*/ 803530 h 5531266"/>
              <a:gd name="connsiteX16" fmla="*/ 4552669 w 4601693"/>
              <a:gd name="connsiteY16" fmla="*/ 827361 h 5531266"/>
              <a:gd name="connsiteX17" fmla="*/ 4551069 w 4601693"/>
              <a:gd name="connsiteY17" fmla="*/ 835146 h 5531266"/>
              <a:gd name="connsiteX18" fmla="*/ 4544831 w 4601693"/>
              <a:gd name="connsiteY18" fmla="*/ 946777 h 5531266"/>
              <a:gd name="connsiteX19" fmla="*/ 4546908 w 4601693"/>
              <a:gd name="connsiteY19" fmla="*/ 947677 h 5531266"/>
              <a:gd name="connsiteX20" fmla="*/ 4551027 w 4601693"/>
              <a:gd name="connsiteY20" fmla="*/ 983859 h 5531266"/>
              <a:gd name="connsiteX21" fmla="*/ 4546229 w 4601693"/>
              <a:gd name="connsiteY21" fmla="*/ 1082386 h 5531266"/>
              <a:gd name="connsiteX22" fmla="*/ 4546124 w 4601693"/>
              <a:gd name="connsiteY22" fmla="*/ 1140681 h 5531266"/>
              <a:gd name="connsiteX23" fmla="*/ 4550427 w 4601693"/>
              <a:gd name="connsiteY23" fmla="*/ 1161797 h 5531266"/>
              <a:gd name="connsiteX24" fmla="*/ 4553517 w 4601693"/>
              <a:gd name="connsiteY24" fmla="*/ 1191979 h 5531266"/>
              <a:gd name="connsiteX25" fmla="*/ 4562334 w 4601693"/>
              <a:gd name="connsiteY25" fmla="*/ 1244449 h 5531266"/>
              <a:gd name="connsiteX26" fmla="*/ 4564611 w 4601693"/>
              <a:gd name="connsiteY26" fmla="*/ 1294666 h 5531266"/>
              <a:gd name="connsiteX27" fmla="*/ 4563731 w 4601693"/>
              <a:gd name="connsiteY27" fmla="*/ 1328296 h 5531266"/>
              <a:gd name="connsiteX28" fmla="*/ 4563268 w 4601693"/>
              <a:gd name="connsiteY28" fmla="*/ 1333156 h 5531266"/>
              <a:gd name="connsiteX29" fmla="*/ 4554149 w 4601693"/>
              <a:gd name="connsiteY29" fmla="*/ 1373054 h 5531266"/>
              <a:gd name="connsiteX30" fmla="*/ 4557413 w 4601693"/>
              <a:gd name="connsiteY30" fmla="*/ 1376999 h 5531266"/>
              <a:gd name="connsiteX31" fmla="*/ 4560255 w 4601693"/>
              <a:gd name="connsiteY31" fmla="*/ 1389816 h 5531266"/>
              <a:gd name="connsiteX32" fmla="*/ 4555514 w 4601693"/>
              <a:gd name="connsiteY32" fmla="*/ 1400401 h 5531266"/>
              <a:gd name="connsiteX33" fmla="*/ 4545330 w 4601693"/>
              <a:gd name="connsiteY33" fmla="*/ 1450629 h 5531266"/>
              <a:gd name="connsiteX34" fmla="*/ 4534433 w 4601693"/>
              <a:gd name="connsiteY34" fmla="*/ 1524330 h 5531266"/>
              <a:gd name="connsiteX35" fmla="*/ 4529552 w 4601693"/>
              <a:gd name="connsiteY35" fmla="*/ 1535289 h 5531266"/>
              <a:gd name="connsiteX36" fmla="*/ 4515124 w 4601693"/>
              <a:gd name="connsiteY36" fmla="*/ 1607363 h 5531266"/>
              <a:gd name="connsiteX37" fmla="*/ 4511409 w 4601693"/>
              <a:gd name="connsiteY37" fmla="*/ 1645395 h 5531266"/>
              <a:gd name="connsiteX38" fmla="*/ 4515069 w 4601693"/>
              <a:gd name="connsiteY38" fmla="*/ 1649850 h 5531266"/>
              <a:gd name="connsiteX39" fmla="*/ 4513419 w 4601693"/>
              <a:gd name="connsiteY39" fmla="*/ 1661048 h 5531266"/>
              <a:gd name="connsiteX40" fmla="*/ 4513831 w 4601693"/>
              <a:gd name="connsiteY40" fmla="*/ 1664107 h 5531266"/>
              <a:gd name="connsiteX41" fmla="*/ 4515342 w 4601693"/>
              <a:gd name="connsiteY41" fmla="*/ 1681560 h 5531266"/>
              <a:gd name="connsiteX42" fmla="*/ 4503872 w 4601693"/>
              <a:gd name="connsiteY42" fmla="*/ 1716455 h 5531266"/>
              <a:gd name="connsiteX43" fmla="*/ 4501812 w 4601693"/>
              <a:gd name="connsiteY43" fmla="*/ 1716581 h 5531266"/>
              <a:gd name="connsiteX44" fmla="*/ 4493314 w 4601693"/>
              <a:gd name="connsiteY44" fmla="*/ 1868666 h 5531266"/>
              <a:gd name="connsiteX45" fmla="*/ 4502005 w 4601693"/>
              <a:gd name="connsiteY45" fmla="*/ 1892828 h 5531266"/>
              <a:gd name="connsiteX46" fmla="*/ 4504283 w 4601693"/>
              <a:gd name="connsiteY46" fmla="*/ 1943047 h 5531266"/>
              <a:gd name="connsiteX47" fmla="*/ 4503402 w 4601693"/>
              <a:gd name="connsiteY47" fmla="*/ 1976676 h 5531266"/>
              <a:gd name="connsiteX48" fmla="*/ 4502940 w 4601693"/>
              <a:gd name="connsiteY48" fmla="*/ 1981536 h 5531266"/>
              <a:gd name="connsiteX49" fmla="*/ 4493820 w 4601693"/>
              <a:gd name="connsiteY49" fmla="*/ 2021434 h 5531266"/>
              <a:gd name="connsiteX50" fmla="*/ 4497085 w 4601693"/>
              <a:gd name="connsiteY50" fmla="*/ 2025379 h 5531266"/>
              <a:gd name="connsiteX51" fmla="*/ 4499926 w 4601693"/>
              <a:gd name="connsiteY51" fmla="*/ 2038196 h 5531266"/>
              <a:gd name="connsiteX52" fmla="*/ 4495185 w 4601693"/>
              <a:gd name="connsiteY52" fmla="*/ 2048781 h 5531266"/>
              <a:gd name="connsiteX53" fmla="*/ 4485001 w 4601693"/>
              <a:gd name="connsiteY53" fmla="*/ 2099011 h 5531266"/>
              <a:gd name="connsiteX54" fmla="*/ 4477670 w 4601693"/>
              <a:gd name="connsiteY54" fmla="*/ 2148592 h 5531266"/>
              <a:gd name="connsiteX55" fmla="*/ 4421587 w 4601693"/>
              <a:gd name="connsiteY55" fmla="*/ 3204925 h 5531266"/>
              <a:gd name="connsiteX56" fmla="*/ 4408801 w 4601693"/>
              <a:gd name="connsiteY56" fmla="*/ 3458573 h 5531266"/>
              <a:gd name="connsiteX57" fmla="*/ 4397716 w 4601693"/>
              <a:gd name="connsiteY57" fmla="*/ 3621276 h 5531266"/>
              <a:gd name="connsiteX58" fmla="*/ 4306955 w 4601693"/>
              <a:gd name="connsiteY58" fmla="*/ 5260213 h 5531266"/>
              <a:gd name="connsiteX59" fmla="*/ 4312253 w 4601693"/>
              <a:gd name="connsiteY59" fmla="*/ 5296918 h 5531266"/>
              <a:gd name="connsiteX60" fmla="*/ 4315787 w 4601693"/>
              <a:gd name="connsiteY60" fmla="*/ 5331382 h 5531266"/>
              <a:gd name="connsiteX61" fmla="*/ 4318619 w 4601693"/>
              <a:gd name="connsiteY61" fmla="*/ 5431691 h 5531266"/>
              <a:gd name="connsiteX62" fmla="*/ 4300062 w 4601693"/>
              <a:gd name="connsiteY62" fmla="*/ 5466096 h 5531266"/>
              <a:gd name="connsiteX63" fmla="*/ 4295410 w 4601693"/>
              <a:gd name="connsiteY63" fmla="*/ 5468796 h 5531266"/>
              <a:gd name="connsiteX64" fmla="*/ 4291953 w 4601693"/>
              <a:gd name="connsiteY64" fmla="*/ 5531243 h 5531266"/>
              <a:gd name="connsiteX65" fmla="*/ 358590 w 4601693"/>
              <a:gd name="connsiteY65" fmla="*/ 5278553 h 5531266"/>
              <a:gd name="connsiteX66" fmla="*/ 48246 w 4601693"/>
              <a:gd name="connsiteY66" fmla="*/ 5261459 h 5531266"/>
              <a:gd name="connsiteX67" fmla="*/ 52570 w 4601693"/>
              <a:gd name="connsiteY67" fmla="*/ 5221195 h 5531266"/>
              <a:gd name="connsiteX68" fmla="*/ 56790 w 4601693"/>
              <a:gd name="connsiteY68" fmla="*/ 5214590 h 5531266"/>
              <a:gd name="connsiteX69" fmla="*/ 57059 w 4601693"/>
              <a:gd name="connsiteY69" fmla="*/ 5211844 h 5531266"/>
              <a:gd name="connsiteX70" fmla="*/ 57329 w 4601693"/>
              <a:gd name="connsiteY70" fmla="*/ 5209096 h 5531266"/>
              <a:gd name="connsiteX71" fmla="*/ 57866 w 4601693"/>
              <a:gd name="connsiteY71" fmla="*/ 5203600 h 5531266"/>
              <a:gd name="connsiteX72" fmla="*/ 57551 w 4601693"/>
              <a:gd name="connsiteY72" fmla="*/ 5197697 h 5531266"/>
              <a:gd name="connsiteX73" fmla="*/ 56967 w 4601693"/>
              <a:gd name="connsiteY73" fmla="*/ 5194541 h 5531266"/>
              <a:gd name="connsiteX74" fmla="*/ 57236 w 4601693"/>
              <a:gd name="connsiteY74" fmla="*/ 5191792 h 5531266"/>
              <a:gd name="connsiteX75" fmla="*/ 56920 w 4601693"/>
              <a:gd name="connsiteY75" fmla="*/ 5185889 h 5531266"/>
              <a:gd name="connsiteX76" fmla="*/ 56337 w 4601693"/>
              <a:gd name="connsiteY76" fmla="*/ 5182733 h 5531266"/>
              <a:gd name="connsiteX77" fmla="*/ 55707 w 4601693"/>
              <a:gd name="connsiteY77" fmla="*/ 5170924 h 5531266"/>
              <a:gd name="connsiteX78" fmla="*/ 55123 w 4601693"/>
              <a:gd name="connsiteY78" fmla="*/ 5167769 h 5531266"/>
              <a:gd name="connsiteX79" fmla="*/ 324691 w 4601693"/>
              <a:gd name="connsiteY79" fmla="*/ 0 h 5531266"/>
              <a:gd name="connsiteX0" fmla="*/ 324422 w 4601424"/>
              <a:gd name="connsiteY0" fmla="*/ 0 h 5531266"/>
              <a:gd name="connsiteX1" fmla="*/ 3353589 w 4601424"/>
              <a:gd name="connsiteY1" fmla="*/ 153134 h 5531266"/>
              <a:gd name="connsiteX2" fmla="*/ 4182400 w 4601424"/>
              <a:gd name="connsiteY2" fmla="*/ 208242 h 5531266"/>
              <a:gd name="connsiteX3" fmla="*/ 4555594 w 4601424"/>
              <a:gd name="connsiteY3" fmla="*/ 228666 h 5531266"/>
              <a:gd name="connsiteX4" fmla="*/ 4583473 w 4601424"/>
              <a:gd name="connsiteY4" fmla="*/ 250471 h 5531266"/>
              <a:gd name="connsiteX5" fmla="*/ 4581699 w 4601424"/>
              <a:gd name="connsiteY5" fmla="*/ 282222 h 5531266"/>
              <a:gd name="connsiteX6" fmla="*/ 4584621 w 4601424"/>
              <a:gd name="connsiteY6" fmla="*/ 283939 h 5531266"/>
              <a:gd name="connsiteX7" fmla="*/ 4601047 w 4601424"/>
              <a:gd name="connsiteY7" fmla="*/ 315514 h 5531266"/>
              <a:gd name="connsiteX8" fmla="*/ 4578786 w 4601424"/>
              <a:gd name="connsiteY8" fmla="*/ 373160 h 5531266"/>
              <a:gd name="connsiteX9" fmla="*/ 4575298 w 4601424"/>
              <a:gd name="connsiteY9" fmla="*/ 396781 h 5531266"/>
              <a:gd name="connsiteX10" fmla="*/ 4570193 w 4601424"/>
              <a:gd name="connsiteY10" fmla="*/ 488120 h 5531266"/>
              <a:gd name="connsiteX11" fmla="*/ 4569543 w 4601424"/>
              <a:gd name="connsiteY11" fmla="*/ 534537 h 5531266"/>
              <a:gd name="connsiteX12" fmla="*/ 4566444 w 4601424"/>
              <a:gd name="connsiteY12" fmla="*/ 563001 h 5531266"/>
              <a:gd name="connsiteX13" fmla="*/ 4565775 w 4601424"/>
              <a:gd name="connsiteY13" fmla="*/ 567182 h 5531266"/>
              <a:gd name="connsiteX14" fmla="*/ 4552838 w 4601424"/>
              <a:gd name="connsiteY14" fmla="*/ 798696 h 5531266"/>
              <a:gd name="connsiteX15" fmla="*/ 4554551 w 4601424"/>
              <a:gd name="connsiteY15" fmla="*/ 803530 h 5531266"/>
              <a:gd name="connsiteX16" fmla="*/ 4552400 w 4601424"/>
              <a:gd name="connsiteY16" fmla="*/ 827361 h 5531266"/>
              <a:gd name="connsiteX17" fmla="*/ 4550800 w 4601424"/>
              <a:gd name="connsiteY17" fmla="*/ 835146 h 5531266"/>
              <a:gd name="connsiteX18" fmla="*/ 4544562 w 4601424"/>
              <a:gd name="connsiteY18" fmla="*/ 946777 h 5531266"/>
              <a:gd name="connsiteX19" fmla="*/ 4546639 w 4601424"/>
              <a:gd name="connsiteY19" fmla="*/ 947677 h 5531266"/>
              <a:gd name="connsiteX20" fmla="*/ 4550758 w 4601424"/>
              <a:gd name="connsiteY20" fmla="*/ 983859 h 5531266"/>
              <a:gd name="connsiteX21" fmla="*/ 4545960 w 4601424"/>
              <a:gd name="connsiteY21" fmla="*/ 1082386 h 5531266"/>
              <a:gd name="connsiteX22" fmla="*/ 4545855 w 4601424"/>
              <a:gd name="connsiteY22" fmla="*/ 1140681 h 5531266"/>
              <a:gd name="connsiteX23" fmla="*/ 4550158 w 4601424"/>
              <a:gd name="connsiteY23" fmla="*/ 1161797 h 5531266"/>
              <a:gd name="connsiteX24" fmla="*/ 4553248 w 4601424"/>
              <a:gd name="connsiteY24" fmla="*/ 1191979 h 5531266"/>
              <a:gd name="connsiteX25" fmla="*/ 4562065 w 4601424"/>
              <a:gd name="connsiteY25" fmla="*/ 1244449 h 5531266"/>
              <a:gd name="connsiteX26" fmla="*/ 4564342 w 4601424"/>
              <a:gd name="connsiteY26" fmla="*/ 1294666 h 5531266"/>
              <a:gd name="connsiteX27" fmla="*/ 4563462 w 4601424"/>
              <a:gd name="connsiteY27" fmla="*/ 1328296 h 5531266"/>
              <a:gd name="connsiteX28" fmla="*/ 4562999 w 4601424"/>
              <a:gd name="connsiteY28" fmla="*/ 1333156 h 5531266"/>
              <a:gd name="connsiteX29" fmla="*/ 4553880 w 4601424"/>
              <a:gd name="connsiteY29" fmla="*/ 1373054 h 5531266"/>
              <a:gd name="connsiteX30" fmla="*/ 4557144 w 4601424"/>
              <a:gd name="connsiteY30" fmla="*/ 1376999 h 5531266"/>
              <a:gd name="connsiteX31" fmla="*/ 4559986 w 4601424"/>
              <a:gd name="connsiteY31" fmla="*/ 1389816 h 5531266"/>
              <a:gd name="connsiteX32" fmla="*/ 4555245 w 4601424"/>
              <a:gd name="connsiteY32" fmla="*/ 1400401 h 5531266"/>
              <a:gd name="connsiteX33" fmla="*/ 4545061 w 4601424"/>
              <a:gd name="connsiteY33" fmla="*/ 1450629 h 5531266"/>
              <a:gd name="connsiteX34" fmla="*/ 4534164 w 4601424"/>
              <a:gd name="connsiteY34" fmla="*/ 1524330 h 5531266"/>
              <a:gd name="connsiteX35" fmla="*/ 4529283 w 4601424"/>
              <a:gd name="connsiteY35" fmla="*/ 1535289 h 5531266"/>
              <a:gd name="connsiteX36" fmla="*/ 4514855 w 4601424"/>
              <a:gd name="connsiteY36" fmla="*/ 1607363 h 5531266"/>
              <a:gd name="connsiteX37" fmla="*/ 4511140 w 4601424"/>
              <a:gd name="connsiteY37" fmla="*/ 1645395 h 5531266"/>
              <a:gd name="connsiteX38" fmla="*/ 4514800 w 4601424"/>
              <a:gd name="connsiteY38" fmla="*/ 1649850 h 5531266"/>
              <a:gd name="connsiteX39" fmla="*/ 4513150 w 4601424"/>
              <a:gd name="connsiteY39" fmla="*/ 1661048 h 5531266"/>
              <a:gd name="connsiteX40" fmla="*/ 4513562 w 4601424"/>
              <a:gd name="connsiteY40" fmla="*/ 1664107 h 5531266"/>
              <a:gd name="connsiteX41" fmla="*/ 4515073 w 4601424"/>
              <a:gd name="connsiteY41" fmla="*/ 1681560 h 5531266"/>
              <a:gd name="connsiteX42" fmla="*/ 4503603 w 4601424"/>
              <a:gd name="connsiteY42" fmla="*/ 1716455 h 5531266"/>
              <a:gd name="connsiteX43" fmla="*/ 4501543 w 4601424"/>
              <a:gd name="connsiteY43" fmla="*/ 1716581 h 5531266"/>
              <a:gd name="connsiteX44" fmla="*/ 4493045 w 4601424"/>
              <a:gd name="connsiteY44" fmla="*/ 1868666 h 5531266"/>
              <a:gd name="connsiteX45" fmla="*/ 4501736 w 4601424"/>
              <a:gd name="connsiteY45" fmla="*/ 1892828 h 5531266"/>
              <a:gd name="connsiteX46" fmla="*/ 4504014 w 4601424"/>
              <a:gd name="connsiteY46" fmla="*/ 1943047 h 5531266"/>
              <a:gd name="connsiteX47" fmla="*/ 4503133 w 4601424"/>
              <a:gd name="connsiteY47" fmla="*/ 1976676 h 5531266"/>
              <a:gd name="connsiteX48" fmla="*/ 4502671 w 4601424"/>
              <a:gd name="connsiteY48" fmla="*/ 1981536 h 5531266"/>
              <a:gd name="connsiteX49" fmla="*/ 4493551 w 4601424"/>
              <a:gd name="connsiteY49" fmla="*/ 2021434 h 5531266"/>
              <a:gd name="connsiteX50" fmla="*/ 4496816 w 4601424"/>
              <a:gd name="connsiteY50" fmla="*/ 2025379 h 5531266"/>
              <a:gd name="connsiteX51" fmla="*/ 4499657 w 4601424"/>
              <a:gd name="connsiteY51" fmla="*/ 2038196 h 5531266"/>
              <a:gd name="connsiteX52" fmla="*/ 4494916 w 4601424"/>
              <a:gd name="connsiteY52" fmla="*/ 2048781 h 5531266"/>
              <a:gd name="connsiteX53" fmla="*/ 4484732 w 4601424"/>
              <a:gd name="connsiteY53" fmla="*/ 2099011 h 5531266"/>
              <a:gd name="connsiteX54" fmla="*/ 4477401 w 4601424"/>
              <a:gd name="connsiteY54" fmla="*/ 2148592 h 5531266"/>
              <a:gd name="connsiteX55" fmla="*/ 4421318 w 4601424"/>
              <a:gd name="connsiteY55" fmla="*/ 3204925 h 5531266"/>
              <a:gd name="connsiteX56" fmla="*/ 4408532 w 4601424"/>
              <a:gd name="connsiteY56" fmla="*/ 3458573 h 5531266"/>
              <a:gd name="connsiteX57" fmla="*/ 4397447 w 4601424"/>
              <a:gd name="connsiteY57" fmla="*/ 3621276 h 5531266"/>
              <a:gd name="connsiteX58" fmla="*/ 4306686 w 4601424"/>
              <a:gd name="connsiteY58" fmla="*/ 5260213 h 5531266"/>
              <a:gd name="connsiteX59" fmla="*/ 4311984 w 4601424"/>
              <a:gd name="connsiteY59" fmla="*/ 5296918 h 5531266"/>
              <a:gd name="connsiteX60" fmla="*/ 4315518 w 4601424"/>
              <a:gd name="connsiteY60" fmla="*/ 5331382 h 5531266"/>
              <a:gd name="connsiteX61" fmla="*/ 4318350 w 4601424"/>
              <a:gd name="connsiteY61" fmla="*/ 5431691 h 5531266"/>
              <a:gd name="connsiteX62" fmla="*/ 4299793 w 4601424"/>
              <a:gd name="connsiteY62" fmla="*/ 5466096 h 5531266"/>
              <a:gd name="connsiteX63" fmla="*/ 4295141 w 4601424"/>
              <a:gd name="connsiteY63" fmla="*/ 5468796 h 5531266"/>
              <a:gd name="connsiteX64" fmla="*/ 4291684 w 4601424"/>
              <a:gd name="connsiteY64" fmla="*/ 5531243 h 5531266"/>
              <a:gd name="connsiteX65" fmla="*/ 358321 w 4601424"/>
              <a:gd name="connsiteY65" fmla="*/ 5278553 h 5531266"/>
              <a:gd name="connsiteX66" fmla="*/ 47977 w 4601424"/>
              <a:gd name="connsiteY66" fmla="*/ 5261459 h 5531266"/>
              <a:gd name="connsiteX67" fmla="*/ 52301 w 4601424"/>
              <a:gd name="connsiteY67" fmla="*/ 5221195 h 5531266"/>
              <a:gd name="connsiteX68" fmla="*/ 56521 w 4601424"/>
              <a:gd name="connsiteY68" fmla="*/ 5214590 h 5531266"/>
              <a:gd name="connsiteX69" fmla="*/ 56790 w 4601424"/>
              <a:gd name="connsiteY69" fmla="*/ 5211844 h 5531266"/>
              <a:gd name="connsiteX70" fmla="*/ 57060 w 4601424"/>
              <a:gd name="connsiteY70" fmla="*/ 5209096 h 5531266"/>
              <a:gd name="connsiteX71" fmla="*/ 57597 w 4601424"/>
              <a:gd name="connsiteY71" fmla="*/ 5203600 h 5531266"/>
              <a:gd name="connsiteX72" fmla="*/ 57282 w 4601424"/>
              <a:gd name="connsiteY72" fmla="*/ 5197697 h 5531266"/>
              <a:gd name="connsiteX73" fmla="*/ 56698 w 4601424"/>
              <a:gd name="connsiteY73" fmla="*/ 5194541 h 5531266"/>
              <a:gd name="connsiteX74" fmla="*/ 56967 w 4601424"/>
              <a:gd name="connsiteY74" fmla="*/ 5191792 h 5531266"/>
              <a:gd name="connsiteX75" fmla="*/ 56651 w 4601424"/>
              <a:gd name="connsiteY75" fmla="*/ 5185889 h 5531266"/>
              <a:gd name="connsiteX76" fmla="*/ 56068 w 4601424"/>
              <a:gd name="connsiteY76" fmla="*/ 5182733 h 5531266"/>
              <a:gd name="connsiteX77" fmla="*/ 55438 w 4601424"/>
              <a:gd name="connsiteY77" fmla="*/ 5170924 h 5531266"/>
              <a:gd name="connsiteX78" fmla="*/ 324422 w 4601424"/>
              <a:gd name="connsiteY78" fmla="*/ 0 h 5531266"/>
              <a:gd name="connsiteX0" fmla="*/ 324125 w 4601127"/>
              <a:gd name="connsiteY0" fmla="*/ 0 h 5531266"/>
              <a:gd name="connsiteX1" fmla="*/ 3353292 w 4601127"/>
              <a:gd name="connsiteY1" fmla="*/ 153134 h 5531266"/>
              <a:gd name="connsiteX2" fmla="*/ 4182103 w 4601127"/>
              <a:gd name="connsiteY2" fmla="*/ 208242 h 5531266"/>
              <a:gd name="connsiteX3" fmla="*/ 4555297 w 4601127"/>
              <a:gd name="connsiteY3" fmla="*/ 228666 h 5531266"/>
              <a:gd name="connsiteX4" fmla="*/ 4583176 w 4601127"/>
              <a:gd name="connsiteY4" fmla="*/ 250471 h 5531266"/>
              <a:gd name="connsiteX5" fmla="*/ 4581402 w 4601127"/>
              <a:gd name="connsiteY5" fmla="*/ 282222 h 5531266"/>
              <a:gd name="connsiteX6" fmla="*/ 4584324 w 4601127"/>
              <a:gd name="connsiteY6" fmla="*/ 283939 h 5531266"/>
              <a:gd name="connsiteX7" fmla="*/ 4600750 w 4601127"/>
              <a:gd name="connsiteY7" fmla="*/ 315514 h 5531266"/>
              <a:gd name="connsiteX8" fmla="*/ 4578489 w 4601127"/>
              <a:gd name="connsiteY8" fmla="*/ 373160 h 5531266"/>
              <a:gd name="connsiteX9" fmla="*/ 4575001 w 4601127"/>
              <a:gd name="connsiteY9" fmla="*/ 396781 h 5531266"/>
              <a:gd name="connsiteX10" fmla="*/ 4569896 w 4601127"/>
              <a:gd name="connsiteY10" fmla="*/ 488120 h 5531266"/>
              <a:gd name="connsiteX11" fmla="*/ 4569246 w 4601127"/>
              <a:gd name="connsiteY11" fmla="*/ 534537 h 5531266"/>
              <a:gd name="connsiteX12" fmla="*/ 4566147 w 4601127"/>
              <a:gd name="connsiteY12" fmla="*/ 563001 h 5531266"/>
              <a:gd name="connsiteX13" fmla="*/ 4565478 w 4601127"/>
              <a:gd name="connsiteY13" fmla="*/ 567182 h 5531266"/>
              <a:gd name="connsiteX14" fmla="*/ 4552541 w 4601127"/>
              <a:gd name="connsiteY14" fmla="*/ 798696 h 5531266"/>
              <a:gd name="connsiteX15" fmla="*/ 4554254 w 4601127"/>
              <a:gd name="connsiteY15" fmla="*/ 803530 h 5531266"/>
              <a:gd name="connsiteX16" fmla="*/ 4552103 w 4601127"/>
              <a:gd name="connsiteY16" fmla="*/ 827361 h 5531266"/>
              <a:gd name="connsiteX17" fmla="*/ 4550503 w 4601127"/>
              <a:gd name="connsiteY17" fmla="*/ 835146 h 5531266"/>
              <a:gd name="connsiteX18" fmla="*/ 4544265 w 4601127"/>
              <a:gd name="connsiteY18" fmla="*/ 946777 h 5531266"/>
              <a:gd name="connsiteX19" fmla="*/ 4546342 w 4601127"/>
              <a:gd name="connsiteY19" fmla="*/ 947677 h 5531266"/>
              <a:gd name="connsiteX20" fmla="*/ 4550461 w 4601127"/>
              <a:gd name="connsiteY20" fmla="*/ 983859 h 5531266"/>
              <a:gd name="connsiteX21" fmla="*/ 4545663 w 4601127"/>
              <a:gd name="connsiteY21" fmla="*/ 1082386 h 5531266"/>
              <a:gd name="connsiteX22" fmla="*/ 4545558 w 4601127"/>
              <a:gd name="connsiteY22" fmla="*/ 1140681 h 5531266"/>
              <a:gd name="connsiteX23" fmla="*/ 4549861 w 4601127"/>
              <a:gd name="connsiteY23" fmla="*/ 1161797 h 5531266"/>
              <a:gd name="connsiteX24" fmla="*/ 4552951 w 4601127"/>
              <a:gd name="connsiteY24" fmla="*/ 1191979 h 5531266"/>
              <a:gd name="connsiteX25" fmla="*/ 4561768 w 4601127"/>
              <a:gd name="connsiteY25" fmla="*/ 1244449 h 5531266"/>
              <a:gd name="connsiteX26" fmla="*/ 4564045 w 4601127"/>
              <a:gd name="connsiteY26" fmla="*/ 1294666 h 5531266"/>
              <a:gd name="connsiteX27" fmla="*/ 4563165 w 4601127"/>
              <a:gd name="connsiteY27" fmla="*/ 1328296 h 5531266"/>
              <a:gd name="connsiteX28" fmla="*/ 4562702 w 4601127"/>
              <a:gd name="connsiteY28" fmla="*/ 1333156 h 5531266"/>
              <a:gd name="connsiteX29" fmla="*/ 4553583 w 4601127"/>
              <a:gd name="connsiteY29" fmla="*/ 1373054 h 5531266"/>
              <a:gd name="connsiteX30" fmla="*/ 4556847 w 4601127"/>
              <a:gd name="connsiteY30" fmla="*/ 1376999 h 5531266"/>
              <a:gd name="connsiteX31" fmla="*/ 4559689 w 4601127"/>
              <a:gd name="connsiteY31" fmla="*/ 1389816 h 5531266"/>
              <a:gd name="connsiteX32" fmla="*/ 4554948 w 4601127"/>
              <a:gd name="connsiteY32" fmla="*/ 1400401 h 5531266"/>
              <a:gd name="connsiteX33" fmla="*/ 4544764 w 4601127"/>
              <a:gd name="connsiteY33" fmla="*/ 1450629 h 5531266"/>
              <a:gd name="connsiteX34" fmla="*/ 4533867 w 4601127"/>
              <a:gd name="connsiteY34" fmla="*/ 1524330 h 5531266"/>
              <a:gd name="connsiteX35" fmla="*/ 4528986 w 4601127"/>
              <a:gd name="connsiteY35" fmla="*/ 1535289 h 5531266"/>
              <a:gd name="connsiteX36" fmla="*/ 4514558 w 4601127"/>
              <a:gd name="connsiteY36" fmla="*/ 1607363 h 5531266"/>
              <a:gd name="connsiteX37" fmla="*/ 4510843 w 4601127"/>
              <a:gd name="connsiteY37" fmla="*/ 1645395 h 5531266"/>
              <a:gd name="connsiteX38" fmla="*/ 4514503 w 4601127"/>
              <a:gd name="connsiteY38" fmla="*/ 1649850 h 5531266"/>
              <a:gd name="connsiteX39" fmla="*/ 4512853 w 4601127"/>
              <a:gd name="connsiteY39" fmla="*/ 1661048 h 5531266"/>
              <a:gd name="connsiteX40" fmla="*/ 4513265 w 4601127"/>
              <a:gd name="connsiteY40" fmla="*/ 1664107 h 5531266"/>
              <a:gd name="connsiteX41" fmla="*/ 4514776 w 4601127"/>
              <a:gd name="connsiteY41" fmla="*/ 1681560 h 5531266"/>
              <a:gd name="connsiteX42" fmla="*/ 4503306 w 4601127"/>
              <a:gd name="connsiteY42" fmla="*/ 1716455 h 5531266"/>
              <a:gd name="connsiteX43" fmla="*/ 4501246 w 4601127"/>
              <a:gd name="connsiteY43" fmla="*/ 1716581 h 5531266"/>
              <a:gd name="connsiteX44" fmla="*/ 4492748 w 4601127"/>
              <a:gd name="connsiteY44" fmla="*/ 1868666 h 5531266"/>
              <a:gd name="connsiteX45" fmla="*/ 4501439 w 4601127"/>
              <a:gd name="connsiteY45" fmla="*/ 1892828 h 5531266"/>
              <a:gd name="connsiteX46" fmla="*/ 4503717 w 4601127"/>
              <a:gd name="connsiteY46" fmla="*/ 1943047 h 5531266"/>
              <a:gd name="connsiteX47" fmla="*/ 4502836 w 4601127"/>
              <a:gd name="connsiteY47" fmla="*/ 1976676 h 5531266"/>
              <a:gd name="connsiteX48" fmla="*/ 4502374 w 4601127"/>
              <a:gd name="connsiteY48" fmla="*/ 1981536 h 5531266"/>
              <a:gd name="connsiteX49" fmla="*/ 4493254 w 4601127"/>
              <a:gd name="connsiteY49" fmla="*/ 2021434 h 5531266"/>
              <a:gd name="connsiteX50" fmla="*/ 4496519 w 4601127"/>
              <a:gd name="connsiteY50" fmla="*/ 2025379 h 5531266"/>
              <a:gd name="connsiteX51" fmla="*/ 4499360 w 4601127"/>
              <a:gd name="connsiteY51" fmla="*/ 2038196 h 5531266"/>
              <a:gd name="connsiteX52" fmla="*/ 4494619 w 4601127"/>
              <a:gd name="connsiteY52" fmla="*/ 2048781 h 5531266"/>
              <a:gd name="connsiteX53" fmla="*/ 4484435 w 4601127"/>
              <a:gd name="connsiteY53" fmla="*/ 2099011 h 5531266"/>
              <a:gd name="connsiteX54" fmla="*/ 4477104 w 4601127"/>
              <a:gd name="connsiteY54" fmla="*/ 2148592 h 5531266"/>
              <a:gd name="connsiteX55" fmla="*/ 4421021 w 4601127"/>
              <a:gd name="connsiteY55" fmla="*/ 3204925 h 5531266"/>
              <a:gd name="connsiteX56" fmla="*/ 4408235 w 4601127"/>
              <a:gd name="connsiteY56" fmla="*/ 3458573 h 5531266"/>
              <a:gd name="connsiteX57" fmla="*/ 4397150 w 4601127"/>
              <a:gd name="connsiteY57" fmla="*/ 3621276 h 5531266"/>
              <a:gd name="connsiteX58" fmla="*/ 4306389 w 4601127"/>
              <a:gd name="connsiteY58" fmla="*/ 5260213 h 5531266"/>
              <a:gd name="connsiteX59" fmla="*/ 4311687 w 4601127"/>
              <a:gd name="connsiteY59" fmla="*/ 5296918 h 5531266"/>
              <a:gd name="connsiteX60" fmla="*/ 4315221 w 4601127"/>
              <a:gd name="connsiteY60" fmla="*/ 5331382 h 5531266"/>
              <a:gd name="connsiteX61" fmla="*/ 4318053 w 4601127"/>
              <a:gd name="connsiteY61" fmla="*/ 5431691 h 5531266"/>
              <a:gd name="connsiteX62" fmla="*/ 4299496 w 4601127"/>
              <a:gd name="connsiteY62" fmla="*/ 5466096 h 5531266"/>
              <a:gd name="connsiteX63" fmla="*/ 4294844 w 4601127"/>
              <a:gd name="connsiteY63" fmla="*/ 5468796 h 5531266"/>
              <a:gd name="connsiteX64" fmla="*/ 4291387 w 4601127"/>
              <a:gd name="connsiteY64" fmla="*/ 5531243 h 5531266"/>
              <a:gd name="connsiteX65" fmla="*/ 358024 w 4601127"/>
              <a:gd name="connsiteY65" fmla="*/ 5278553 h 5531266"/>
              <a:gd name="connsiteX66" fmla="*/ 47680 w 4601127"/>
              <a:gd name="connsiteY66" fmla="*/ 5261459 h 5531266"/>
              <a:gd name="connsiteX67" fmla="*/ 52004 w 4601127"/>
              <a:gd name="connsiteY67" fmla="*/ 5221195 h 5531266"/>
              <a:gd name="connsiteX68" fmla="*/ 56224 w 4601127"/>
              <a:gd name="connsiteY68" fmla="*/ 5214590 h 5531266"/>
              <a:gd name="connsiteX69" fmla="*/ 56493 w 4601127"/>
              <a:gd name="connsiteY69" fmla="*/ 5211844 h 5531266"/>
              <a:gd name="connsiteX70" fmla="*/ 56763 w 4601127"/>
              <a:gd name="connsiteY70" fmla="*/ 5209096 h 5531266"/>
              <a:gd name="connsiteX71" fmla="*/ 57300 w 4601127"/>
              <a:gd name="connsiteY71" fmla="*/ 5203600 h 5531266"/>
              <a:gd name="connsiteX72" fmla="*/ 56985 w 4601127"/>
              <a:gd name="connsiteY72" fmla="*/ 5197697 h 5531266"/>
              <a:gd name="connsiteX73" fmla="*/ 56401 w 4601127"/>
              <a:gd name="connsiteY73" fmla="*/ 5194541 h 5531266"/>
              <a:gd name="connsiteX74" fmla="*/ 56670 w 4601127"/>
              <a:gd name="connsiteY74" fmla="*/ 5191792 h 5531266"/>
              <a:gd name="connsiteX75" fmla="*/ 56354 w 4601127"/>
              <a:gd name="connsiteY75" fmla="*/ 5185889 h 5531266"/>
              <a:gd name="connsiteX76" fmla="*/ 55771 w 4601127"/>
              <a:gd name="connsiteY76" fmla="*/ 5182733 h 5531266"/>
              <a:gd name="connsiteX77" fmla="*/ 324125 w 4601127"/>
              <a:gd name="connsiteY77" fmla="*/ 0 h 5531266"/>
              <a:gd name="connsiteX0" fmla="*/ 276445 w 4553447"/>
              <a:gd name="connsiteY0" fmla="*/ 0 h 5531266"/>
              <a:gd name="connsiteX1" fmla="*/ 3305612 w 4553447"/>
              <a:gd name="connsiteY1" fmla="*/ 153134 h 5531266"/>
              <a:gd name="connsiteX2" fmla="*/ 4134423 w 4553447"/>
              <a:gd name="connsiteY2" fmla="*/ 208242 h 5531266"/>
              <a:gd name="connsiteX3" fmla="*/ 4507617 w 4553447"/>
              <a:gd name="connsiteY3" fmla="*/ 228666 h 5531266"/>
              <a:gd name="connsiteX4" fmla="*/ 4535496 w 4553447"/>
              <a:gd name="connsiteY4" fmla="*/ 250471 h 5531266"/>
              <a:gd name="connsiteX5" fmla="*/ 4533722 w 4553447"/>
              <a:gd name="connsiteY5" fmla="*/ 282222 h 5531266"/>
              <a:gd name="connsiteX6" fmla="*/ 4536644 w 4553447"/>
              <a:gd name="connsiteY6" fmla="*/ 283939 h 5531266"/>
              <a:gd name="connsiteX7" fmla="*/ 4553070 w 4553447"/>
              <a:gd name="connsiteY7" fmla="*/ 315514 h 5531266"/>
              <a:gd name="connsiteX8" fmla="*/ 4530809 w 4553447"/>
              <a:gd name="connsiteY8" fmla="*/ 373160 h 5531266"/>
              <a:gd name="connsiteX9" fmla="*/ 4527321 w 4553447"/>
              <a:gd name="connsiteY9" fmla="*/ 396781 h 5531266"/>
              <a:gd name="connsiteX10" fmla="*/ 4522216 w 4553447"/>
              <a:gd name="connsiteY10" fmla="*/ 488120 h 5531266"/>
              <a:gd name="connsiteX11" fmla="*/ 4521566 w 4553447"/>
              <a:gd name="connsiteY11" fmla="*/ 534537 h 5531266"/>
              <a:gd name="connsiteX12" fmla="*/ 4518467 w 4553447"/>
              <a:gd name="connsiteY12" fmla="*/ 563001 h 5531266"/>
              <a:gd name="connsiteX13" fmla="*/ 4517798 w 4553447"/>
              <a:gd name="connsiteY13" fmla="*/ 567182 h 5531266"/>
              <a:gd name="connsiteX14" fmla="*/ 4504861 w 4553447"/>
              <a:gd name="connsiteY14" fmla="*/ 798696 h 5531266"/>
              <a:gd name="connsiteX15" fmla="*/ 4506574 w 4553447"/>
              <a:gd name="connsiteY15" fmla="*/ 803530 h 5531266"/>
              <a:gd name="connsiteX16" fmla="*/ 4504423 w 4553447"/>
              <a:gd name="connsiteY16" fmla="*/ 827361 h 5531266"/>
              <a:gd name="connsiteX17" fmla="*/ 4502823 w 4553447"/>
              <a:gd name="connsiteY17" fmla="*/ 835146 h 5531266"/>
              <a:gd name="connsiteX18" fmla="*/ 4496585 w 4553447"/>
              <a:gd name="connsiteY18" fmla="*/ 946777 h 5531266"/>
              <a:gd name="connsiteX19" fmla="*/ 4498662 w 4553447"/>
              <a:gd name="connsiteY19" fmla="*/ 947677 h 5531266"/>
              <a:gd name="connsiteX20" fmla="*/ 4502781 w 4553447"/>
              <a:gd name="connsiteY20" fmla="*/ 983859 h 5531266"/>
              <a:gd name="connsiteX21" fmla="*/ 4497983 w 4553447"/>
              <a:gd name="connsiteY21" fmla="*/ 1082386 h 5531266"/>
              <a:gd name="connsiteX22" fmla="*/ 4497878 w 4553447"/>
              <a:gd name="connsiteY22" fmla="*/ 1140681 h 5531266"/>
              <a:gd name="connsiteX23" fmla="*/ 4502181 w 4553447"/>
              <a:gd name="connsiteY23" fmla="*/ 1161797 h 5531266"/>
              <a:gd name="connsiteX24" fmla="*/ 4505271 w 4553447"/>
              <a:gd name="connsiteY24" fmla="*/ 1191979 h 5531266"/>
              <a:gd name="connsiteX25" fmla="*/ 4514088 w 4553447"/>
              <a:gd name="connsiteY25" fmla="*/ 1244449 h 5531266"/>
              <a:gd name="connsiteX26" fmla="*/ 4516365 w 4553447"/>
              <a:gd name="connsiteY26" fmla="*/ 1294666 h 5531266"/>
              <a:gd name="connsiteX27" fmla="*/ 4515485 w 4553447"/>
              <a:gd name="connsiteY27" fmla="*/ 1328296 h 5531266"/>
              <a:gd name="connsiteX28" fmla="*/ 4515022 w 4553447"/>
              <a:gd name="connsiteY28" fmla="*/ 1333156 h 5531266"/>
              <a:gd name="connsiteX29" fmla="*/ 4505903 w 4553447"/>
              <a:gd name="connsiteY29" fmla="*/ 1373054 h 5531266"/>
              <a:gd name="connsiteX30" fmla="*/ 4509167 w 4553447"/>
              <a:gd name="connsiteY30" fmla="*/ 1376999 h 5531266"/>
              <a:gd name="connsiteX31" fmla="*/ 4512009 w 4553447"/>
              <a:gd name="connsiteY31" fmla="*/ 1389816 h 5531266"/>
              <a:gd name="connsiteX32" fmla="*/ 4507268 w 4553447"/>
              <a:gd name="connsiteY32" fmla="*/ 1400401 h 5531266"/>
              <a:gd name="connsiteX33" fmla="*/ 4497084 w 4553447"/>
              <a:gd name="connsiteY33" fmla="*/ 1450629 h 5531266"/>
              <a:gd name="connsiteX34" fmla="*/ 4486187 w 4553447"/>
              <a:gd name="connsiteY34" fmla="*/ 1524330 h 5531266"/>
              <a:gd name="connsiteX35" fmla="*/ 4481306 w 4553447"/>
              <a:gd name="connsiteY35" fmla="*/ 1535289 h 5531266"/>
              <a:gd name="connsiteX36" fmla="*/ 4466878 w 4553447"/>
              <a:gd name="connsiteY36" fmla="*/ 1607363 h 5531266"/>
              <a:gd name="connsiteX37" fmla="*/ 4463163 w 4553447"/>
              <a:gd name="connsiteY37" fmla="*/ 1645395 h 5531266"/>
              <a:gd name="connsiteX38" fmla="*/ 4466823 w 4553447"/>
              <a:gd name="connsiteY38" fmla="*/ 1649850 h 5531266"/>
              <a:gd name="connsiteX39" fmla="*/ 4465173 w 4553447"/>
              <a:gd name="connsiteY39" fmla="*/ 1661048 h 5531266"/>
              <a:gd name="connsiteX40" fmla="*/ 4465585 w 4553447"/>
              <a:gd name="connsiteY40" fmla="*/ 1664107 h 5531266"/>
              <a:gd name="connsiteX41" fmla="*/ 4467096 w 4553447"/>
              <a:gd name="connsiteY41" fmla="*/ 1681560 h 5531266"/>
              <a:gd name="connsiteX42" fmla="*/ 4455626 w 4553447"/>
              <a:gd name="connsiteY42" fmla="*/ 1716455 h 5531266"/>
              <a:gd name="connsiteX43" fmla="*/ 4453566 w 4553447"/>
              <a:gd name="connsiteY43" fmla="*/ 1716581 h 5531266"/>
              <a:gd name="connsiteX44" fmla="*/ 4445068 w 4553447"/>
              <a:gd name="connsiteY44" fmla="*/ 1868666 h 5531266"/>
              <a:gd name="connsiteX45" fmla="*/ 4453759 w 4553447"/>
              <a:gd name="connsiteY45" fmla="*/ 1892828 h 5531266"/>
              <a:gd name="connsiteX46" fmla="*/ 4456037 w 4553447"/>
              <a:gd name="connsiteY46" fmla="*/ 1943047 h 5531266"/>
              <a:gd name="connsiteX47" fmla="*/ 4455156 w 4553447"/>
              <a:gd name="connsiteY47" fmla="*/ 1976676 h 5531266"/>
              <a:gd name="connsiteX48" fmla="*/ 4454694 w 4553447"/>
              <a:gd name="connsiteY48" fmla="*/ 1981536 h 5531266"/>
              <a:gd name="connsiteX49" fmla="*/ 4445574 w 4553447"/>
              <a:gd name="connsiteY49" fmla="*/ 2021434 h 5531266"/>
              <a:gd name="connsiteX50" fmla="*/ 4448839 w 4553447"/>
              <a:gd name="connsiteY50" fmla="*/ 2025379 h 5531266"/>
              <a:gd name="connsiteX51" fmla="*/ 4451680 w 4553447"/>
              <a:gd name="connsiteY51" fmla="*/ 2038196 h 5531266"/>
              <a:gd name="connsiteX52" fmla="*/ 4446939 w 4553447"/>
              <a:gd name="connsiteY52" fmla="*/ 2048781 h 5531266"/>
              <a:gd name="connsiteX53" fmla="*/ 4436755 w 4553447"/>
              <a:gd name="connsiteY53" fmla="*/ 2099011 h 5531266"/>
              <a:gd name="connsiteX54" fmla="*/ 4429424 w 4553447"/>
              <a:gd name="connsiteY54" fmla="*/ 2148592 h 5531266"/>
              <a:gd name="connsiteX55" fmla="*/ 4373341 w 4553447"/>
              <a:gd name="connsiteY55" fmla="*/ 3204925 h 5531266"/>
              <a:gd name="connsiteX56" fmla="*/ 4360555 w 4553447"/>
              <a:gd name="connsiteY56" fmla="*/ 3458573 h 5531266"/>
              <a:gd name="connsiteX57" fmla="*/ 4349470 w 4553447"/>
              <a:gd name="connsiteY57" fmla="*/ 3621276 h 5531266"/>
              <a:gd name="connsiteX58" fmla="*/ 4258709 w 4553447"/>
              <a:gd name="connsiteY58" fmla="*/ 5260213 h 5531266"/>
              <a:gd name="connsiteX59" fmla="*/ 4264007 w 4553447"/>
              <a:gd name="connsiteY59" fmla="*/ 5296918 h 5531266"/>
              <a:gd name="connsiteX60" fmla="*/ 4267541 w 4553447"/>
              <a:gd name="connsiteY60" fmla="*/ 5331382 h 5531266"/>
              <a:gd name="connsiteX61" fmla="*/ 4270373 w 4553447"/>
              <a:gd name="connsiteY61" fmla="*/ 5431691 h 5531266"/>
              <a:gd name="connsiteX62" fmla="*/ 4251816 w 4553447"/>
              <a:gd name="connsiteY62" fmla="*/ 5466096 h 5531266"/>
              <a:gd name="connsiteX63" fmla="*/ 4247164 w 4553447"/>
              <a:gd name="connsiteY63" fmla="*/ 5468796 h 5531266"/>
              <a:gd name="connsiteX64" fmla="*/ 4243707 w 4553447"/>
              <a:gd name="connsiteY64" fmla="*/ 5531243 h 5531266"/>
              <a:gd name="connsiteX65" fmla="*/ 310344 w 4553447"/>
              <a:gd name="connsiteY65" fmla="*/ 5278553 h 5531266"/>
              <a:gd name="connsiteX66" fmla="*/ 0 w 4553447"/>
              <a:gd name="connsiteY66" fmla="*/ 5261459 h 5531266"/>
              <a:gd name="connsiteX67" fmla="*/ 4324 w 4553447"/>
              <a:gd name="connsiteY67" fmla="*/ 5221195 h 5531266"/>
              <a:gd name="connsiteX68" fmla="*/ 8544 w 4553447"/>
              <a:gd name="connsiteY68" fmla="*/ 5214590 h 5531266"/>
              <a:gd name="connsiteX69" fmla="*/ 8813 w 4553447"/>
              <a:gd name="connsiteY69" fmla="*/ 5211844 h 5531266"/>
              <a:gd name="connsiteX70" fmla="*/ 9083 w 4553447"/>
              <a:gd name="connsiteY70" fmla="*/ 5209096 h 5531266"/>
              <a:gd name="connsiteX71" fmla="*/ 9620 w 4553447"/>
              <a:gd name="connsiteY71" fmla="*/ 5203600 h 5531266"/>
              <a:gd name="connsiteX72" fmla="*/ 9305 w 4553447"/>
              <a:gd name="connsiteY72" fmla="*/ 5197697 h 5531266"/>
              <a:gd name="connsiteX73" fmla="*/ 8721 w 4553447"/>
              <a:gd name="connsiteY73" fmla="*/ 5194541 h 5531266"/>
              <a:gd name="connsiteX74" fmla="*/ 8990 w 4553447"/>
              <a:gd name="connsiteY74" fmla="*/ 5191792 h 5531266"/>
              <a:gd name="connsiteX75" fmla="*/ 8674 w 4553447"/>
              <a:gd name="connsiteY75" fmla="*/ 5185889 h 5531266"/>
              <a:gd name="connsiteX76" fmla="*/ 276445 w 4553447"/>
              <a:gd name="connsiteY76" fmla="*/ 0 h 5531266"/>
              <a:gd name="connsiteX0" fmla="*/ 323654 w 4600656"/>
              <a:gd name="connsiteY0" fmla="*/ 0 h 5531266"/>
              <a:gd name="connsiteX1" fmla="*/ 3352821 w 4600656"/>
              <a:gd name="connsiteY1" fmla="*/ 153134 h 5531266"/>
              <a:gd name="connsiteX2" fmla="*/ 4181632 w 4600656"/>
              <a:gd name="connsiteY2" fmla="*/ 208242 h 5531266"/>
              <a:gd name="connsiteX3" fmla="*/ 4554826 w 4600656"/>
              <a:gd name="connsiteY3" fmla="*/ 228666 h 5531266"/>
              <a:gd name="connsiteX4" fmla="*/ 4582705 w 4600656"/>
              <a:gd name="connsiteY4" fmla="*/ 250471 h 5531266"/>
              <a:gd name="connsiteX5" fmla="*/ 4580931 w 4600656"/>
              <a:gd name="connsiteY5" fmla="*/ 282222 h 5531266"/>
              <a:gd name="connsiteX6" fmla="*/ 4583853 w 4600656"/>
              <a:gd name="connsiteY6" fmla="*/ 283939 h 5531266"/>
              <a:gd name="connsiteX7" fmla="*/ 4600279 w 4600656"/>
              <a:gd name="connsiteY7" fmla="*/ 315514 h 5531266"/>
              <a:gd name="connsiteX8" fmla="*/ 4578018 w 4600656"/>
              <a:gd name="connsiteY8" fmla="*/ 373160 h 5531266"/>
              <a:gd name="connsiteX9" fmla="*/ 4574530 w 4600656"/>
              <a:gd name="connsiteY9" fmla="*/ 396781 h 5531266"/>
              <a:gd name="connsiteX10" fmla="*/ 4569425 w 4600656"/>
              <a:gd name="connsiteY10" fmla="*/ 488120 h 5531266"/>
              <a:gd name="connsiteX11" fmla="*/ 4568775 w 4600656"/>
              <a:gd name="connsiteY11" fmla="*/ 534537 h 5531266"/>
              <a:gd name="connsiteX12" fmla="*/ 4565676 w 4600656"/>
              <a:gd name="connsiteY12" fmla="*/ 563001 h 5531266"/>
              <a:gd name="connsiteX13" fmla="*/ 4565007 w 4600656"/>
              <a:gd name="connsiteY13" fmla="*/ 567182 h 5531266"/>
              <a:gd name="connsiteX14" fmla="*/ 4552070 w 4600656"/>
              <a:gd name="connsiteY14" fmla="*/ 798696 h 5531266"/>
              <a:gd name="connsiteX15" fmla="*/ 4553783 w 4600656"/>
              <a:gd name="connsiteY15" fmla="*/ 803530 h 5531266"/>
              <a:gd name="connsiteX16" fmla="*/ 4551632 w 4600656"/>
              <a:gd name="connsiteY16" fmla="*/ 827361 h 5531266"/>
              <a:gd name="connsiteX17" fmla="*/ 4550032 w 4600656"/>
              <a:gd name="connsiteY17" fmla="*/ 835146 h 5531266"/>
              <a:gd name="connsiteX18" fmla="*/ 4543794 w 4600656"/>
              <a:gd name="connsiteY18" fmla="*/ 946777 h 5531266"/>
              <a:gd name="connsiteX19" fmla="*/ 4545871 w 4600656"/>
              <a:gd name="connsiteY19" fmla="*/ 947677 h 5531266"/>
              <a:gd name="connsiteX20" fmla="*/ 4549990 w 4600656"/>
              <a:gd name="connsiteY20" fmla="*/ 983859 h 5531266"/>
              <a:gd name="connsiteX21" fmla="*/ 4545192 w 4600656"/>
              <a:gd name="connsiteY21" fmla="*/ 1082386 h 5531266"/>
              <a:gd name="connsiteX22" fmla="*/ 4545087 w 4600656"/>
              <a:gd name="connsiteY22" fmla="*/ 1140681 h 5531266"/>
              <a:gd name="connsiteX23" fmla="*/ 4549390 w 4600656"/>
              <a:gd name="connsiteY23" fmla="*/ 1161797 h 5531266"/>
              <a:gd name="connsiteX24" fmla="*/ 4552480 w 4600656"/>
              <a:gd name="connsiteY24" fmla="*/ 1191979 h 5531266"/>
              <a:gd name="connsiteX25" fmla="*/ 4561297 w 4600656"/>
              <a:gd name="connsiteY25" fmla="*/ 1244449 h 5531266"/>
              <a:gd name="connsiteX26" fmla="*/ 4563574 w 4600656"/>
              <a:gd name="connsiteY26" fmla="*/ 1294666 h 5531266"/>
              <a:gd name="connsiteX27" fmla="*/ 4562694 w 4600656"/>
              <a:gd name="connsiteY27" fmla="*/ 1328296 h 5531266"/>
              <a:gd name="connsiteX28" fmla="*/ 4562231 w 4600656"/>
              <a:gd name="connsiteY28" fmla="*/ 1333156 h 5531266"/>
              <a:gd name="connsiteX29" fmla="*/ 4553112 w 4600656"/>
              <a:gd name="connsiteY29" fmla="*/ 1373054 h 5531266"/>
              <a:gd name="connsiteX30" fmla="*/ 4556376 w 4600656"/>
              <a:gd name="connsiteY30" fmla="*/ 1376999 h 5531266"/>
              <a:gd name="connsiteX31" fmla="*/ 4559218 w 4600656"/>
              <a:gd name="connsiteY31" fmla="*/ 1389816 h 5531266"/>
              <a:gd name="connsiteX32" fmla="*/ 4554477 w 4600656"/>
              <a:gd name="connsiteY32" fmla="*/ 1400401 h 5531266"/>
              <a:gd name="connsiteX33" fmla="*/ 4544293 w 4600656"/>
              <a:gd name="connsiteY33" fmla="*/ 1450629 h 5531266"/>
              <a:gd name="connsiteX34" fmla="*/ 4533396 w 4600656"/>
              <a:gd name="connsiteY34" fmla="*/ 1524330 h 5531266"/>
              <a:gd name="connsiteX35" fmla="*/ 4528515 w 4600656"/>
              <a:gd name="connsiteY35" fmla="*/ 1535289 h 5531266"/>
              <a:gd name="connsiteX36" fmla="*/ 4514087 w 4600656"/>
              <a:gd name="connsiteY36" fmla="*/ 1607363 h 5531266"/>
              <a:gd name="connsiteX37" fmla="*/ 4510372 w 4600656"/>
              <a:gd name="connsiteY37" fmla="*/ 1645395 h 5531266"/>
              <a:gd name="connsiteX38" fmla="*/ 4514032 w 4600656"/>
              <a:gd name="connsiteY38" fmla="*/ 1649850 h 5531266"/>
              <a:gd name="connsiteX39" fmla="*/ 4512382 w 4600656"/>
              <a:gd name="connsiteY39" fmla="*/ 1661048 h 5531266"/>
              <a:gd name="connsiteX40" fmla="*/ 4512794 w 4600656"/>
              <a:gd name="connsiteY40" fmla="*/ 1664107 h 5531266"/>
              <a:gd name="connsiteX41" fmla="*/ 4514305 w 4600656"/>
              <a:gd name="connsiteY41" fmla="*/ 1681560 h 5531266"/>
              <a:gd name="connsiteX42" fmla="*/ 4502835 w 4600656"/>
              <a:gd name="connsiteY42" fmla="*/ 1716455 h 5531266"/>
              <a:gd name="connsiteX43" fmla="*/ 4500775 w 4600656"/>
              <a:gd name="connsiteY43" fmla="*/ 1716581 h 5531266"/>
              <a:gd name="connsiteX44" fmla="*/ 4492277 w 4600656"/>
              <a:gd name="connsiteY44" fmla="*/ 1868666 h 5531266"/>
              <a:gd name="connsiteX45" fmla="*/ 4500968 w 4600656"/>
              <a:gd name="connsiteY45" fmla="*/ 1892828 h 5531266"/>
              <a:gd name="connsiteX46" fmla="*/ 4503246 w 4600656"/>
              <a:gd name="connsiteY46" fmla="*/ 1943047 h 5531266"/>
              <a:gd name="connsiteX47" fmla="*/ 4502365 w 4600656"/>
              <a:gd name="connsiteY47" fmla="*/ 1976676 h 5531266"/>
              <a:gd name="connsiteX48" fmla="*/ 4501903 w 4600656"/>
              <a:gd name="connsiteY48" fmla="*/ 1981536 h 5531266"/>
              <a:gd name="connsiteX49" fmla="*/ 4492783 w 4600656"/>
              <a:gd name="connsiteY49" fmla="*/ 2021434 h 5531266"/>
              <a:gd name="connsiteX50" fmla="*/ 4496048 w 4600656"/>
              <a:gd name="connsiteY50" fmla="*/ 2025379 h 5531266"/>
              <a:gd name="connsiteX51" fmla="*/ 4498889 w 4600656"/>
              <a:gd name="connsiteY51" fmla="*/ 2038196 h 5531266"/>
              <a:gd name="connsiteX52" fmla="*/ 4494148 w 4600656"/>
              <a:gd name="connsiteY52" fmla="*/ 2048781 h 5531266"/>
              <a:gd name="connsiteX53" fmla="*/ 4483964 w 4600656"/>
              <a:gd name="connsiteY53" fmla="*/ 2099011 h 5531266"/>
              <a:gd name="connsiteX54" fmla="*/ 4476633 w 4600656"/>
              <a:gd name="connsiteY54" fmla="*/ 2148592 h 5531266"/>
              <a:gd name="connsiteX55" fmla="*/ 4420550 w 4600656"/>
              <a:gd name="connsiteY55" fmla="*/ 3204925 h 5531266"/>
              <a:gd name="connsiteX56" fmla="*/ 4407764 w 4600656"/>
              <a:gd name="connsiteY56" fmla="*/ 3458573 h 5531266"/>
              <a:gd name="connsiteX57" fmla="*/ 4396679 w 4600656"/>
              <a:gd name="connsiteY57" fmla="*/ 3621276 h 5531266"/>
              <a:gd name="connsiteX58" fmla="*/ 4305918 w 4600656"/>
              <a:gd name="connsiteY58" fmla="*/ 5260213 h 5531266"/>
              <a:gd name="connsiteX59" fmla="*/ 4311216 w 4600656"/>
              <a:gd name="connsiteY59" fmla="*/ 5296918 h 5531266"/>
              <a:gd name="connsiteX60" fmla="*/ 4314750 w 4600656"/>
              <a:gd name="connsiteY60" fmla="*/ 5331382 h 5531266"/>
              <a:gd name="connsiteX61" fmla="*/ 4317582 w 4600656"/>
              <a:gd name="connsiteY61" fmla="*/ 5431691 h 5531266"/>
              <a:gd name="connsiteX62" fmla="*/ 4299025 w 4600656"/>
              <a:gd name="connsiteY62" fmla="*/ 5466096 h 5531266"/>
              <a:gd name="connsiteX63" fmla="*/ 4294373 w 4600656"/>
              <a:gd name="connsiteY63" fmla="*/ 5468796 h 5531266"/>
              <a:gd name="connsiteX64" fmla="*/ 4290916 w 4600656"/>
              <a:gd name="connsiteY64" fmla="*/ 5531243 h 5531266"/>
              <a:gd name="connsiteX65" fmla="*/ 357553 w 4600656"/>
              <a:gd name="connsiteY65" fmla="*/ 5278553 h 5531266"/>
              <a:gd name="connsiteX66" fmla="*/ 47209 w 4600656"/>
              <a:gd name="connsiteY66" fmla="*/ 5261459 h 5531266"/>
              <a:gd name="connsiteX67" fmla="*/ 51533 w 4600656"/>
              <a:gd name="connsiteY67" fmla="*/ 5221195 h 5531266"/>
              <a:gd name="connsiteX68" fmla="*/ 55753 w 4600656"/>
              <a:gd name="connsiteY68" fmla="*/ 5214590 h 5531266"/>
              <a:gd name="connsiteX69" fmla="*/ 56022 w 4600656"/>
              <a:gd name="connsiteY69" fmla="*/ 5211844 h 5531266"/>
              <a:gd name="connsiteX70" fmla="*/ 56292 w 4600656"/>
              <a:gd name="connsiteY70" fmla="*/ 5209096 h 5531266"/>
              <a:gd name="connsiteX71" fmla="*/ 56829 w 4600656"/>
              <a:gd name="connsiteY71" fmla="*/ 5203600 h 5531266"/>
              <a:gd name="connsiteX72" fmla="*/ 56514 w 4600656"/>
              <a:gd name="connsiteY72" fmla="*/ 5197697 h 5531266"/>
              <a:gd name="connsiteX73" fmla="*/ 55930 w 4600656"/>
              <a:gd name="connsiteY73" fmla="*/ 5194541 h 5531266"/>
              <a:gd name="connsiteX74" fmla="*/ 56199 w 4600656"/>
              <a:gd name="connsiteY74" fmla="*/ 5191792 h 5531266"/>
              <a:gd name="connsiteX75" fmla="*/ 323654 w 4600656"/>
              <a:gd name="connsiteY75" fmla="*/ 0 h 5531266"/>
              <a:gd name="connsiteX0" fmla="*/ 323830 w 4600832"/>
              <a:gd name="connsiteY0" fmla="*/ 0 h 5531266"/>
              <a:gd name="connsiteX1" fmla="*/ 3352997 w 4600832"/>
              <a:gd name="connsiteY1" fmla="*/ 153134 h 5531266"/>
              <a:gd name="connsiteX2" fmla="*/ 4181808 w 4600832"/>
              <a:gd name="connsiteY2" fmla="*/ 208242 h 5531266"/>
              <a:gd name="connsiteX3" fmla="*/ 4555002 w 4600832"/>
              <a:gd name="connsiteY3" fmla="*/ 228666 h 5531266"/>
              <a:gd name="connsiteX4" fmla="*/ 4582881 w 4600832"/>
              <a:gd name="connsiteY4" fmla="*/ 250471 h 5531266"/>
              <a:gd name="connsiteX5" fmla="*/ 4581107 w 4600832"/>
              <a:gd name="connsiteY5" fmla="*/ 282222 h 5531266"/>
              <a:gd name="connsiteX6" fmla="*/ 4584029 w 4600832"/>
              <a:gd name="connsiteY6" fmla="*/ 283939 h 5531266"/>
              <a:gd name="connsiteX7" fmla="*/ 4600455 w 4600832"/>
              <a:gd name="connsiteY7" fmla="*/ 315514 h 5531266"/>
              <a:gd name="connsiteX8" fmla="*/ 4578194 w 4600832"/>
              <a:gd name="connsiteY8" fmla="*/ 373160 h 5531266"/>
              <a:gd name="connsiteX9" fmla="*/ 4574706 w 4600832"/>
              <a:gd name="connsiteY9" fmla="*/ 396781 h 5531266"/>
              <a:gd name="connsiteX10" fmla="*/ 4569601 w 4600832"/>
              <a:gd name="connsiteY10" fmla="*/ 488120 h 5531266"/>
              <a:gd name="connsiteX11" fmla="*/ 4568951 w 4600832"/>
              <a:gd name="connsiteY11" fmla="*/ 534537 h 5531266"/>
              <a:gd name="connsiteX12" fmla="*/ 4565852 w 4600832"/>
              <a:gd name="connsiteY12" fmla="*/ 563001 h 5531266"/>
              <a:gd name="connsiteX13" fmla="*/ 4565183 w 4600832"/>
              <a:gd name="connsiteY13" fmla="*/ 567182 h 5531266"/>
              <a:gd name="connsiteX14" fmla="*/ 4552246 w 4600832"/>
              <a:gd name="connsiteY14" fmla="*/ 798696 h 5531266"/>
              <a:gd name="connsiteX15" fmla="*/ 4553959 w 4600832"/>
              <a:gd name="connsiteY15" fmla="*/ 803530 h 5531266"/>
              <a:gd name="connsiteX16" fmla="*/ 4551808 w 4600832"/>
              <a:gd name="connsiteY16" fmla="*/ 827361 h 5531266"/>
              <a:gd name="connsiteX17" fmla="*/ 4550208 w 4600832"/>
              <a:gd name="connsiteY17" fmla="*/ 835146 h 5531266"/>
              <a:gd name="connsiteX18" fmla="*/ 4543970 w 4600832"/>
              <a:gd name="connsiteY18" fmla="*/ 946777 h 5531266"/>
              <a:gd name="connsiteX19" fmla="*/ 4546047 w 4600832"/>
              <a:gd name="connsiteY19" fmla="*/ 947677 h 5531266"/>
              <a:gd name="connsiteX20" fmla="*/ 4550166 w 4600832"/>
              <a:gd name="connsiteY20" fmla="*/ 983859 h 5531266"/>
              <a:gd name="connsiteX21" fmla="*/ 4545368 w 4600832"/>
              <a:gd name="connsiteY21" fmla="*/ 1082386 h 5531266"/>
              <a:gd name="connsiteX22" fmla="*/ 4545263 w 4600832"/>
              <a:gd name="connsiteY22" fmla="*/ 1140681 h 5531266"/>
              <a:gd name="connsiteX23" fmla="*/ 4549566 w 4600832"/>
              <a:gd name="connsiteY23" fmla="*/ 1161797 h 5531266"/>
              <a:gd name="connsiteX24" fmla="*/ 4552656 w 4600832"/>
              <a:gd name="connsiteY24" fmla="*/ 1191979 h 5531266"/>
              <a:gd name="connsiteX25" fmla="*/ 4561473 w 4600832"/>
              <a:gd name="connsiteY25" fmla="*/ 1244449 h 5531266"/>
              <a:gd name="connsiteX26" fmla="*/ 4563750 w 4600832"/>
              <a:gd name="connsiteY26" fmla="*/ 1294666 h 5531266"/>
              <a:gd name="connsiteX27" fmla="*/ 4562870 w 4600832"/>
              <a:gd name="connsiteY27" fmla="*/ 1328296 h 5531266"/>
              <a:gd name="connsiteX28" fmla="*/ 4562407 w 4600832"/>
              <a:gd name="connsiteY28" fmla="*/ 1333156 h 5531266"/>
              <a:gd name="connsiteX29" fmla="*/ 4553288 w 4600832"/>
              <a:gd name="connsiteY29" fmla="*/ 1373054 h 5531266"/>
              <a:gd name="connsiteX30" fmla="*/ 4556552 w 4600832"/>
              <a:gd name="connsiteY30" fmla="*/ 1376999 h 5531266"/>
              <a:gd name="connsiteX31" fmla="*/ 4559394 w 4600832"/>
              <a:gd name="connsiteY31" fmla="*/ 1389816 h 5531266"/>
              <a:gd name="connsiteX32" fmla="*/ 4554653 w 4600832"/>
              <a:gd name="connsiteY32" fmla="*/ 1400401 h 5531266"/>
              <a:gd name="connsiteX33" fmla="*/ 4544469 w 4600832"/>
              <a:gd name="connsiteY33" fmla="*/ 1450629 h 5531266"/>
              <a:gd name="connsiteX34" fmla="*/ 4533572 w 4600832"/>
              <a:gd name="connsiteY34" fmla="*/ 1524330 h 5531266"/>
              <a:gd name="connsiteX35" fmla="*/ 4528691 w 4600832"/>
              <a:gd name="connsiteY35" fmla="*/ 1535289 h 5531266"/>
              <a:gd name="connsiteX36" fmla="*/ 4514263 w 4600832"/>
              <a:gd name="connsiteY36" fmla="*/ 1607363 h 5531266"/>
              <a:gd name="connsiteX37" fmla="*/ 4510548 w 4600832"/>
              <a:gd name="connsiteY37" fmla="*/ 1645395 h 5531266"/>
              <a:gd name="connsiteX38" fmla="*/ 4514208 w 4600832"/>
              <a:gd name="connsiteY38" fmla="*/ 1649850 h 5531266"/>
              <a:gd name="connsiteX39" fmla="*/ 4512558 w 4600832"/>
              <a:gd name="connsiteY39" fmla="*/ 1661048 h 5531266"/>
              <a:gd name="connsiteX40" fmla="*/ 4512970 w 4600832"/>
              <a:gd name="connsiteY40" fmla="*/ 1664107 h 5531266"/>
              <a:gd name="connsiteX41" fmla="*/ 4514481 w 4600832"/>
              <a:gd name="connsiteY41" fmla="*/ 1681560 h 5531266"/>
              <a:gd name="connsiteX42" fmla="*/ 4503011 w 4600832"/>
              <a:gd name="connsiteY42" fmla="*/ 1716455 h 5531266"/>
              <a:gd name="connsiteX43" fmla="*/ 4500951 w 4600832"/>
              <a:gd name="connsiteY43" fmla="*/ 1716581 h 5531266"/>
              <a:gd name="connsiteX44" fmla="*/ 4492453 w 4600832"/>
              <a:gd name="connsiteY44" fmla="*/ 1868666 h 5531266"/>
              <a:gd name="connsiteX45" fmla="*/ 4501144 w 4600832"/>
              <a:gd name="connsiteY45" fmla="*/ 1892828 h 5531266"/>
              <a:gd name="connsiteX46" fmla="*/ 4503422 w 4600832"/>
              <a:gd name="connsiteY46" fmla="*/ 1943047 h 5531266"/>
              <a:gd name="connsiteX47" fmla="*/ 4502541 w 4600832"/>
              <a:gd name="connsiteY47" fmla="*/ 1976676 h 5531266"/>
              <a:gd name="connsiteX48" fmla="*/ 4502079 w 4600832"/>
              <a:gd name="connsiteY48" fmla="*/ 1981536 h 5531266"/>
              <a:gd name="connsiteX49" fmla="*/ 4492959 w 4600832"/>
              <a:gd name="connsiteY49" fmla="*/ 2021434 h 5531266"/>
              <a:gd name="connsiteX50" fmla="*/ 4496224 w 4600832"/>
              <a:gd name="connsiteY50" fmla="*/ 2025379 h 5531266"/>
              <a:gd name="connsiteX51" fmla="*/ 4499065 w 4600832"/>
              <a:gd name="connsiteY51" fmla="*/ 2038196 h 5531266"/>
              <a:gd name="connsiteX52" fmla="*/ 4494324 w 4600832"/>
              <a:gd name="connsiteY52" fmla="*/ 2048781 h 5531266"/>
              <a:gd name="connsiteX53" fmla="*/ 4484140 w 4600832"/>
              <a:gd name="connsiteY53" fmla="*/ 2099011 h 5531266"/>
              <a:gd name="connsiteX54" fmla="*/ 4476809 w 4600832"/>
              <a:gd name="connsiteY54" fmla="*/ 2148592 h 5531266"/>
              <a:gd name="connsiteX55" fmla="*/ 4420726 w 4600832"/>
              <a:gd name="connsiteY55" fmla="*/ 3204925 h 5531266"/>
              <a:gd name="connsiteX56" fmla="*/ 4407940 w 4600832"/>
              <a:gd name="connsiteY56" fmla="*/ 3458573 h 5531266"/>
              <a:gd name="connsiteX57" fmla="*/ 4396855 w 4600832"/>
              <a:gd name="connsiteY57" fmla="*/ 3621276 h 5531266"/>
              <a:gd name="connsiteX58" fmla="*/ 4306094 w 4600832"/>
              <a:gd name="connsiteY58" fmla="*/ 5260213 h 5531266"/>
              <a:gd name="connsiteX59" fmla="*/ 4311392 w 4600832"/>
              <a:gd name="connsiteY59" fmla="*/ 5296918 h 5531266"/>
              <a:gd name="connsiteX60" fmla="*/ 4314926 w 4600832"/>
              <a:gd name="connsiteY60" fmla="*/ 5331382 h 5531266"/>
              <a:gd name="connsiteX61" fmla="*/ 4317758 w 4600832"/>
              <a:gd name="connsiteY61" fmla="*/ 5431691 h 5531266"/>
              <a:gd name="connsiteX62" fmla="*/ 4299201 w 4600832"/>
              <a:gd name="connsiteY62" fmla="*/ 5466096 h 5531266"/>
              <a:gd name="connsiteX63" fmla="*/ 4294549 w 4600832"/>
              <a:gd name="connsiteY63" fmla="*/ 5468796 h 5531266"/>
              <a:gd name="connsiteX64" fmla="*/ 4291092 w 4600832"/>
              <a:gd name="connsiteY64" fmla="*/ 5531243 h 5531266"/>
              <a:gd name="connsiteX65" fmla="*/ 357729 w 4600832"/>
              <a:gd name="connsiteY65" fmla="*/ 5278553 h 5531266"/>
              <a:gd name="connsiteX66" fmla="*/ 47385 w 4600832"/>
              <a:gd name="connsiteY66" fmla="*/ 5261459 h 5531266"/>
              <a:gd name="connsiteX67" fmla="*/ 51709 w 4600832"/>
              <a:gd name="connsiteY67" fmla="*/ 5221195 h 5531266"/>
              <a:gd name="connsiteX68" fmla="*/ 55929 w 4600832"/>
              <a:gd name="connsiteY68" fmla="*/ 5214590 h 5531266"/>
              <a:gd name="connsiteX69" fmla="*/ 56198 w 4600832"/>
              <a:gd name="connsiteY69" fmla="*/ 5211844 h 5531266"/>
              <a:gd name="connsiteX70" fmla="*/ 56468 w 4600832"/>
              <a:gd name="connsiteY70" fmla="*/ 5209096 h 5531266"/>
              <a:gd name="connsiteX71" fmla="*/ 57005 w 4600832"/>
              <a:gd name="connsiteY71" fmla="*/ 5203600 h 5531266"/>
              <a:gd name="connsiteX72" fmla="*/ 56690 w 4600832"/>
              <a:gd name="connsiteY72" fmla="*/ 5197697 h 5531266"/>
              <a:gd name="connsiteX73" fmla="*/ 56106 w 4600832"/>
              <a:gd name="connsiteY73" fmla="*/ 5194541 h 5531266"/>
              <a:gd name="connsiteX74" fmla="*/ 323830 w 4600832"/>
              <a:gd name="connsiteY74" fmla="*/ 0 h 5531266"/>
              <a:gd name="connsiteX0" fmla="*/ 323543 w 4600545"/>
              <a:gd name="connsiteY0" fmla="*/ 0 h 5531266"/>
              <a:gd name="connsiteX1" fmla="*/ 3352710 w 4600545"/>
              <a:gd name="connsiteY1" fmla="*/ 153134 h 5531266"/>
              <a:gd name="connsiteX2" fmla="*/ 4181521 w 4600545"/>
              <a:gd name="connsiteY2" fmla="*/ 208242 h 5531266"/>
              <a:gd name="connsiteX3" fmla="*/ 4554715 w 4600545"/>
              <a:gd name="connsiteY3" fmla="*/ 228666 h 5531266"/>
              <a:gd name="connsiteX4" fmla="*/ 4582594 w 4600545"/>
              <a:gd name="connsiteY4" fmla="*/ 250471 h 5531266"/>
              <a:gd name="connsiteX5" fmla="*/ 4580820 w 4600545"/>
              <a:gd name="connsiteY5" fmla="*/ 282222 h 5531266"/>
              <a:gd name="connsiteX6" fmla="*/ 4583742 w 4600545"/>
              <a:gd name="connsiteY6" fmla="*/ 283939 h 5531266"/>
              <a:gd name="connsiteX7" fmla="*/ 4600168 w 4600545"/>
              <a:gd name="connsiteY7" fmla="*/ 315514 h 5531266"/>
              <a:gd name="connsiteX8" fmla="*/ 4577907 w 4600545"/>
              <a:gd name="connsiteY8" fmla="*/ 373160 h 5531266"/>
              <a:gd name="connsiteX9" fmla="*/ 4574419 w 4600545"/>
              <a:gd name="connsiteY9" fmla="*/ 396781 h 5531266"/>
              <a:gd name="connsiteX10" fmla="*/ 4569314 w 4600545"/>
              <a:gd name="connsiteY10" fmla="*/ 488120 h 5531266"/>
              <a:gd name="connsiteX11" fmla="*/ 4568664 w 4600545"/>
              <a:gd name="connsiteY11" fmla="*/ 534537 h 5531266"/>
              <a:gd name="connsiteX12" fmla="*/ 4565565 w 4600545"/>
              <a:gd name="connsiteY12" fmla="*/ 563001 h 5531266"/>
              <a:gd name="connsiteX13" fmla="*/ 4564896 w 4600545"/>
              <a:gd name="connsiteY13" fmla="*/ 567182 h 5531266"/>
              <a:gd name="connsiteX14" fmla="*/ 4551959 w 4600545"/>
              <a:gd name="connsiteY14" fmla="*/ 798696 h 5531266"/>
              <a:gd name="connsiteX15" fmla="*/ 4553672 w 4600545"/>
              <a:gd name="connsiteY15" fmla="*/ 803530 h 5531266"/>
              <a:gd name="connsiteX16" fmla="*/ 4551521 w 4600545"/>
              <a:gd name="connsiteY16" fmla="*/ 827361 h 5531266"/>
              <a:gd name="connsiteX17" fmla="*/ 4549921 w 4600545"/>
              <a:gd name="connsiteY17" fmla="*/ 835146 h 5531266"/>
              <a:gd name="connsiteX18" fmla="*/ 4543683 w 4600545"/>
              <a:gd name="connsiteY18" fmla="*/ 946777 h 5531266"/>
              <a:gd name="connsiteX19" fmla="*/ 4545760 w 4600545"/>
              <a:gd name="connsiteY19" fmla="*/ 947677 h 5531266"/>
              <a:gd name="connsiteX20" fmla="*/ 4549879 w 4600545"/>
              <a:gd name="connsiteY20" fmla="*/ 983859 h 5531266"/>
              <a:gd name="connsiteX21" fmla="*/ 4545081 w 4600545"/>
              <a:gd name="connsiteY21" fmla="*/ 1082386 h 5531266"/>
              <a:gd name="connsiteX22" fmla="*/ 4544976 w 4600545"/>
              <a:gd name="connsiteY22" fmla="*/ 1140681 h 5531266"/>
              <a:gd name="connsiteX23" fmla="*/ 4549279 w 4600545"/>
              <a:gd name="connsiteY23" fmla="*/ 1161797 h 5531266"/>
              <a:gd name="connsiteX24" fmla="*/ 4552369 w 4600545"/>
              <a:gd name="connsiteY24" fmla="*/ 1191979 h 5531266"/>
              <a:gd name="connsiteX25" fmla="*/ 4561186 w 4600545"/>
              <a:gd name="connsiteY25" fmla="*/ 1244449 h 5531266"/>
              <a:gd name="connsiteX26" fmla="*/ 4563463 w 4600545"/>
              <a:gd name="connsiteY26" fmla="*/ 1294666 h 5531266"/>
              <a:gd name="connsiteX27" fmla="*/ 4562583 w 4600545"/>
              <a:gd name="connsiteY27" fmla="*/ 1328296 h 5531266"/>
              <a:gd name="connsiteX28" fmla="*/ 4562120 w 4600545"/>
              <a:gd name="connsiteY28" fmla="*/ 1333156 h 5531266"/>
              <a:gd name="connsiteX29" fmla="*/ 4553001 w 4600545"/>
              <a:gd name="connsiteY29" fmla="*/ 1373054 h 5531266"/>
              <a:gd name="connsiteX30" fmla="*/ 4556265 w 4600545"/>
              <a:gd name="connsiteY30" fmla="*/ 1376999 h 5531266"/>
              <a:gd name="connsiteX31" fmla="*/ 4559107 w 4600545"/>
              <a:gd name="connsiteY31" fmla="*/ 1389816 h 5531266"/>
              <a:gd name="connsiteX32" fmla="*/ 4554366 w 4600545"/>
              <a:gd name="connsiteY32" fmla="*/ 1400401 h 5531266"/>
              <a:gd name="connsiteX33" fmla="*/ 4544182 w 4600545"/>
              <a:gd name="connsiteY33" fmla="*/ 1450629 h 5531266"/>
              <a:gd name="connsiteX34" fmla="*/ 4533285 w 4600545"/>
              <a:gd name="connsiteY34" fmla="*/ 1524330 h 5531266"/>
              <a:gd name="connsiteX35" fmla="*/ 4528404 w 4600545"/>
              <a:gd name="connsiteY35" fmla="*/ 1535289 h 5531266"/>
              <a:gd name="connsiteX36" fmla="*/ 4513976 w 4600545"/>
              <a:gd name="connsiteY36" fmla="*/ 1607363 h 5531266"/>
              <a:gd name="connsiteX37" fmla="*/ 4510261 w 4600545"/>
              <a:gd name="connsiteY37" fmla="*/ 1645395 h 5531266"/>
              <a:gd name="connsiteX38" fmla="*/ 4513921 w 4600545"/>
              <a:gd name="connsiteY38" fmla="*/ 1649850 h 5531266"/>
              <a:gd name="connsiteX39" fmla="*/ 4512271 w 4600545"/>
              <a:gd name="connsiteY39" fmla="*/ 1661048 h 5531266"/>
              <a:gd name="connsiteX40" fmla="*/ 4512683 w 4600545"/>
              <a:gd name="connsiteY40" fmla="*/ 1664107 h 5531266"/>
              <a:gd name="connsiteX41" fmla="*/ 4514194 w 4600545"/>
              <a:gd name="connsiteY41" fmla="*/ 1681560 h 5531266"/>
              <a:gd name="connsiteX42" fmla="*/ 4502724 w 4600545"/>
              <a:gd name="connsiteY42" fmla="*/ 1716455 h 5531266"/>
              <a:gd name="connsiteX43" fmla="*/ 4500664 w 4600545"/>
              <a:gd name="connsiteY43" fmla="*/ 1716581 h 5531266"/>
              <a:gd name="connsiteX44" fmla="*/ 4492166 w 4600545"/>
              <a:gd name="connsiteY44" fmla="*/ 1868666 h 5531266"/>
              <a:gd name="connsiteX45" fmla="*/ 4500857 w 4600545"/>
              <a:gd name="connsiteY45" fmla="*/ 1892828 h 5531266"/>
              <a:gd name="connsiteX46" fmla="*/ 4503135 w 4600545"/>
              <a:gd name="connsiteY46" fmla="*/ 1943047 h 5531266"/>
              <a:gd name="connsiteX47" fmla="*/ 4502254 w 4600545"/>
              <a:gd name="connsiteY47" fmla="*/ 1976676 h 5531266"/>
              <a:gd name="connsiteX48" fmla="*/ 4501792 w 4600545"/>
              <a:gd name="connsiteY48" fmla="*/ 1981536 h 5531266"/>
              <a:gd name="connsiteX49" fmla="*/ 4492672 w 4600545"/>
              <a:gd name="connsiteY49" fmla="*/ 2021434 h 5531266"/>
              <a:gd name="connsiteX50" fmla="*/ 4495937 w 4600545"/>
              <a:gd name="connsiteY50" fmla="*/ 2025379 h 5531266"/>
              <a:gd name="connsiteX51" fmla="*/ 4498778 w 4600545"/>
              <a:gd name="connsiteY51" fmla="*/ 2038196 h 5531266"/>
              <a:gd name="connsiteX52" fmla="*/ 4494037 w 4600545"/>
              <a:gd name="connsiteY52" fmla="*/ 2048781 h 5531266"/>
              <a:gd name="connsiteX53" fmla="*/ 4483853 w 4600545"/>
              <a:gd name="connsiteY53" fmla="*/ 2099011 h 5531266"/>
              <a:gd name="connsiteX54" fmla="*/ 4476522 w 4600545"/>
              <a:gd name="connsiteY54" fmla="*/ 2148592 h 5531266"/>
              <a:gd name="connsiteX55" fmla="*/ 4420439 w 4600545"/>
              <a:gd name="connsiteY55" fmla="*/ 3204925 h 5531266"/>
              <a:gd name="connsiteX56" fmla="*/ 4407653 w 4600545"/>
              <a:gd name="connsiteY56" fmla="*/ 3458573 h 5531266"/>
              <a:gd name="connsiteX57" fmla="*/ 4396568 w 4600545"/>
              <a:gd name="connsiteY57" fmla="*/ 3621276 h 5531266"/>
              <a:gd name="connsiteX58" fmla="*/ 4305807 w 4600545"/>
              <a:gd name="connsiteY58" fmla="*/ 5260213 h 5531266"/>
              <a:gd name="connsiteX59" fmla="*/ 4311105 w 4600545"/>
              <a:gd name="connsiteY59" fmla="*/ 5296918 h 5531266"/>
              <a:gd name="connsiteX60" fmla="*/ 4314639 w 4600545"/>
              <a:gd name="connsiteY60" fmla="*/ 5331382 h 5531266"/>
              <a:gd name="connsiteX61" fmla="*/ 4317471 w 4600545"/>
              <a:gd name="connsiteY61" fmla="*/ 5431691 h 5531266"/>
              <a:gd name="connsiteX62" fmla="*/ 4298914 w 4600545"/>
              <a:gd name="connsiteY62" fmla="*/ 5466096 h 5531266"/>
              <a:gd name="connsiteX63" fmla="*/ 4294262 w 4600545"/>
              <a:gd name="connsiteY63" fmla="*/ 5468796 h 5531266"/>
              <a:gd name="connsiteX64" fmla="*/ 4290805 w 4600545"/>
              <a:gd name="connsiteY64" fmla="*/ 5531243 h 5531266"/>
              <a:gd name="connsiteX65" fmla="*/ 357442 w 4600545"/>
              <a:gd name="connsiteY65" fmla="*/ 5278553 h 5531266"/>
              <a:gd name="connsiteX66" fmla="*/ 47098 w 4600545"/>
              <a:gd name="connsiteY66" fmla="*/ 5261459 h 5531266"/>
              <a:gd name="connsiteX67" fmla="*/ 51422 w 4600545"/>
              <a:gd name="connsiteY67" fmla="*/ 5221195 h 5531266"/>
              <a:gd name="connsiteX68" fmla="*/ 55642 w 4600545"/>
              <a:gd name="connsiteY68" fmla="*/ 5214590 h 5531266"/>
              <a:gd name="connsiteX69" fmla="*/ 55911 w 4600545"/>
              <a:gd name="connsiteY69" fmla="*/ 5211844 h 5531266"/>
              <a:gd name="connsiteX70" fmla="*/ 56181 w 4600545"/>
              <a:gd name="connsiteY70" fmla="*/ 5209096 h 5531266"/>
              <a:gd name="connsiteX71" fmla="*/ 56718 w 4600545"/>
              <a:gd name="connsiteY71" fmla="*/ 5203600 h 5531266"/>
              <a:gd name="connsiteX72" fmla="*/ 56403 w 4600545"/>
              <a:gd name="connsiteY72" fmla="*/ 5197697 h 5531266"/>
              <a:gd name="connsiteX73" fmla="*/ 323543 w 4600545"/>
              <a:gd name="connsiteY73" fmla="*/ 0 h 5531266"/>
              <a:gd name="connsiteX0" fmla="*/ 323347 w 4600349"/>
              <a:gd name="connsiteY0" fmla="*/ 0 h 5531266"/>
              <a:gd name="connsiteX1" fmla="*/ 3352514 w 4600349"/>
              <a:gd name="connsiteY1" fmla="*/ 153134 h 5531266"/>
              <a:gd name="connsiteX2" fmla="*/ 4181325 w 4600349"/>
              <a:gd name="connsiteY2" fmla="*/ 208242 h 5531266"/>
              <a:gd name="connsiteX3" fmla="*/ 4554519 w 4600349"/>
              <a:gd name="connsiteY3" fmla="*/ 228666 h 5531266"/>
              <a:gd name="connsiteX4" fmla="*/ 4582398 w 4600349"/>
              <a:gd name="connsiteY4" fmla="*/ 250471 h 5531266"/>
              <a:gd name="connsiteX5" fmla="*/ 4580624 w 4600349"/>
              <a:gd name="connsiteY5" fmla="*/ 282222 h 5531266"/>
              <a:gd name="connsiteX6" fmla="*/ 4583546 w 4600349"/>
              <a:gd name="connsiteY6" fmla="*/ 283939 h 5531266"/>
              <a:gd name="connsiteX7" fmla="*/ 4599972 w 4600349"/>
              <a:gd name="connsiteY7" fmla="*/ 315514 h 5531266"/>
              <a:gd name="connsiteX8" fmla="*/ 4577711 w 4600349"/>
              <a:gd name="connsiteY8" fmla="*/ 373160 h 5531266"/>
              <a:gd name="connsiteX9" fmla="*/ 4574223 w 4600349"/>
              <a:gd name="connsiteY9" fmla="*/ 396781 h 5531266"/>
              <a:gd name="connsiteX10" fmla="*/ 4569118 w 4600349"/>
              <a:gd name="connsiteY10" fmla="*/ 488120 h 5531266"/>
              <a:gd name="connsiteX11" fmla="*/ 4568468 w 4600349"/>
              <a:gd name="connsiteY11" fmla="*/ 534537 h 5531266"/>
              <a:gd name="connsiteX12" fmla="*/ 4565369 w 4600349"/>
              <a:gd name="connsiteY12" fmla="*/ 563001 h 5531266"/>
              <a:gd name="connsiteX13" fmla="*/ 4564700 w 4600349"/>
              <a:gd name="connsiteY13" fmla="*/ 567182 h 5531266"/>
              <a:gd name="connsiteX14" fmla="*/ 4551763 w 4600349"/>
              <a:gd name="connsiteY14" fmla="*/ 798696 h 5531266"/>
              <a:gd name="connsiteX15" fmla="*/ 4553476 w 4600349"/>
              <a:gd name="connsiteY15" fmla="*/ 803530 h 5531266"/>
              <a:gd name="connsiteX16" fmla="*/ 4551325 w 4600349"/>
              <a:gd name="connsiteY16" fmla="*/ 827361 h 5531266"/>
              <a:gd name="connsiteX17" fmla="*/ 4549725 w 4600349"/>
              <a:gd name="connsiteY17" fmla="*/ 835146 h 5531266"/>
              <a:gd name="connsiteX18" fmla="*/ 4543487 w 4600349"/>
              <a:gd name="connsiteY18" fmla="*/ 946777 h 5531266"/>
              <a:gd name="connsiteX19" fmla="*/ 4545564 w 4600349"/>
              <a:gd name="connsiteY19" fmla="*/ 947677 h 5531266"/>
              <a:gd name="connsiteX20" fmla="*/ 4549683 w 4600349"/>
              <a:gd name="connsiteY20" fmla="*/ 983859 h 5531266"/>
              <a:gd name="connsiteX21" fmla="*/ 4544885 w 4600349"/>
              <a:gd name="connsiteY21" fmla="*/ 1082386 h 5531266"/>
              <a:gd name="connsiteX22" fmla="*/ 4544780 w 4600349"/>
              <a:gd name="connsiteY22" fmla="*/ 1140681 h 5531266"/>
              <a:gd name="connsiteX23" fmla="*/ 4549083 w 4600349"/>
              <a:gd name="connsiteY23" fmla="*/ 1161797 h 5531266"/>
              <a:gd name="connsiteX24" fmla="*/ 4552173 w 4600349"/>
              <a:gd name="connsiteY24" fmla="*/ 1191979 h 5531266"/>
              <a:gd name="connsiteX25" fmla="*/ 4560990 w 4600349"/>
              <a:gd name="connsiteY25" fmla="*/ 1244449 h 5531266"/>
              <a:gd name="connsiteX26" fmla="*/ 4563267 w 4600349"/>
              <a:gd name="connsiteY26" fmla="*/ 1294666 h 5531266"/>
              <a:gd name="connsiteX27" fmla="*/ 4562387 w 4600349"/>
              <a:gd name="connsiteY27" fmla="*/ 1328296 h 5531266"/>
              <a:gd name="connsiteX28" fmla="*/ 4561924 w 4600349"/>
              <a:gd name="connsiteY28" fmla="*/ 1333156 h 5531266"/>
              <a:gd name="connsiteX29" fmla="*/ 4552805 w 4600349"/>
              <a:gd name="connsiteY29" fmla="*/ 1373054 h 5531266"/>
              <a:gd name="connsiteX30" fmla="*/ 4556069 w 4600349"/>
              <a:gd name="connsiteY30" fmla="*/ 1376999 h 5531266"/>
              <a:gd name="connsiteX31" fmla="*/ 4558911 w 4600349"/>
              <a:gd name="connsiteY31" fmla="*/ 1389816 h 5531266"/>
              <a:gd name="connsiteX32" fmla="*/ 4554170 w 4600349"/>
              <a:gd name="connsiteY32" fmla="*/ 1400401 h 5531266"/>
              <a:gd name="connsiteX33" fmla="*/ 4543986 w 4600349"/>
              <a:gd name="connsiteY33" fmla="*/ 1450629 h 5531266"/>
              <a:gd name="connsiteX34" fmla="*/ 4533089 w 4600349"/>
              <a:gd name="connsiteY34" fmla="*/ 1524330 h 5531266"/>
              <a:gd name="connsiteX35" fmla="*/ 4528208 w 4600349"/>
              <a:gd name="connsiteY35" fmla="*/ 1535289 h 5531266"/>
              <a:gd name="connsiteX36" fmla="*/ 4513780 w 4600349"/>
              <a:gd name="connsiteY36" fmla="*/ 1607363 h 5531266"/>
              <a:gd name="connsiteX37" fmla="*/ 4510065 w 4600349"/>
              <a:gd name="connsiteY37" fmla="*/ 1645395 h 5531266"/>
              <a:gd name="connsiteX38" fmla="*/ 4513725 w 4600349"/>
              <a:gd name="connsiteY38" fmla="*/ 1649850 h 5531266"/>
              <a:gd name="connsiteX39" fmla="*/ 4512075 w 4600349"/>
              <a:gd name="connsiteY39" fmla="*/ 1661048 h 5531266"/>
              <a:gd name="connsiteX40" fmla="*/ 4512487 w 4600349"/>
              <a:gd name="connsiteY40" fmla="*/ 1664107 h 5531266"/>
              <a:gd name="connsiteX41" fmla="*/ 4513998 w 4600349"/>
              <a:gd name="connsiteY41" fmla="*/ 1681560 h 5531266"/>
              <a:gd name="connsiteX42" fmla="*/ 4502528 w 4600349"/>
              <a:gd name="connsiteY42" fmla="*/ 1716455 h 5531266"/>
              <a:gd name="connsiteX43" fmla="*/ 4500468 w 4600349"/>
              <a:gd name="connsiteY43" fmla="*/ 1716581 h 5531266"/>
              <a:gd name="connsiteX44" fmla="*/ 4491970 w 4600349"/>
              <a:gd name="connsiteY44" fmla="*/ 1868666 h 5531266"/>
              <a:gd name="connsiteX45" fmla="*/ 4500661 w 4600349"/>
              <a:gd name="connsiteY45" fmla="*/ 1892828 h 5531266"/>
              <a:gd name="connsiteX46" fmla="*/ 4502939 w 4600349"/>
              <a:gd name="connsiteY46" fmla="*/ 1943047 h 5531266"/>
              <a:gd name="connsiteX47" fmla="*/ 4502058 w 4600349"/>
              <a:gd name="connsiteY47" fmla="*/ 1976676 h 5531266"/>
              <a:gd name="connsiteX48" fmla="*/ 4501596 w 4600349"/>
              <a:gd name="connsiteY48" fmla="*/ 1981536 h 5531266"/>
              <a:gd name="connsiteX49" fmla="*/ 4492476 w 4600349"/>
              <a:gd name="connsiteY49" fmla="*/ 2021434 h 5531266"/>
              <a:gd name="connsiteX50" fmla="*/ 4495741 w 4600349"/>
              <a:gd name="connsiteY50" fmla="*/ 2025379 h 5531266"/>
              <a:gd name="connsiteX51" fmla="*/ 4498582 w 4600349"/>
              <a:gd name="connsiteY51" fmla="*/ 2038196 h 5531266"/>
              <a:gd name="connsiteX52" fmla="*/ 4493841 w 4600349"/>
              <a:gd name="connsiteY52" fmla="*/ 2048781 h 5531266"/>
              <a:gd name="connsiteX53" fmla="*/ 4483657 w 4600349"/>
              <a:gd name="connsiteY53" fmla="*/ 2099011 h 5531266"/>
              <a:gd name="connsiteX54" fmla="*/ 4476326 w 4600349"/>
              <a:gd name="connsiteY54" fmla="*/ 2148592 h 5531266"/>
              <a:gd name="connsiteX55" fmla="*/ 4420243 w 4600349"/>
              <a:gd name="connsiteY55" fmla="*/ 3204925 h 5531266"/>
              <a:gd name="connsiteX56" fmla="*/ 4407457 w 4600349"/>
              <a:gd name="connsiteY56" fmla="*/ 3458573 h 5531266"/>
              <a:gd name="connsiteX57" fmla="*/ 4396372 w 4600349"/>
              <a:gd name="connsiteY57" fmla="*/ 3621276 h 5531266"/>
              <a:gd name="connsiteX58" fmla="*/ 4305611 w 4600349"/>
              <a:gd name="connsiteY58" fmla="*/ 5260213 h 5531266"/>
              <a:gd name="connsiteX59" fmla="*/ 4310909 w 4600349"/>
              <a:gd name="connsiteY59" fmla="*/ 5296918 h 5531266"/>
              <a:gd name="connsiteX60" fmla="*/ 4314443 w 4600349"/>
              <a:gd name="connsiteY60" fmla="*/ 5331382 h 5531266"/>
              <a:gd name="connsiteX61" fmla="*/ 4317275 w 4600349"/>
              <a:gd name="connsiteY61" fmla="*/ 5431691 h 5531266"/>
              <a:gd name="connsiteX62" fmla="*/ 4298718 w 4600349"/>
              <a:gd name="connsiteY62" fmla="*/ 5466096 h 5531266"/>
              <a:gd name="connsiteX63" fmla="*/ 4294066 w 4600349"/>
              <a:gd name="connsiteY63" fmla="*/ 5468796 h 5531266"/>
              <a:gd name="connsiteX64" fmla="*/ 4290609 w 4600349"/>
              <a:gd name="connsiteY64" fmla="*/ 5531243 h 5531266"/>
              <a:gd name="connsiteX65" fmla="*/ 357246 w 4600349"/>
              <a:gd name="connsiteY65" fmla="*/ 5278553 h 5531266"/>
              <a:gd name="connsiteX66" fmla="*/ 46902 w 4600349"/>
              <a:gd name="connsiteY66" fmla="*/ 5261459 h 5531266"/>
              <a:gd name="connsiteX67" fmla="*/ 51226 w 4600349"/>
              <a:gd name="connsiteY67" fmla="*/ 5221195 h 5531266"/>
              <a:gd name="connsiteX68" fmla="*/ 55446 w 4600349"/>
              <a:gd name="connsiteY68" fmla="*/ 5214590 h 5531266"/>
              <a:gd name="connsiteX69" fmla="*/ 55715 w 4600349"/>
              <a:gd name="connsiteY69" fmla="*/ 5211844 h 5531266"/>
              <a:gd name="connsiteX70" fmla="*/ 55985 w 4600349"/>
              <a:gd name="connsiteY70" fmla="*/ 5209096 h 5531266"/>
              <a:gd name="connsiteX71" fmla="*/ 56522 w 4600349"/>
              <a:gd name="connsiteY71" fmla="*/ 5203600 h 5531266"/>
              <a:gd name="connsiteX72" fmla="*/ 323347 w 4600349"/>
              <a:gd name="connsiteY72" fmla="*/ 0 h 5531266"/>
              <a:gd name="connsiteX0" fmla="*/ 323611 w 4600613"/>
              <a:gd name="connsiteY0" fmla="*/ 0 h 5531266"/>
              <a:gd name="connsiteX1" fmla="*/ 3352778 w 4600613"/>
              <a:gd name="connsiteY1" fmla="*/ 153134 h 5531266"/>
              <a:gd name="connsiteX2" fmla="*/ 4181589 w 4600613"/>
              <a:gd name="connsiteY2" fmla="*/ 208242 h 5531266"/>
              <a:gd name="connsiteX3" fmla="*/ 4554783 w 4600613"/>
              <a:gd name="connsiteY3" fmla="*/ 228666 h 5531266"/>
              <a:gd name="connsiteX4" fmla="*/ 4582662 w 4600613"/>
              <a:gd name="connsiteY4" fmla="*/ 250471 h 5531266"/>
              <a:gd name="connsiteX5" fmla="*/ 4580888 w 4600613"/>
              <a:gd name="connsiteY5" fmla="*/ 282222 h 5531266"/>
              <a:gd name="connsiteX6" fmla="*/ 4583810 w 4600613"/>
              <a:gd name="connsiteY6" fmla="*/ 283939 h 5531266"/>
              <a:gd name="connsiteX7" fmla="*/ 4600236 w 4600613"/>
              <a:gd name="connsiteY7" fmla="*/ 315514 h 5531266"/>
              <a:gd name="connsiteX8" fmla="*/ 4577975 w 4600613"/>
              <a:gd name="connsiteY8" fmla="*/ 373160 h 5531266"/>
              <a:gd name="connsiteX9" fmla="*/ 4574487 w 4600613"/>
              <a:gd name="connsiteY9" fmla="*/ 396781 h 5531266"/>
              <a:gd name="connsiteX10" fmla="*/ 4569382 w 4600613"/>
              <a:gd name="connsiteY10" fmla="*/ 488120 h 5531266"/>
              <a:gd name="connsiteX11" fmla="*/ 4568732 w 4600613"/>
              <a:gd name="connsiteY11" fmla="*/ 534537 h 5531266"/>
              <a:gd name="connsiteX12" fmla="*/ 4565633 w 4600613"/>
              <a:gd name="connsiteY12" fmla="*/ 563001 h 5531266"/>
              <a:gd name="connsiteX13" fmla="*/ 4564964 w 4600613"/>
              <a:gd name="connsiteY13" fmla="*/ 567182 h 5531266"/>
              <a:gd name="connsiteX14" fmla="*/ 4552027 w 4600613"/>
              <a:gd name="connsiteY14" fmla="*/ 798696 h 5531266"/>
              <a:gd name="connsiteX15" fmla="*/ 4553740 w 4600613"/>
              <a:gd name="connsiteY15" fmla="*/ 803530 h 5531266"/>
              <a:gd name="connsiteX16" fmla="*/ 4551589 w 4600613"/>
              <a:gd name="connsiteY16" fmla="*/ 827361 h 5531266"/>
              <a:gd name="connsiteX17" fmla="*/ 4549989 w 4600613"/>
              <a:gd name="connsiteY17" fmla="*/ 835146 h 5531266"/>
              <a:gd name="connsiteX18" fmla="*/ 4543751 w 4600613"/>
              <a:gd name="connsiteY18" fmla="*/ 946777 h 5531266"/>
              <a:gd name="connsiteX19" fmla="*/ 4545828 w 4600613"/>
              <a:gd name="connsiteY19" fmla="*/ 947677 h 5531266"/>
              <a:gd name="connsiteX20" fmla="*/ 4549947 w 4600613"/>
              <a:gd name="connsiteY20" fmla="*/ 983859 h 5531266"/>
              <a:gd name="connsiteX21" fmla="*/ 4545149 w 4600613"/>
              <a:gd name="connsiteY21" fmla="*/ 1082386 h 5531266"/>
              <a:gd name="connsiteX22" fmla="*/ 4545044 w 4600613"/>
              <a:gd name="connsiteY22" fmla="*/ 1140681 h 5531266"/>
              <a:gd name="connsiteX23" fmla="*/ 4549347 w 4600613"/>
              <a:gd name="connsiteY23" fmla="*/ 1161797 h 5531266"/>
              <a:gd name="connsiteX24" fmla="*/ 4552437 w 4600613"/>
              <a:gd name="connsiteY24" fmla="*/ 1191979 h 5531266"/>
              <a:gd name="connsiteX25" fmla="*/ 4561254 w 4600613"/>
              <a:gd name="connsiteY25" fmla="*/ 1244449 h 5531266"/>
              <a:gd name="connsiteX26" fmla="*/ 4563531 w 4600613"/>
              <a:gd name="connsiteY26" fmla="*/ 1294666 h 5531266"/>
              <a:gd name="connsiteX27" fmla="*/ 4562651 w 4600613"/>
              <a:gd name="connsiteY27" fmla="*/ 1328296 h 5531266"/>
              <a:gd name="connsiteX28" fmla="*/ 4562188 w 4600613"/>
              <a:gd name="connsiteY28" fmla="*/ 1333156 h 5531266"/>
              <a:gd name="connsiteX29" fmla="*/ 4553069 w 4600613"/>
              <a:gd name="connsiteY29" fmla="*/ 1373054 h 5531266"/>
              <a:gd name="connsiteX30" fmla="*/ 4556333 w 4600613"/>
              <a:gd name="connsiteY30" fmla="*/ 1376999 h 5531266"/>
              <a:gd name="connsiteX31" fmla="*/ 4559175 w 4600613"/>
              <a:gd name="connsiteY31" fmla="*/ 1389816 h 5531266"/>
              <a:gd name="connsiteX32" fmla="*/ 4554434 w 4600613"/>
              <a:gd name="connsiteY32" fmla="*/ 1400401 h 5531266"/>
              <a:gd name="connsiteX33" fmla="*/ 4544250 w 4600613"/>
              <a:gd name="connsiteY33" fmla="*/ 1450629 h 5531266"/>
              <a:gd name="connsiteX34" fmla="*/ 4533353 w 4600613"/>
              <a:gd name="connsiteY34" fmla="*/ 1524330 h 5531266"/>
              <a:gd name="connsiteX35" fmla="*/ 4528472 w 4600613"/>
              <a:gd name="connsiteY35" fmla="*/ 1535289 h 5531266"/>
              <a:gd name="connsiteX36" fmla="*/ 4514044 w 4600613"/>
              <a:gd name="connsiteY36" fmla="*/ 1607363 h 5531266"/>
              <a:gd name="connsiteX37" fmla="*/ 4510329 w 4600613"/>
              <a:gd name="connsiteY37" fmla="*/ 1645395 h 5531266"/>
              <a:gd name="connsiteX38" fmla="*/ 4513989 w 4600613"/>
              <a:gd name="connsiteY38" fmla="*/ 1649850 h 5531266"/>
              <a:gd name="connsiteX39" fmla="*/ 4512339 w 4600613"/>
              <a:gd name="connsiteY39" fmla="*/ 1661048 h 5531266"/>
              <a:gd name="connsiteX40" fmla="*/ 4512751 w 4600613"/>
              <a:gd name="connsiteY40" fmla="*/ 1664107 h 5531266"/>
              <a:gd name="connsiteX41" fmla="*/ 4514262 w 4600613"/>
              <a:gd name="connsiteY41" fmla="*/ 1681560 h 5531266"/>
              <a:gd name="connsiteX42" fmla="*/ 4502792 w 4600613"/>
              <a:gd name="connsiteY42" fmla="*/ 1716455 h 5531266"/>
              <a:gd name="connsiteX43" fmla="*/ 4500732 w 4600613"/>
              <a:gd name="connsiteY43" fmla="*/ 1716581 h 5531266"/>
              <a:gd name="connsiteX44" fmla="*/ 4492234 w 4600613"/>
              <a:gd name="connsiteY44" fmla="*/ 1868666 h 5531266"/>
              <a:gd name="connsiteX45" fmla="*/ 4500925 w 4600613"/>
              <a:gd name="connsiteY45" fmla="*/ 1892828 h 5531266"/>
              <a:gd name="connsiteX46" fmla="*/ 4503203 w 4600613"/>
              <a:gd name="connsiteY46" fmla="*/ 1943047 h 5531266"/>
              <a:gd name="connsiteX47" fmla="*/ 4502322 w 4600613"/>
              <a:gd name="connsiteY47" fmla="*/ 1976676 h 5531266"/>
              <a:gd name="connsiteX48" fmla="*/ 4501860 w 4600613"/>
              <a:gd name="connsiteY48" fmla="*/ 1981536 h 5531266"/>
              <a:gd name="connsiteX49" fmla="*/ 4492740 w 4600613"/>
              <a:gd name="connsiteY49" fmla="*/ 2021434 h 5531266"/>
              <a:gd name="connsiteX50" fmla="*/ 4496005 w 4600613"/>
              <a:gd name="connsiteY50" fmla="*/ 2025379 h 5531266"/>
              <a:gd name="connsiteX51" fmla="*/ 4498846 w 4600613"/>
              <a:gd name="connsiteY51" fmla="*/ 2038196 h 5531266"/>
              <a:gd name="connsiteX52" fmla="*/ 4494105 w 4600613"/>
              <a:gd name="connsiteY52" fmla="*/ 2048781 h 5531266"/>
              <a:gd name="connsiteX53" fmla="*/ 4483921 w 4600613"/>
              <a:gd name="connsiteY53" fmla="*/ 2099011 h 5531266"/>
              <a:gd name="connsiteX54" fmla="*/ 4476590 w 4600613"/>
              <a:gd name="connsiteY54" fmla="*/ 2148592 h 5531266"/>
              <a:gd name="connsiteX55" fmla="*/ 4420507 w 4600613"/>
              <a:gd name="connsiteY55" fmla="*/ 3204925 h 5531266"/>
              <a:gd name="connsiteX56" fmla="*/ 4407721 w 4600613"/>
              <a:gd name="connsiteY56" fmla="*/ 3458573 h 5531266"/>
              <a:gd name="connsiteX57" fmla="*/ 4396636 w 4600613"/>
              <a:gd name="connsiteY57" fmla="*/ 3621276 h 5531266"/>
              <a:gd name="connsiteX58" fmla="*/ 4305875 w 4600613"/>
              <a:gd name="connsiteY58" fmla="*/ 5260213 h 5531266"/>
              <a:gd name="connsiteX59" fmla="*/ 4311173 w 4600613"/>
              <a:gd name="connsiteY59" fmla="*/ 5296918 h 5531266"/>
              <a:gd name="connsiteX60" fmla="*/ 4314707 w 4600613"/>
              <a:gd name="connsiteY60" fmla="*/ 5331382 h 5531266"/>
              <a:gd name="connsiteX61" fmla="*/ 4317539 w 4600613"/>
              <a:gd name="connsiteY61" fmla="*/ 5431691 h 5531266"/>
              <a:gd name="connsiteX62" fmla="*/ 4298982 w 4600613"/>
              <a:gd name="connsiteY62" fmla="*/ 5466096 h 5531266"/>
              <a:gd name="connsiteX63" fmla="*/ 4294330 w 4600613"/>
              <a:gd name="connsiteY63" fmla="*/ 5468796 h 5531266"/>
              <a:gd name="connsiteX64" fmla="*/ 4290873 w 4600613"/>
              <a:gd name="connsiteY64" fmla="*/ 5531243 h 5531266"/>
              <a:gd name="connsiteX65" fmla="*/ 357510 w 4600613"/>
              <a:gd name="connsiteY65" fmla="*/ 5278553 h 5531266"/>
              <a:gd name="connsiteX66" fmla="*/ 47166 w 4600613"/>
              <a:gd name="connsiteY66" fmla="*/ 5261459 h 5531266"/>
              <a:gd name="connsiteX67" fmla="*/ 51490 w 4600613"/>
              <a:gd name="connsiteY67" fmla="*/ 5221195 h 5531266"/>
              <a:gd name="connsiteX68" fmla="*/ 55710 w 4600613"/>
              <a:gd name="connsiteY68" fmla="*/ 5214590 h 5531266"/>
              <a:gd name="connsiteX69" fmla="*/ 55979 w 4600613"/>
              <a:gd name="connsiteY69" fmla="*/ 5211844 h 5531266"/>
              <a:gd name="connsiteX70" fmla="*/ 56249 w 4600613"/>
              <a:gd name="connsiteY70" fmla="*/ 5209096 h 5531266"/>
              <a:gd name="connsiteX71" fmla="*/ 323611 w 4600613"/>
              <a:gd name="connsiteY71" fmla="*/ 0 h 5531266"/>
              <a:gd name="connsiteX0" fmla="*/ 276445 w 4553447"/>
              <a:gd name="connsiteY0" fmla="*/ 0 h 5531266"/>
              <a:gd name="connsiteX1" fmla="*/ 3305612 w 4553447"/>
              <a:gd name="connsiteY1" fmla="*/ 153134 h 5531266"/>
              <a:gd name="connsiteX2" fmla="*/ 4134423 w 4553447"/>
              <a:gd name="connsiteY2" fmla="*/ 208242 h 5531266"/>
              <a:gd name="connsiteX3" fmla="*/ 4507617 w 4553447"/>
              <a:gd name="connsiteY3" fmla="*/ 228666 h 5531266"/>
              <a:gd name="connsiteX4" fmla="*/ 4535496 w 4553447"/>
              <a:gd name="connsiteY4" fmla="*/ 250471 h 5531266"/>
              <a:gd name="connsiteX5" fmla="*/ 4533722 w 4553447"/>
              <a:gd name="connsiteY5" fmla="*/ 282222 h 5531266"/>
              <a:gd name="connsiteX6" fmla="*/ 4536644 w 4553447"/>
              <a:gd name="connsiteY6" fmla="*/ 283939 h 5531266"/>
              <a:gd name="connsiteX7" fmla="*/ 4553070 w 4553447"/>
              <a:gd name="connsiteY7" fmla="*/ 315514 h 5531266"/>
              <a:gd name="connsiteX8" fmla="*/ 4530809 w 4553447"/>
              <a:gd name="connsiteY8" fmla="*/ 373160 h 5531266"/>
              <a:gd name="connsiteX9" fmla="*/ 4527321 w 4553447"/>
              <a:gd name="connsiteY9" fmla="*/ 396781 h 5531266"/>
              <a:gd name="connsiteX10" fmla="*/ 4522216 w 4553447"/>
              <a:gd name="connsiteY10" fmla="*/ 488120 h 5531266"/>
              <a:gd name="connsiteX11" fmla="*/ 4521566 w 4553447"/>
              <a:gd name="connsiteY11" fmla="*/ 534537 h 5531266"/>
              <a:gd name="connsiteX12" fmla="*/ 4518467 w 4553447"/>
              <a:gd name="connsiteY12" fmla="*/ 563001 h 5531266"/>
              <a:gd name="connsiteX13" fmla="*/ 4517798 w 4553447"/>
              <a:gd name="connsiteY13" fmla="*/ 567182 h 5531266"/>
              <a:gd name="connsiteX14" fmla="*/ 4504861 w 4553447"/>
              <a:gd name="connsiteY14" fmla="*/ 798696 h 5531266"/>
              <a:gd name="connsiteX15" fmla="*/ 4506574 w 4553447"/>
              <a:gd name="connsiteY15" fmla="*/ 803530 h 5531266"/>
              <a:gd name="connsiteX16" fmla="*/ 4504423 w 4553447"/>
              <a:gd name="connsiteY16" fmla="*/ 827361 h 5531266"/>
              <a:gd name="connsiteX17" fmla="*/ 4502823 w 4553447"/>
              <a:gd name="connsiteY17" fmla="*/ 835146 h 5531266"/>
              <a:gd name="connsiteX18" fmla="*/ 4496585 w 4553447"/>
              <a:gd name="connsiteY18" fmla="*/ 946777 h 5531266"/>
              <a:gd name="connsiteX19" fmla="*/ 4498662 w 4553447"/>
              <a:gd name="connsiteY19" fmla="*/ 947677 h 5531266"/>
              <a:gd name="connsiteX20" fmla="*/ 4502781 w 4553447"/>
              <a:gd name="connsiteY20" fmla="*/ 983859 h 5531266"/>
              <a:gd name="connsiteX21" fmla="*/ 4497983 w 4553447"/>
              <a:gd name="connsiteY21" fmla="*/ 1082386 h 5531266"/>
              <a:gd name="connsiteX22" fmla="*/ 4497878 w 4553447"/>
              <a:gd name="connsiteY22" fmla="*/ 1140681 h 5531266"/>
              <a:gd name="connsiteX23" fmla="*/ 4502181 w 4553447"/>
              <a:gd name="connsiteY23" fmla="*/ 1161797 h 5531266"/>
              <a:gd name="connsiteX24" fmla="*/ 4505271 w 4553447"/>
              <a:gd name="connsiteY24" fmla="*/ 1191979 h 5531266"/>
              <a:gd name="connsiteX25" fmla="*/ 4514088 w 4553447"/>
              <a:gd name="connsiteY25" fmla="*/ 1244449 h 5531266"/>
              <a:gd name="connsiteX26" fmla="*/ 4516365 w 4553447"/>
              <a:gd name="connsiteY26" fmla="*/ 1294666 h 5531266"/>
              <a:gd name="connsiteX27" fmla="*/ 4515485 w 4553447"/>
              <a:gd name="connsiteY27" fmla="*/ 1328296 h 5531266"/>
              <a:gd name="connsiteX28" fmla="*/ 4515022 w 4553447"/>
              <a:gd name="connsiteY28" fmla="*/ 1333156 h 5531266"/>
              <a:gd name="connsiteX29" fmla="*/ 4505903 w 4553447"/>
              <a:gd name="connsiteY29" fmla="*/ 1373054 h 5531266"/>
              <a:gd name="connsiteX30" fmla="*/ 4509167 w 4553447"/>
              <a:gd name="connsiteY30" fmla="*/ 1376999 h 5531266"/>
              <a:gd name="connsiteX31" fmla="*/ 4512009 w 4553447"/>
              <a:gd name="connsiteY31" fmla="*/ 1389816 h 5531266"/>
              <a:gd name="connsiteX32" fmla="*/ 4507268 w 4553447"/>
              <a:gd name="connsiteY32" fmla="*/ 1400401 h 5531266"/>
              <a:gd name="connsiteX33" fmla="*/ 4497084 w 4553447"/>
              <a:gd name="connsiteY33" fmla="*/ 1450629 h 5531266"/>
              <a:gd name="connsiteX34" fmla="*/ 4486187 w 4553447"/>
              <a:gd name="connsiteY34" fmla="*/ 1524330 h 5531266"/>
              <a:gd name="connsiteX35" fmla="*/ 4481306 w 4553447"/>
              <a:gd name="connsiteY35" fmla="*/ 1535289 h 5531266"/>
              <a:gd name="connsiteX36" fmla="*/ 4466878 w 4553447"/>
              <a:gd name="connsiteY36" fmla="*/ 1607363 h 5531266"/>
              <a:gd name="connsiteX37" fmla="*/ 4463163 w 4553447"/>
              <a:gd name="connsiteY37" fmla="*/ 1645395 h 5531266"/>
              <a:gd name="connsiteX38" fmla="*/ 4466823 w 4553447"/>
              <a:gd name="connsiteY38" fmla="*/ 1649850 h 5531266"/>
              <a:gd name="connsiteX39" fmla="*/ 4465173 w 4553447"/>
              <a:gd name="connsiteY39" fmla="*/ 1661048 h 5531266"/>
              <a:gd name="connsiteX40" fmla="*/ 4465585 w 4553447"/>
              <a:gd name="connsiteY40" fmla="*/ 1664107 h 5531266"/>
              <a:gd name="connsiteX41" fmla="*/ 4467096 w 4553447"/>
              <a:gd name="connsiteY41" fmla="*/ 1681560 h 5531266"/>
              <a:gd name="connsiteX42" fmla="*/ 4455626 w 4553447"/>
              <a:gd name="connsiteY42" fmla="*/ 1716455 h 5531266"/>
              <a:gd name="connsiteX43" fmla="*/ 4453566 w 4553447"/>
              <a:gd name="connsiteY43" fmla="*/ 1716581 h 5531266"/>
              <a:gd name="connsiteX44" fmla="*/ 4445068 w 4553447"/>
              <a:gd name="connsiteY44" fmla="*/ 1868666 h 5531266"/>
              <a:gd name="connsiteX45" fmla="*/ 4453759 w 4553447"/>
              <a:gd name="connsiteY45" fmla="*/ 1892828 h 5531266"/>
              <a:gd name="connsiteX46" fmla="*/ 4456037 w 4553447"/>
              <a:gd name="connsiteY46" fmla="*/ 1943047 h 5531266"/>
              <a:gd name="connsiteX47" fmla="*/ 4455156 w 4553447"/>
              <a:gd name="connsiteY47" fmla="*/ 1976676 h 5531266"/>
              <a:gd name="connsiteX48" fmla="*/ 4454694 w 4553447"/>
              <a:gd name="connsiteY48" fmla="*/ 1981536 h 5531266"/>
              <a:gd name="connsiteX49" fmla="*/ 4445574 w 4553447"/>
              <a:gd name="connsiteY49" fmla="*/ 2021434 h 5531266"/>
              <a:gd name="connsiteX50" fmla="*/ 4448839 w 4553447"/>
              <a:gd name="connsiteY50" fmla="*/ 2025379 h 5531266"/>
              <a:gd name="connsiteX51" fmla="*/ 4451680 w 4553447"/>
              <a:gd name="connsiteY51" fmla="*/ 2038196 h 5531266"/>
              <a:gd name="connsiteX52" fmla="*/ 4446939 w 4553447"/>
              <a:gd name="connsiteY52" fmla="*/ 2048781 h 5531266"/>
              <a:gd name="connsiteX53" fmla="*/ 4436755 w 4553447"/>
              <a:gd name="connsiteY53" fmla="*/ 2099011 h 5531266"/>
              <a:gd name="connsiteX54" fmla="*/ 4429424 w 4553447"/>
              <a:gd name="connsiteY54" fmla="*/ 2148592 h 5531266"/>
              <a:gd name="connsiteX55" fmla="*/ 4373341 w 4553447"/>
              <a:gd name="connsiteY55" fmla="*/ 3204925 h 5531266"/>
              <a:gd name="connsiteX56" fmla="*/ 4360555 w 4553447"/>
              <a:gd name="connsiteY56" fmla="*/ 3458573 h 5531266"/>
              <a:gd name="connsiteX57" fmla="*/ 4349470 w 4553447"/>
              <a:gd name="connsiteY57" fmla="*/ 3621276 h 5531266"/>
              <a:gd name="connsiteX58" fmla="*/ 4258709 w 4553447"/>
              <a:gd name="connsiteY58" fmla="*/ 5260213 h 5531266"/>
              <a:gd name="connsiteX59" fmla="*/ 4264007 w 4553447"/>
              <a:gd name="connsiteY59" fmla="*/ 5296918 h 5531266"/>
              <a:gd name="connsiteX60" fmla="*/ 4267541 w 4553447"/>
              <a:gd name="connsiteY60" fmla="*/ 5331382 h 5531266"/>
              <a:gd name="connsiteX61" fmla="*/ 4270373 w 4553447"/>
              <a:gd name="connsiteY61" fmla="*/ 5431691 h 5531266"/>
              <a:gd name="connsiteX62" fmla="*/ 4251816 w 4553447"/>
              <a:gd name="connsiteY62" fmla="*/ 5466096 h 5531266"/>
              <a:gd name="connsiteX63" fmla="*/ 4247164 w 4553447"/>
              <a:gd name="connsiteY63" fmla="*/ 5468796 h 5531266"/>
              <a:gd name="connsiteX64" fmla="*/ 4243707 w 4553447"/>
              <a:gd name="connsiteY64" fmla="*/ 5531243 h 5531266"/>
              <a:gd name="connsiteX65" fmla="*/ 310344 w 4553447"/>
              <a:gd name="connsiteY65" fmla="*/ 5278553 h 5531266"/>
              <a:gd name="connsiteX66" fmla="*/ 0 w 4553447"/>
              <a:gd name="connsiteY66" fmla="*/ 5261459 h 5531266"/>
              <a:gd name="connsiteX67" fmla="*/ 4324 w 4553447"/>
              <a:gd name="connsiteY67" fmla="*/ 5221195 h 5531266"/>
              <a:gd name="connsiteX68" fmla="*/ 8544 w 4553447"/>
              <a:gd name="connsiteY68" fmla="*/ 5214590 h 5531266"/>
              <a:gd name="connsiteX69" fmla="*/ 8813 w 4553447"/>
              <a:gd name="connsiteY69" fmla="*/ 5211844 h 5531266"/>
              <a:gd name="connsiteX70" fmla="*/ 276445 w 4553447"/>
              <a:gd name="connsiteY70" fmla="*/ 0 h 5531266"/>
              <a:gd name="connsiteX0" fmla="*/ 276445 w 4553447"/>
              <a:gd name="connsiteY0" fmla="*/ 0 h 5531266"/>
              <a:gd name="connsiteX1" fmla="*/ 3305612 w 4553447"/>
              <a:gd name="connsiteY1" fmla="*/ 153134 h 5531266"/>
              <a:gd name="connsiteX2" fmla="*/ 4134423 w 4553447"/>
              <a:gd name="connsiteY2" fmla="*/ 208242 h 5531266"/>
              <a:gd name="connsiteX3" fmla="*/ 4507617 w 4553447"/>
              <a:gd name="connsiteY3" fmla="*/ 228666 h 5531266"/>
              <a:gd name="connsiteX4" fmla="*/ 4535496 w 4553447"/>
              <a:gd name="connsiteY4" fmla="*/ 250471 h 5531266"/>
              <a:gd name="connsiteX5" fmla="*/ 4533722 w 4553447"/>
              <a:gd name="connsiteY5" fmla="*/ 282222 h 5531266"/>
              <a:gd name="connsiteX6" fmla="*/ 4536644 w 4553447"/>
              <a:gd name="connsiteY6" fmla="*/ 283939 h 5531266"/>
              <a:gd name="connsiteX7" fmla="*/ 4553070 w 4553447"/>
              <a:gd name="connsiteY7" fmla="*/ 315514 h 5531266"/>
              <a:gd name="connsiteX8" fmla="*/ 4530809 w 4553447"/>
              <a:gd name="connsiteY8" fmla="*/ 373160 h 5531266"/>
              <a:gd name="connsiteX9" fmla="*/ 4527321 w 4553447"/>
              <a:gd name="connsiteY9" fmla="*/ 396781 h 5531266"/>
              <a:gd name="connsiteX10" fmla="*/ 4522216 w 4553447"/>
              <a:gd name="connsiteY10" fmla="*/ 488120 h 5531266"/>
              <a:gd name="connsiteX11" fmla="*/ 4521566 w 4553447"/>
              <a:gd name="connsiteY11" fmla="*/ 534537 h 5531266"/>
              <a:gd name="connsiteX12" fmla="*/ 4518467 w 4553447"/>
              <a:gd name="connsiteY12" fmla="*/ 563001 h 5531266"/>
              <a:gd name="connsiteX13" fmla="*/ 4517798 w 4553447"/>
              <a:gd name="connsiteY13" fmla="*/ 567182 h 5531266"/>
              <a:gd name="connsiteX14" fmla="*/ 4504861 w 4553447"/>
              <a:gd name="connsiteY14" fmla="*/ 798696 h 5531266"/>
              <a:gd name="connsiteX15" fmla="*/ 4506574 w 4553447"/>
              <a:gd name="connsiteY15" fmla="*/ 803530 h 5531266"/>
              <a:gd name="connsiteX16" fmla="*/ 4504423 w 4553447"/>
              <a:gd name="connsiteY16" fmla="*/ 827361 h 5531266"/>
              <a:gd name="connsiteX17" fmla="*/ 4502823 w 4553447"/>
              <a:gd name="connsiteY17" fmla="*/ 835146 h 5531266"/>
              <a:gd name="connsiteX18" fmla="*/ 4496585 w 4553447"/>
              <a:gd name="connsiteY18" fmla="*/ 946777 h 5531266"/>
              <a:gd name="connsiteX19" fmla="*/ 4498662 w 4553447"/>
              <a:gd name="connsiteY19" fmla="*/ 947677 h 5531266"/>
              <a:gd name="connsiteX20" fmla="*/ 4502781 w 4553447"/>
              <a:gd name="connsiteY20" fmla="*/ 983859 h 5531266"/>
              <a:gd name="connsiteX21" fmla="*/ 4497983 w 4553447"/>
              <a:gd name="connsiteY21" fmla="*/ 1082386 h 5531266"/>
              <a:gd name="connsiteX22" fmla="*/ 4497878 w 4553447"/>
              <a:gd name="connsiteY22" fmla="*/ 1140681 h 5531266"/>
              <a:gd name="connsiteX23" fmla="*/ 4502181 w 4553447"/>
              <a:gd name="connsiteY23" fmla="*/ 1161797 h 5531266"/>
              <a:gd name="connsiteX24" fmla="*/ 4505271 w 4553447"/>
              <a:gd name="connsiteY24" fmla="*/ 1191979 h 5531266"/>
              <a:gd name="connsiteX25" fmla="*/ 4514088 w 4553447"/>
              <a:gd name="connsiteY25" fmla="*/ 1244449 h 5531266"/>
              <a:gd name="connsiteX26" fmla="*/ 4516365 w 4553447"/>
              <a:gd name="connsiteY26" fmla="*/ 1294666 h 5531266"/>
              <a:gd name="connsiteX27" fmla="*/ 4515485 w 4553447"/>
              <a:gd name="connsiteY27" fmla="*/ 1328296 h 5531266"/>
              <a:gd name="connsiteX28" fmla="*/ 4515022 w 4553447"/>
              <a:gd name="connsiteY28" fmla="*/ 1333156 h 5531266"/>
              <a:gd name="connsiteX29" fmla="*/ 4505903 w 4553447"/>
              <a:gd name="connsiteY29" fmla="*/ 1373054 h 5531266"/>
              <a:gd name="connsiteX30" fmla="*/ 4509167 w 4553447"/>
              <a:gd name="connsiteY30" fmla="*/ 1376999 h 5531266"/>
              <a:gd name="connsiteX31" fmla="*/ 4512009 w 4553447"/>
              <a:gd name="connsiteY31" fmla="*/ 1389816 h 5531266"/>
              <a:gd name="connsiteX32" fmla="*/ 4507268 w 4553447"/>
              <a:gd name="connsiteY32" fmla="*/ 1400401 h 5531266"/>
              <a:gd name="connsiteX33" fmla="*/ 4497084 w 4553447"/>
              <a:gd name="connsiteY33" fmla="*/ 1450629 h 5531266"/>
              <a:gd name="connsiteX34" fmla="*/ 4486187 w 4553447"/>
              <a:gd name="connsiteY34" fmla="*/ 1524330 h 5531266"/>
              <a:gd name="connsiteX35" fmla="*/ 4481306 w 4553447"/>
              <a:gd name="connsiteY35" fmla="*/ 1535289 h 5531266"/>
              <a:gd name="connsiteX36" fmla="*/ 4466878 w 4553447"/>
              <a:gd name="connsiteY36" fmla="*/ 1607363 h 5531266"/>
              <a:gd name="connsiteX37" fmla="*/ 4463163 w 4553447"/>
              <a:gd name="connsiteY37" fmla="*/ 1645395 h 5531266"/>
              <a:gd name="connsiteX38" fmla="*/ 4466823 w 4553447"/>
              <a:gd name="connsiteY38" fmla="*/ 1649850 h 5531266"/>
              <a:gd name="connsiteX39" fmla="*/ 4465173 w 4553447"/>
              <a:gd name="connsiteY39" fmla="*/ 1661048 h 5531266"/>
              <a:gd name="connsiteX40" fmla="*/ 4465585 w 4553447"/>
              <a:gd name="connsiteY40" fmla="*/ 1664107 h 5531266"/>
              <a:gd name="connsiteX41" fmla="*/ 4467096 w 4553447"/>
              <a:gd name="connsiteY41" fmla="*/ 1681560 h 5531266"/>
              <a:gd name="connsiteX42" fmla="*/ 4455626 w 4553447"/>
              <a:gd name="connsiteY42" fmla="*/ 1716455 h 5531266"/>
              <a:gd name="connsiteX43" fmla="*/ 4453566 w 4553447"/>
              <a:gd name="connsiteY43" fmla="*/ 1716581 h 5531266"/>
              <a:gd name="connsiteX44" fmla="*/ 4445068 w 4553447"/>
              <a:gd name="connsiteY44" fmla="*/ 1868666 h 5531266"/>
              <a:gd name="connsiteX45" fmla="*/ 4453759 w 4553447"/>
              <a:gd name="connsiteY45" fmla="*/ 1892828 h 5531266"/>
              <a:gd name="connsiteX46" fmla="*/ 4456037 w 4553447"/>
              <a:gd name="connsiteY46" fmla="*/ 1943047 h 5531266"/>
              <a:gd name="connsiteX47" fmla="*/ 4455156 w 4553447"/>
              <a:gd name="connsiteY47" fmla="*/ 1976676 h 5531266"/>
              <a:gd name="connsiteX48" fmla="*/ 4454694 w 4553447"/>
              <a:gd name="connsiteY48" fmla="*/ 1981536 h 5531266"/>
              <a:gd name="connsiteX49" fmla="*/ 4445574 w 4553447"/>
              <a:gd name="connsiteY49" fmla="*/ 2021434 h 5531266"/>
              <a:gd name="connsiteX50" fmla="*/ 4448839 w 4553447"/>
              <a:gd name="connsiteY50" fmla="*/ 2025379 h 5531266"/>
              <a:gd name="connsiteX51" fmla="*/ 4451680 w 4553447"/>
              <a:gd name="connsiteY51" fmla="*/ 2038196 h 5531266"/>
              <a:gd name="connsiteX52" fmla="*/ 4446939 w 4553447"/>
              <a:gd name="connsiteY52" fmla="*/ 2048781 h 5531266"/>
              <a:gd name="connsiteX53" fmla="*/ 4436755 w 4553447"/>
              <a:gd name="connsiteY53" fmla="*/ 2099011 h 5531266"/>
              <a:gd name="connsiteX54" fmla="*/ 4429424 w 4553447"/>
              <a:gd name="connsiteY54" fmla="*/ 2148592 h 5531266"/>
              <a:gd name="connsiteX55" fmla="*/ 4373341 w 4553447"/>
              <a:gd name="connsiteY55" fmla="*/ 3204925 h 5531266"/>
              <a:gd name="connsiteX56" fmla="*/ 4360555 w 4553447"/>
              <a:gd name="connsiteY56" fmla="*/ 3458573 h 5531266"/>
              <a:gd name="connsiteX57" fmla="*/ 4349470 w 4553447"/>
              <a:gd name="connsiteY57" fmla="*/ 3621276 h 5531266"/>
              <a:gd name="connsiteX58" fmla="*/ 4258709 w 4553447"/>
              <a:gd name="connsiteY58" fmla="*/ 5260213 h 5531266"/>
              <a:gd name="connsiteX59" fmla="*/ 4264007 w 4553447"/>
              <a:gd name="connsiteY59" fmla="*/ 5296918 h 5531266"/>
              <a:gd name="connsiteX60" fmla="*/ 4267541 w 4553447"/>
              <a:gd name="connsiteY60" fmla="*/ 5331382 h 5531266"/>
              <a:gd name="connsiteX61" fmla="*/ 4270373 w 4553447"/>
              <a:gd name="connsiteY61" fmla="*/ 5431691 h 5531266"/>
              <a:gd name="connsiteX62" fmla="*/ 4251816 w 4553447"/>
              <a:gd name="connsiteY62" fmla="*/ 5466096 h 5531266"/>
              <a:gd name="connsiteX63" fmla="*/ 4247164 w 4553447"/>
              <a:gd name="connsiteY63" fmla="*/ 5468796 h 5531266"/>
              <a:gd name="connsiteX64" fmla="*/ 4243707 w 4553447"/>
              <a:gd name="connsiteY64" fmla="*/ 5531243 h 5531266"/>
              <a:gd name="connsiteX65" fmla="*/ 310344 w 4553447"/>
              <a:gd name="connsiteY65" fmla="*/ 5278553 h 5531266"/>
              <a:gd name="connsiteX66" fmla="*/ 0 w 4553447"/>
              <a:gd name="connsiteY66" fmla="*/ 5261459 h 5531266"/>
              <a:gd name="connsiteX67" fmla="*/ 4324 w 4553447"/>
              <a:gd name="connsiteY67" fmla="*/ 5221195 h 5531266"/>
              <a:gd name="connsiteX68" fmla="*/ 8544 w 4553447"/>
              <a:gd name="connsiteY68" fmla="*/ 5214590 h 5531266"/>
              <a:gd name="connsiteX69" fmla="*/ 74694 w 4553447"/>
              <a:gd name="connsiteY69" fmla="*/ 4752822 h 5531266"/>
              <a:gd name="connsiteX70" fmla="*/ 276445 w 4553447"/>
              <a:gd name="connsiteY70" fmla="*/ 0 h 5531266"/>
              <a:gd name="connsiteX0" fmla="*/ 272121 w 4549123"/>
              <a:gd name="connsiteY0" fmla="*/ 0 h 5531266"/>
              <a:gd name="connsiteX1" fmla="*/ 3301288 w 4549123"/>
              <a:gd name="connsiteY1" fmla="*/ 153134 h 5531266"/>
              <a:gd name="connsiteX2" fmla="*/ 4130099 w 4549123"/>
              <a:gd name="connsiteY2" fmla="*/ 208242 h 5531266"/>
              <a:gd name="connsiteX3" fmla="*/ 4503293 w 4549123"/>
              <a:gd name="connsiteY3" fmla="*/ 228666 h 5531266"/>
              <a:gd name="connsiteX4" fmla="*/ 4531172 w 4549123"/>
              <a:gd name="connsiteY4" fmla="*/ 250471 h 5531266"/>
              <a:gd name="connsiteX5" fmla="*/ 4529398 w 4549123"/>
              <a:gd name="connsiteY5" fmla="*/ 282222 h 5531266"/>
              <a:gd name="connsiteX6" fmla="*/ 4532320 w 4549123"/>
              <a:gd name="connsiteY6" fmla="*/ 283939 h 5531266"/>
              <a:gd name="connsiteX7" fmla="*/ 4548746 w 4549123"/>
              <a:gd name="connsiteY7" fmla="*/ 315514 h 5531266"/>
              <a:gd name="connsiteX8" fmla="*/ 4526485 w 4549123"/>
              <a:gd name="connsiteY8" fmla="*/ 373160 h 5531266"/>
              <a:gd name="connsiteX9" fmla="*/ 4522997 w 4549123"/>
              <a:gd name="connsiteY9" fmla="*/ 396781 h 5531266"/>
              <a:gd name="connsiteX10" fmla="*/ 4517892 w 4549123"/>
              <a:gd name="connsiteY10" fmla="*/ 488120 h 5531266"/>
              <a:gd name="connsiteX11" fmla="*/ 4517242 w 4549123"/>
              <a:gd name="connsiteY11" fmla="*/ 534537 h 5531266"/>
              <a:gd name="connsiteX12" fmla="*/ 4514143 w 4549123"/>
              <a:gd name="connsiteY12" fmla="*/ 563001 h 5531266"/>
              <a:gd name="connsiteX13" fmla="*/ 4513474 w 4549123"/>
              <a:gd name="connsiteY13" fmla="*/ 567182 h 5531266"/>
              <a:gd name="connsiteX14" fmla="*/ 4500537 w 4549123"/>
              <a:gd name="connsiteY14" fmla="*/ 798696 h 5531266"/>
              <a:gd name="connsiteX15" fmla="*/ 4502250 w 4549123"/>
              <a:gd name="connsiteY15" fmla="*/ 803530 h 5531266"/>
              <a:gd name="connsiteX16" fmla="*/ 4500099 w 4549123"/>
              <a:gd name="connsiteY16" fmla="*/ 827361 h 5531266"/>
              <a:gd name="connsiteX17" fmla="*/ 4498499 w 4549123"/>
              <a:gd name="connsiteY17" fmla="*/ 835146 h 5531266"/>
              <a:gd name="connsiteX18" fmla="*/ 4492261 w 4549123"/>
              <a:gd name="connsiteY18" fmla="*/ 946777 h 5531266"/>
              <a:gd name="connsiteX19" fmla="*/ 4494338 w 4549123"/>
              <a:gd name="connsiteY19" fmla="*/ 947677 h 5531266"/>
              <a:gd name="connsiteX20" fmla="*/ 4498457 w 4549123"/>
              <a:gd name="connsiteY20" fmla="*/ 983859 h 5531266"/>
              <a:gd name="connsiteX21" fmla="*/ 4493659 w 4549123"/>
              <a:gd name="connsiteY21" fmla="*/ 1082386 h 5531266"/>
              <a:gd name="connsiteX22" fmla="*/ 4493554 w 4549123"/>
              <a:gd name="connsiteY22" fmla="*/ 1140681 h 5531266"/>
              <a:gd name="connsiteX23" fmla="*/ 4497857 w 4549123"/>
              <a:gd name="connsiteY23" fmla="*/ 1161797 h 5531266"/>
              <a:gd name="connsiteX24" fmla="*/ 4500947 w 4549123"/>
              <a:gd name="connsiteY24" fmla="*/ 1191979 h 5531266"/>
              <a:gd name="connsiteX25" fmla="*/ 4509764 w 4549123"/>
              <a:gd name="connsiteY25" fmla="*/ 1244449 h 5531266"/>
              <a:gd name="connsiteX26" fmla="*/ 4512041 w 4549123"/>
              <a:gd name="connsiteY26" fmla="*/ 1294666 h 5531266"/>
              <a:gd name="connsiteX27" fmla="*/ 4511161 w 4549123"/>
              <a:gd name="connsiteY27" fmla="*/ 1328296 h 5531266"/>
              <a:gd name="connsiteX28" fmla="*/ 4510698 w 4549123"/>
              <a:gd name="connsiteY28" fmla="*/ 1333156 h 5531266"/>
              <a:gd name="connsiteX29" fmla="*/ 4501579 w 4549123"/>
              <a:gd name="connsiteY29" fmla="*/ 1373054 h 5531266"/>
              <a:gd name="connsiteX30" fmla="*/ 4504843 w 4549123"/>
              <a:gd name="connsiteY30" fmla="*/ 1376999 h 5531266"/>
              <a:gd name="connsiteX31" fmla="*/ 4507685 w 4549123"/>
              <a:gd name="connsiteY31" fmla="*/ 1389816 h 5531266"/>
              <a:gd name="connsiteX32" fmla="*/ 4502944 w 4549123"/>
              <a:gd name="connsiteY32" fmla="*/ 1400401 h 5531266"/>
              <a:gd name="connsiteX33" fmla="*/ 4492760 w 4549123"/>
              <a:gd name="connsiteY33" fmla="*/ 1450629 h 5531266"/>
              <a:gd name="connsiteX34" fmla="*/ 4481863 w 4549123"/>
              <a:gd name="connsiteY34" fmla="*/ 1524330 h 5531266"/>
              <a:gd name="connsiteX35" fmla="*/ 4476982 w 4549123"/>
              <a:gd name="connsiteY35" fmla="*/ 1535289 h 5531266"/>
              <a:gd name="connsiteX36" fmla="*/ 4462554 w 4549123"/>
              <a:gd name="connsiteY36" fmla="*/ 1607363 h 5531266"/>
              <a:gd name="connsiteX37" fmla="*/ 4458839 w 4549123"/>
              <a:gd name="connsiteY37" fmla="*/ 1645395 h 5531266"/>
              <a:gd name="connsiteX38" fmla="*/ 4462499 w 4549123"/>
              <a:gd name="connsiteY38" fmla="*/ 1649850 h 5531266"/>
              <a:gd name="connsiteX39" fmla="*/ 4460849 w 4549123"/>
              <a:gd name="connsiteY39" fmla="*/ 1661048 h 5531266"/>
              <a:gd name="connsiteX40" fmla="*/ 4461261 w 4549123"/>
              <a:gd name="connsiteY40" fmla="*/ 1664107 h 5531266"/>
              <a:gd name="connsiteX41" fmla="*/ 4462772 w 4549123"/>
              <a:gd name="connsiteY41" fmla="*/ 1681560 h 5531266"/>
              <a:gd name="connsiteX42" fmla="*/ 4451302 w 4549123"/>
              <a:gd name="connsiteY42" fmla="*/ 1716455 h 5531266"/>
              <a:gd name="connsiteX43" fmla="*/ 4449242 w 4549123"/>
              <a:gd name="connsiteY43" fmla="*/ 1716581 h 5531266"/>
              <a:gd name="connsiteX44" fmla="*/ 4440744 w 4549123"/>
              <a:gd name="connsiteY44" fmla="*/ 1868666 h 5531266"/>
              <a:gd name="connsiteX45" fmla="*/ 4449435 w 4549123"/>
              <a:gd name="connsiteY45" fmla="*/ 1892828 h 5531266"/>
              <a:gd name="connsiteX46" fmla="*/ 4451713 w 4549123"/>
              <a:gd name="connsiteY46" fmla="*/ 1943047 h 5531266"/>
              <a:gd name="connsiteX47" fmla="*/ 4450832 w 4549123"/>
              <a:gd name="connsiteY47" fmla="*/ 1976676 h 5531266"/>
              <a:gd name="connsiteX48" fmla="*/ 4450370 w 4549123"/>
              <a:gd name="connsiteY48" fmla="*/ 1981536 h 5531266"/>
              <a:gd name="connsiteX49" fmla="*/ 4441250 w 4549123"/>
              <a:gd name="connsiteY49" fmla="*/ 2021434 h 5531266"/>
              <a:gd name="connsiteX50" fmla="*/ 4444515 w 4549123"/>
              <a:gd name="connsiteY50" fmla="*/ 2025379 h 5531266"/>
              <a:gd name="connsiteX51" fmla="*/ 4447356 w 4549123"/>
              <a:gd name="connsiteY51" fmla="*/ 2038196 h 5531266"/>
              <a:gd name="connsiteX52" fmla="*/ 4442615 w 4549123"/>
              <a:gd name="connsiteY52" fmla="*/ 2048781 h 5531266"/>
              <a:gd name="connsiteX53" fmla="*/ 4432431 w 4549123"/>
              <a:gd name="connsiteY53" fmla="*/ 2099011 h 5531266"/>
              <a:gd name="connsiteX54" fmla="*/ 4425100 w 4549123"/>
              <a:gd name="connsiteY54" fmla="*/ 2148592 h 5531266"/>
              <a:gd name="connsiteX55" fmla="*/ 4369017 w 4549123"/>
              <a:gd name="connsiteY55" fmla="*/ 3204925 h 5531266"/>
              <a:gd name="connsiteX56" fmla="*/ 4356231 w 4549123"/>
              <a:gd name="connsiteY56" fmla="*/ 3458573 h 5531266"/>
              <a:gd name="connsiteX57" fmla="*/ 4345146 w 4549123"/>
              <a:gd name="connsiteY57" fmla="*/ 3621276 h 5531266"/>
              <a:gd name="connsiteX58" fmla="*/ 4254385 w 4549123"/>
              <a:gd name="connsiteY58" fmla="*/ 5260213 h 5531266"/>
              <a:gd name="connsiteX59" fmla="*/ 4259683 w 4549123"/>
              <a:gd name="connsiteY59" fmla="*/ 5296918 h 5531266"/>
              <a:gd name="connsiteX60" fmla="*/ 4263217 w 4549123"/>
              <a:gd name="connsiteY60" fmla="*/ 5331382 h 5531266"/>
              <a:gd name="connsiteX61" fmla="*/ 4266049 w 4549123"/>
              <a:gd name="connsiteY61" fmla="*/ 5431691 h 5531266"/>
              <a:gd name="connsiteX62" fmla="*/ 4247492 w 4549123"/>
              <a:gd name="connsiteY62" fmla="*/ 5466096 h 5531266"/>
              <a:gd name="connsiteX63" fmla="*/ 4242840 w 4549123"/>
              <a:gd name="connsiteY63" fmla="*/ 5468796 h 5531266"/>
              <a:gd name="connsiteX64" fmla="*/ 4239383 w 4549123"/>
              <a:gd name="connsiteY64" fmla="*/ 5531243 h 5531266"/>
              <a:gd name="connsiteX65" fmla="*/ 306020 w 4549123"/>
              <a:gd name="connsiteY65" fmla="*/ 5278553 h 5531266"/>
              <a:gd name="connsiteX66" fmla="*/ 76653 w 4549123"/>
              <a:gd name="connsiteY66" fmla="*/ 5257630 h 5531266"/>
              <a:gd name="connsiteX67" fmla="*/ 0 w 4549123"/>
              <a:gd name="connsiteY67" fmla="*/ 5221195 h 5531266"/>
              <a:gd name="connsiteX68" fmla="*/ 4220 w 4549123"/>
              <a:gd name="connsiteY68" fmla="*/ 5214590 h 5531266"/>
              <a:gd name="connsiteX69" fmla="*/ 70370 w 4549123"/>
              <a:gd name="connsiteY69" fmla="*/ 4752822 h 5531266"/>
              <a:gd name="connsiteX70" fmla="*/ 272121 w 4549123"/>
              <a:gd name="connsiteY70" fmla="*/ 0 h 5531266"/>
              <a:gd name="connsiteX0" fmla="*/ 272121 w 4549123"/>
              <a:gd name="connsiteY0" fmla="*/ 0 h 5531266"/>
              <a:gd name="connsiteX1" fmla="*/ 3301288 w 4549123"/>
              <a:gd name="connsiteY1" fmla="*/ 153134 h 5531266"/>
              <a:gd name="connsiteX2" fmla="*/ 4130099 w 4549123"/>
              <a:gd name="connsiteY2" fmla="*/ 208242 h 5531266"/>
              <a:gd name="connsiteX3" fmla="*/ 4503293 w 4549123"/>
              <a:gd name="connsiteY3" fmla="*/ 228666 h 5531266"/>
              <a:gd name="connsiteX4" fmla="*/ 4531172 w 4549123"/>
              <a:gd name="connsiteY4" fmla="*/ 250471 h 5531266"/>
              <a:gd name="connsiteX5" fmla="*/ 4529398 w 4549123"/>
              <a:gd name="connsiteY5" fmla="*/ 282222 h 5531266"/>
              <a:gd name="connsiteX6" fmla="*/ 4532320 w 4549123"/>
              <a:gd name="connsiteY6" fmla="*/ 283939 h 5531266"/>
              <a:gd name="connsiteX7" fmla="*/ 4548746 w 4549123"/>
              <a:gd name="connsiteY7" fmla="*/ 315514 h 5531266"/>
              <a:gd name="connsiteX8" fmla="*/ 4526485 w 4549123"/>
              <a:gd name="connsiteY8" fmla="*/ 373160 h 5531266"/>
              <a:gd name="connsiteX9" fmla="*/ 4522997 w 4549123"/>
              <a:gd name="connsiteY9" fmla="*/ 396781 h 5531266"/>
              <a:gd name="connsiteX10" fmla="*/ 4517892 w 4549123"/>
              <a:gd name="connsiteY10" fmla="*/ 488120 h 5531266"/>
              <a:gd name="connsiteX11" fmla="*/ 4517242 w 4549123"/>
              <a:gd name="connsiteY11" fmla="*/ 534537 h 5531266"/>
              <a:gd name="connsiteX12" fmla="*/ 4514143 w 4549123"/>
              <a:gd name="connsiteY12" fmla="*/ 563001 h 5531266"/>
              <a:gd name="connsiteX13" fmla="*/ 4513474 w 4549123"/>
              <a:gd name="connsiteY13" fmla="*/ 567182 h 5531266"/>
              <a:gd name="connsiteX14" fmla="*/ 4500537 w 4549123"/>
              <a:gd name="connsiteY14" fmla="*/ 798696 h 5531266"/>
              <a:gd name="connsiteX15" fmla="*/ 4502250 w 4549123"/>
              <a:gd name="connsiteY15" fmla="*/ 803530 h 5531266"/>
              <a:gd name="connsiteX16" fmla="*/ 4500099 w 4549123"/>
              <a:gd name="connsiteY16" fmla="*/ 827361 h 5531266"/>
              <a:gd name="connsiteX17" fmla="*/ 4498499 w 4549123"/>
              <a:gd name="connsiteY17" fmla="*/ 835146 h 5531266"/>
              <a:gd name="connsiteX18" fmla="*/ 4492261 w 4549123"/>
              <a:gd name="connsiteY18" fmla="*/ 946777 h 5531266"/>
              <a:gd name="connsiteX19" fmla="*/ 4494338 w 4549123"/>
              <a:gd name="connsiteY19" fmla="*/ 947677 h 5531266"/>
              <a:gd name="connsiteX20" fmla="*/ 4498457 w 4549123"/>
              <a:gd name="connsiteY20" fmla="*/ 983859 h 5531266"/>
              <a:gd name="connsiteX21" fmla="*/ 4493659 w 4549123"/>
              <a:gd name="connsiteY21" fmla="*/ 1082386 h 5531266"/>
              <a:gd name="connsiteX22" fmla="*/ 4493554 w 4549123"/>
              <a:gd name="connsiteY22" fmla="*/ 1140681 h 5531266"/>
              <a:gd name="connsiteX23" fmla="*/ 4497857 w 4549123"/>
              <a:gd name="connsiteY23" fmla="*/ 1161797 h 5531266"/>
              <a:gd name="connsiteX24" fmla="*/ 4500947 w 4549123"/>
              <a:gd name="connsiteY24" fmla="*/ 1191979 h 5531266"/>
              <a:gd name="connsiteX25" fmla="*/ 4509764 w 4549123"/>
              <a:gd name="connsiteY25" fmla="*/ 1244449 h 5531266"/>
              <a:gd name="connsiteX26" fmla="*/ 4512041 w 4549123"/>
              <a:gd name="connsiteY26" fmla="*/ 1294666 h 5531266"/>
              <a:gd name="connsiteX27" fmla="*/ 4511161 w 4549123"/>
              <a:gd name="connsiteY27" fmla="*/ 1328296 h 5531266"/>
              <a:gd name="connsiteX28" fmla="*/ 4510698 w 4549123"/>
              <a:gd name="connsiteY28" fmla="*/ 1333156 h 5531266"/>
              <a:gd name="connsiteX29" fmla="*/ 4501579 w 4549123"/>
              <a:gd name="connsiteY29" fmla="*/ 1373054 h 5531266"/>
              <a:gd name="connsiteX30" fmla="*/ 4504843 w 4549123"/>
              <a:gd name="connsiteY30" fmla="*/ 1376999 h 5531266"/>
              <a:gd name="connsiteX31" fmla="*/ 4507685 w 4549123"/>
              <a:gd name="connsiteY31" fmla="*/ 1389816 h 5531266"/>
              <a:gd name="connsiteX32" fmla="*/ 4502944 w 4549123"/>
              <a:gd name="connsiteY32" fmla="*/ 1400401 h 5531266"/>
              <a:gd name="connsiteX33" fmla="*/ 4492760 w 4549123"/>
              <a:gd name="connsiteY33" fmla="*/ 1450629 h 5531266"/>
              <a:gd name="connsiteX34" fmla="*/ 4481863 w 4549123"/>
              <a:gd name="connsiteY34" fmla="*/ 1524330 h 5531266"/>
              <a:gd name="connsiteX35" fmla="*/ 4476982 w 4549123"/>
              <a:gd name="connsiteY35" fmla="*/ 1535289 h 5531266"/>
              <a:gd name="connsiteX36" fmla="*/ 4462554 w 4549123"/>
              <a:gd name="connsiteY36" fmla="*/ 1607363 h 5531266"/>
              <a:gd name="connsiteX37" fmla="*/ 4458839 w 4549123"/>
              <a:gd name="connsiteY37" fmla="*/ 1645395 h 5531266"/>
              <a:gd name="connsiteX38" fmla="*/ 4462499 w 4549123"/>
              <a:gd name="connsiteY38" fmla="*/ 1649850 h 5531266"/>
              <a:gd name="connsiteX39" fmla="*/ 4460849 w 4549123"/>
              <a:gd name="connsiteY39" fmla="*/ 1661048 h 5531266"/>
              <a:gd name="connsiteX40" fmla="*/ 4461261 w 4549123"/>
              <a:gd name="connsiteY40" fmla="*/ 1664107 h 5531266"/>
              <a:gd name="connsiteX41" fmla="*/ 4462772 w 4549123"/>
              <a:gd name="connsiteY41" fmla="*/ 1681560 h 5531266"/>
              <a:gd name="connsiteX42" fmla="*/ 4451302 w 4549123"/>
              <a:gd name="connsiteY42" fmla="*/ 1716455 h 5531266"/>
              <a:gd name="connsiteX43" fmla="*/ 4449242 w 4549123"/>
              <a:gd name="connsiteY43" fmla="*/ 1716581 h 5531266"/>
              <a:gd name="connsiteX44" fmla="*/ 4440744 w 4549123"/>
              <a:gd name="connsiteY44" fmla="*/ 1868666 h 5531266"/>
              <a:gd name="connsiteX45" fmla="*/ 4449435 w 4549123"/>
              <a:gd name="connsiteY45" fmla="*/ 1892828 h 5531266"/>
              <a:gd name="connsiteX46" fmla="*/ 4451713 w 4549123"/>
              <a:gd name="connsiteY46" fmla="*/ 1943047 h 5531266"/>
              <a:gd name="connsiteX47" fmla="*/ 4450832 w 4549123"/>
              <a:gd name="connsiteY47" fmla="*/ 1976676 h 5531266"/>
              <a:gd name="connsiteX48" fmla="*/ 4450370 w 4549123"/>
              <a:gd name="connsiteY48" fmla="*/ 1981536 h 5531266"/>
              <a:gd name="connsiteX49" fmla="*/ 4441250 w 4549123"/>
              <a:gd name="connsiteY49" fmla="*/ 2021434 h 5531266"/>
              <a:gd name="connsiteX50" fmla="*/ 4444515 w 4549123"/>
              <a:gd name="connsiteY50" fmla="*/ 2025379 h 5531266"/>
              <a:gd name="connsiteX51" fmla="*/ 4447356 w 4549123"/>
              <a:gd name="connsiteY51" fmla="*/ 2038196 h 5531266"/>
              <a:gd name="connsiteX52" fmla="*/ 4442615 w 4549123"/>
              <a:gd name="connsiteY52" fmla="*/ 2048781 h 5531266"/>
              <a:gd name="connsiteX53" fmla="*/ 4432431 w 4549123"/>
              <a:gd name="connsiteY53" fmla="*/ 2099011 h 5531266"/>
              <a:gd name="connsiteX54" fmla="*/ 4425100 w 4549123"/>
              <a:gd name="connsiteY54" fmla="*/ 2148592 h 5531266"/>
              <a:gd name="connsiteX55" fmla="*/ 4369017 w 4549123"/>
              <a:gd name="connsiteY55" fmla="*/ 3204925 h 5531266"/>
              <a:gd name="connsiteX56" fmla="*/ 4356231 w 4549123"/>
              <a:gd name="connsiteY56" fmla="*/ 3458573 h 5531266"/>
              <a:gd name="connsiteX57" fmla="*/ 4345146 w 4549123"/>
              <a:gd name="connsiteY57" fmla="*/ 3621276 h 5531266"/>
              <a:gd name="connsiteX58" fmla="*/ 4254385 w 4549123"/>
              <a:gd name="connsiteY58" fmla="*/ 5260213 h 5531266"/>
              <a:gd name="connsiteX59" fmla="*/ 4259683 w 4549123"/>
              <a:gd name="connsiteY59" fmla="*/ 5296918 h 5531266"/>
              <a:gd name="connsiteX60" fmla="*/ 4263217 w 4549123"/>
              <a:gd name="connsiteY60" fmla="*/ 5331382 h 5531266"/>
              <a:gd name="connsiteX61" fmla="*/ 4266049 w 4549123"/>
              <a:gd name="connsiteY61" fmla="*/ 5431691 h 5531266"/>
              <a:gd name="connsiteX62" fmla="*/ 4247492 w 4549123"/>
              <a:gd name="connsiteY62" fmla="*/ 5466096 h 5531266"/>
              <a:gd name="connsiteX63" fmla="*/ 4242840 w 4549123"/>
              <a:gd name="connsiteY63" fmla="*/ 5468796 h 5531266"/>
              <a:gd name="connsiteX64" fmla="*/ 4239383 w 4549123"/>
              <a:gd name="connsiteY64" fmla="*/ 5531243 h 5531266"/>
              <a:gd name="connsiteX65" fmla="*/ 306020 w 4549123"/>
              <a:gd name="connsiteY65" fmla="*/ 5278553 h 5531266"/>
              <a:gd name="connsiteX66" fmla="*/ 76653 w 4549123"/>
              <a:gd name="connsiteY66" fmla="*/ 5257630 h 5531266"/>
              <a:gd name="connsiteX67" fmla="*/ 0 w 4549123"/>
              <a:gd name="connsiteY67" fmla="*/ 5221195 h 5531266"/>
              <a:gd name="connsiteX68" fmla="*/ 47787 w 4549123"/>
              <a:gd name="connsiteY68" fmla="*/ 5070360 h 5531266"/>
              <a:gd name="connsiteX69" fmla="*/ 70370 w 4549123"/>
              <a:gd name="connsiteY69" fmla="*/ 4752822 h 5531266"/>
              <a:gd name="connsiteX70" fmla="*/ 272121 w 4549123"/>
              <a:gd name="connsiteY70" fmla="*/ 0 h 5531266"/>
              <a:gd name="connsiteX0" fmla="*/ 224334 w 4501336"/>
              <a:gd name="connsiteY0" fmla="*/ 0 h 5531266"/>
              <a:gd name="connsiteX1" fmla="*/ 3253501 w 4501336"/>
              <a:gd name="connsiteY1" fmla="*/ 153134 h 5531266"/>
              <a:gd name="connsiteX2" fmla="*/ 4082312 w 4501336"/>
              <a:gd name="connsiteY2" fmla="*/ 208242 h 5531266"/>
              <a:gd name="connsiteX3" fmla="*/ 4455506 w 4501336"/>
              <a:gd name="connsiteY3" fmla="*/ 228666 h 5531266"/>
              <a:gd name="connsiteX4" fmla="*/ 4483385 w 4501336"/>
              <a:gd name="connsiteY4" fmla="*/ 250471 h 5531266"/>
              <a:gd name="connsiteX5" fmla="*/ 4481611 w 4501336"/>
              <a:gd name="connsiteY5" fmla="*/ 282222 h 5531266"/>
              <a:gd name="connsiteX6" fmla="*/ 4484533 w 4501336"/>
              <a:gd name="connsiteY6" fmla="*/ 283939 h 5531266"/>
              <a:gd name="connsiteX7" fmla="*/ 4500959 w 4501336"/>
              <a:gd name="connsiteY7" fmla="*/ 315514 h 5531266"/>
              <a:gd name="connsiteX8" fmla="*/ 4478698 w 4501336"/>
              <a:gd name="connsiteY8" fmla="*/ 373160 h 5531266"/>
              <a:gd name="connsiteX9" fmla="*/ 4475210 w 4501336"/>
              <a:gd name="connsiteY9" fmla="*/ 396781 h 5531266"/>
              <a:gd name="connsiteX10" fmla="*/ 4470105 w 4501336"/>
              <a:gd name="connsiteY10" fmla="*/ 488120 h 5531266"/>
              <a:gd name="connsiteX11" fmla="*/ 4469455 w 4501336"/>
              <a:gd name="connsiteY11" fmla="*/ 534537 h 5531266"/>
              <a:gd name="connsiteX12" fmla="*/ 4466356 w 4501336"/>
              <a:gd name="connsiteY12" fmla="*/ 563001 h 5531266"/>
              <a:gd name="connsiteX13" fmla="*/ 4465687 w 4501336"/>
              <a:gd name="connsiteY13" fmla="*/ 567182 h 5531266"/>
              <a:gd name="connsiteX14" fmla="*/ 4452750 w 4501336"/>
              <a:gd name="connsiteY14" fmla="*/ 798696 h 5531266"/>
              <a:gd name="connsiteX15" fmla="*/ 4454463 w 4501336"/>
              <a:gd name="connsiteY15" fmla="*/ 803530 h 5531266"/>
              <a:gd name="connsiteX16" fmla="*/ 4452312 w 4501336"/>
              <a:gd name="connsiteY16" fmla="*/ 827361 h 5531266"/>
              <a:gd name="connsiteX17" fmla="*/ 4450712 w 4501336"/>
              <a:gd name="connsiteY17" fmla="*/ 835146 h 5531266"/>
              <a:gd name="connsiteX18" fmla="*/ 4444474 w 4501336"/>
              <a:gd name="connsiteY18" fmla="*/ 946777 h 5531266"/>
              <a:gd name="connsiteX19" fmla="*/ 4446551 w 4501336"/>
              <a:gd name="connsiteY19" fmla="*/ 947677 h 5531266"/>
              <a:gd name="connsiteX20" fmla="*/ 4450670 w 4501336"/>
              <a:gd name="connsiteY20" fmla="*/ 983859 h 5531266"/>
              <a:gd name="connsiteX21" fmla="*/ 4445872 w 4501336"/>
              <a:gd name="connsiteY21" fmla="*/ 1082386 h 5531266"/>
              <a:gd name="connsiteX22" fmla="*/ 4445767 w 4501336"/>
              <a:gd name="connsiteY22" fmla="*/ 1140681 h 5531266"/>
              <a:gd name="connsiteX23" fmla="*/ 4450070 w 4501336"/>
              <a:gd name="connsiteY23" fmla="*/ 1161797 h 5531266"/>
              <a:gd name="connsiteX24" fmla="*/ 4453160 w 4501336"/>
              <a:gd name="connsiteY24" fmla="*/ 1191979 h 5531266"/>
              <a:gd name="connsiteX25" fmla="*/ 4461977 w 4501336"/>
              <a:gd name="connsiteY25" fmla="*/ 1244449 h 5531266"/>
              <a:gd name="connsiteX26" fmla="*/ 4464254 w 4501336"/>
              <a:gd name="connsiteY26" fmla="*/ 1294666 h 5531266"/>
              <a:gd name="connsiteX27" fmla="*/ 4463374 w 4501336"/>
              <a:gd name="connsiteY27" fmla="*/ 1328296 h 5531266"/>
              <a:gd name="connsiteX28" fmla="*/ 4462911 w 4501336"/>
              <a:gd name="connsiteY28" fmla="*/ 1333156 h 5531266"/>
              <a:gd name="connsiteX29" fmla="*/ 4453792 w 4501336"/>
              <a:gd name="connsiteY29" fmla="*/ 1373054 h 5531266"/>
              <a:gd name="connsiteX30" fmla="*/ 4457056 w 4501336"/>
              <a:gd name="connsiteY30" fmla="*/ 1376999 h 5531266"/>
              <a:gd name="connsiteX31" fmla="*/ 4459898 w 4501336"/>
              <a:gd name="connsiteY31" fmla="*/ 1389816 h 5531266"/>
              <a:gd name="connsiteX32" fmla="*/ 4455157 w 4501336"/>
              <a:gd name="connsiteY32" fmla="*/ 1400401 h 5531266"/>
              <a:gd name="connsiteX33" fmla="*/ 4444973 w 4501336"/>
              <a:gd name="connsiteY33" fmla="*/ 1450629 h 5531266"/>
              <a:gd name="connsiteX34" fmla="*/ 4434076 w 4501336"/>
              <a:gd name="connsiteY34" fmla="*/ 1524330 h 5531266"/>
              <a:gd name="connsiteX35" fmla="*/ 4429195 w 4501336"/>
              <a:gd name="connsiteY35" fmla="*/ 1535289 h 5531266"/>
              <a:gd name="connsiteX36" fmla="*/ 4414767 w 4501336"/>
              <a:gd name="connsiteY36" fmla="*/ 1607363 h 5531266"/>
              <a:gd name="connsiteX37" fmla="*/ 4411052 w 4501336"/>
              <a:gd name="connsiteY37" fmla="*/ 1645395 h 5531266"/>
              <a:gd name="connsiteX38" fmla="*/ 4414712 w 4501336"/>
              <a:gd name="connsiteY38" fmla="*/ 1649850 h 5531266"/>
              <a:gd name="connsiteX39" fmla="*/ 4413062 w 4501336"/>
              <a:gd name="connsiteY39" fmla="*/ 1661048 h 5531266"/>
              <a:gd name="connsiteX40" fmla="*/ 4413474 w 4501336"/>
              <a:gd name="connsiteY40" fmla="*/ 1664107 h 5531266"/>
              <a:gd name="connsiteX41" fmla="*/ 4414985 w 4501336"/>
              <a:gd name="connsiteY41" fmla="*/ 1681560 h 5531266"/>
              <a:gd name="connsiteX42" fmla="*/ 4403515 w 4501336"/>
              <a:gd name="connsiteY42" fmla="*/ 1716455 h 5531266"/>
              <a:gd name="connsiteX43" fmla="*/ 4401455 w 4501336"/>
              <a:gd name="connsiteY43" fmla="*/ 1716581 h 5531266"/>
              <a:gd name="connsiteX44" fmla="*/ 4392957 w 4501336"/>
              <a:gd name="connsiteY44" fmla="*/ 1868666 h 5531266"/>
              <a:gd name="connsiteX45" fmla="*/ 4401648 w 4501336"/>
              <a:gd name="connsiteY45" fmla="*/ 1892828 h 5531266"/>
              <a:gd name="connsiteX46" fmla="*/ 4403926 w 4501336"/>
              <a:gd name="connsiteY46" fmla="*/ 1943047 h 5531266"/>
              <a:gd name="connsiteX47" fmla="*/ 4403045 w 4501336"/>
              <a:gd name="connsiteY47" fmla="*/ 1976676 h 5531266"/>
              <a:gd name="connsiteX48" fmla="*/ 4402583 w 4501336"/>
              <a:gd name="connsiteY48" fmla="*/ 1981536 h 5531266"/>
              <a:gd name="connsiteX49" fmla="*/ 4393463 w 4501336"/>
              <a:gd name="connsiteY49" fmla="*/ 2021434 h 5531266"/>
              <a:gd name="connsiteX50" fmla="*/ 4396728 w 4501336"/>
              <a:gd name="connsiteY50" fmla="*/ 2025379 h 5531266"/>
              <a:gd name="connsiteX51" fmla="*/ 4399569 w 4501336"/>
              <a:gd name="connsiteY51" fmla="*/ 2038196 h 5531266"/>
              <a:gd name="connsiteX52" fmla="*/ 4394828 w 4501336"/>
              <a:gd name="connsiteY52" fmla="*/ 2048781 h 5531266"/>
              <a:gd name="connsiteX53" fmla="*/ 4384644 w 4501336"/>
              <a:gd name="connsiteY53" fmla="*/ 2099011 h 5531266"/>
              <a:gd name="connsiteX54" fmla="*/ 4377313 w 4501336"/>
              <a:gd name="connsiteY54" fmla="*/ 2148592 h 5531266"/>
              <a:gd name="connsiteX55" fmla="*/ 4321230 w 4501336"/>
              <a:gd name="connsiteY55" fmla="*/ 3204925 h 5531266"/>
              <a:gd name="connsiteX56" fmla="*/ 4308444 w 4501336"/>
              <a:gd name="connsiteY56" fmla="*/ 3458573 h 5531266"/>
              <a:gd name="connsiteX57" fmla="*/ 4297359 w 4501336"/>
              <a:gd name="connsiteY57" fmla="*/ 3621276 h 5531266"/>
              <a:gd name="connsiteX58" fmla="*/ 4206598 w 4501336"/>
              <a:gd name="connsiteY58" fmla="*/ 5260213 h 5531266"/>
              <a:gd name="connsiteX59" fmla="*/ 4211896 w 4501336"/>
              <a:gd name="connsiteY59" fmla="*/ 5296918 h 5531266"/>
              <a:gd name="connsiteX60" fmla="*/ 4215430 w 4501336"/>
              <a:gd name="connsiteY60" fmla="*/ 5331382 h 5531266"/>
              <a:gd name="connsiteX61" fmla="*/ 4218262 w 4501336"/>
              <a:gd name="connsiteY61" fmla="*/ 5431691 h 5531266"/>
              <a:gd name="connsiteX62" fmla="*/ 4199705 w 4501336"/>
              <a:gd name="connsiteY62" fmla="*/ 5466096 h 5531266"/>
              <a:gd name="connsiteX63" fmla="*/ 4195053 w 4501336"/>
              <a:gd name="connsiteY63" fmla="*/ 5468796 h 5531266"/>
              <a:gd name="connsiteX64" fmla="*/ 4191596 w 4501336"/>
              <a:gd name="connsiteY64" fmla="*/ 5531243 h 5531266"/>
              <a:gd name="connsiteX65" fmla="*/ 258233 w 4501336"/>
              <a:gd name="connsiteY65" fmla="*/ 5278553 h 5531266"/>
              <a:gd name="connsiteX66" fmla="*/ 28866 w 4501336"/>
              <a:gd name="connsiteY66" fmla="*/ 5257630 h 5531266"/>
              <a:gd name="connsiteX67" fmla="*/ 0 w 4501336"/>
              <a:gd name="connsiteY67" fmla="*/ 5070360 h 5531266"/>
              <a:gd name="connsiteX68" fmla="*/ 22583 w 4501336"/>
              <a:gd name="connsiteY68" fmla="*/ 4752822 h 5531266"/>
              <a:gd name="connsiteX69" fmla="*/ 224334 w 4501336"/>
              <a:gd name="connsiteY69" fmla="*/ 0 h 5531266"/>
              <a:gd name="connsiteX0" fmla="*/ 224334 w 4501336"/>
              <a:gd name="connsiteY0" fmla="*/ 0 h 5531266"/>
              <a:gd name="connsiteX1" fmla="*/ 3253501 w 4501336"/>
              <a:gd name="connsiteY1" fmla="*/ 153134 h 5531266"/>
              <a:gd name="connsiteX2" fmla="*/ 4082312 w 4501336"/>
              <a:gd name="connsiteY2" fmla="*/ 208242 h 5531266"/>
              <a:gd name="connsiteX3" fmla="*/ 4455506 w 4501336"/>
              <a:gd name="connsiteY3" fmla="*/ 228666 h 5531266"/>
              <a:gd name="connsiteX4" fmla="*/ 4483385 w 4501336"/>
              <a:gd name="connsiteY4" fmla="*/ 250471 h 5531266"/>
              <a:gd name="connsiteX5" fmla="*/ 4481611 w 4501336"/>
              <a:gd name="connsiteY5" fmla="*/ 282222 h 5531266"/>
              <a:gd name="connsiteX6" fmla="*/ 4484533 w 4501336"/>
              <a:gd name="connsiteY6" fmla="*/ 283939 h 5531266"/>
              <a:gd name="connsiteX7" fmla="*/ 4500959 w 4501336"/>
              <a:gd name="connsiteY7" fmla="*/ 315514 h 5531266"/>
              <a:gd name="connsiteX8" fmla="*/ 4478698 w 4501336"/>
              <a:gd name="connsiteY8" fmla="*/ 373160 h 5531266"/>
              <a:gd name="connsiteX9" fmla="*/ 4475210 w 4501336"/>
              <a:gd name="connsiteY9" fmla="*/ 396781 h 5531266"/>
              <a:gd name="connsiteX10" fmla="*/ 4470105 w 4501336"/>
              <a:gd name="connsiteY10" fmla="*/ 488120 h 5531266"/>
              <a:gd name="connsiteX11" fmla="*/ 4469455 w 4501336"/>
              <a:gd name="connsiteY11" fmla="*/ 534537 h 5531266"/>
              <a:gd name="connsiteX12" fmla="*/ 4466356 w 4501336"/>
              <a:gd name="connsiteY12" fmla="*/ 563001 h 5531266"/>
              <a:gd name="connsiteX13" fmla="*/ 4465687 w 4501336"/>
              <a:gd name="connsiteY13" fmla="*/ 567182 h 5531266"/>
              <a:gd name="connsiteX14" fmla="*/ 4452750 w 4501336"/>
              <a:gd name="connsiteY14" fmla="*/ 798696 h 5531266"/>
              <a:gd name="connsiteX15" fmla="*/ 4454463 w 4501336"/>
              <a:gd name="connsiteY15" fmla="*/ 803530 h 5531266"/>
              <a:gd name="connsiteX16" fmla="*/ 4452312 w 4501336"/>
              <a:gd name="connsiteY16" fmla="*/ 827361 h 5531266"/>
              <a:gd name="connsiteX17" fmla="*/ 4450712 w 4501336"/>
              <a:gd name="connsiteY17" fmla="*/ 835146 h 5531266"/>
              <a:gd name="connsiteX18" fmla="*/ 4444474 w 4501336"/>
              <a:gd name="connsiteY18" fmla="*/ 946777 h 5531266"/>
              <a:gd name="connsiteX19" fmla="*/ 4446551 w 4501336"/>
              <a:gd name="connsiteY19" fmla="*/ 947677 h 5531266"/>
              <a:gd name="connsiteX20" fmla="*/ 4450670 w 4501336"/>
              <a:gd name="connsiteY20" fmla="*/ 983859 h 5531266"/>
              <a:gd name="connsiteX21" fmla="*/ 4445872 w 4501336"/>
              <a:gd name="connsiteY21" fmla="*/ 1082386 h 5531266"/>
              <a:gd name="connsiteX22" fmla="*/ 4445767 w 4501336"/>
              <a:gd name="connsiteY22" fmla="*/ 1140681 h 5531266"/>
              <a:gd name="connsiteX23" fmla="*/ 4450070 w 4501336"/>
              <a:gd name="connsiteY23" fmla="*/ 1161797 h 5531266"/>
              <a:gd name="connsiteX24" fmla="*/ 4453160 w 4501336"/>
              <a:gd name="connsiteY24" fmla="*/ 1191979 h 5531266"/>
              <a:gd name="connsiteX25" fmla="*/ 4461977 w 4501336"/>
              <a:gd name="connsiteY25" fmla="*/ 1244449 h 5531266"/>
              <a:gd name="connsiteX26" fmla="*/ 4464254 w 4501336"/>
              <a:gd name="connsiteY26" fmla="*/ 1294666 h 5531266"/>
              <a:gd name="connsiteX27" fmla="*/ 4463374 w 4501336"/>
              <a:gd name="connsiteY27" fmla="*/ 1328296 h 5531266"/>
              <a:gd name="connsiteX28" fmla="*/ 4462911 w 4501336"/>
              <a:gd name="connsiteY28" fmla="*/ 1333156 h 5531266"/>
              <a:gd name="connsiteX29" fmla="*/ 4453792 w 4501336"/>
              <a:gd name="connsiteY29" fmla="*/ 1373054 h 5531266"/>
              <a:gd name="connsiteX30" fmla="*/ 4457056 w 4501336"/>
              <a:gd name="connsiteY30" fmla="*/ 1376999 h 5531266"/>
              <a:gd name="connsiteX31" fmla="*/ 4459898 w 4501336"/>
              <a:gd name="connsiteY31" fmla="*/ 1389816 h 5531266"/>
              <a:gd name="connsiteX32" fmla="*/ 4455157 w 4501336"/>
              <a:gd name="connsiteY32" fmla="*/ 1400401 h 5531266"/>
              <a:gd name="connsiteX33" fmla="*/ 4444973 w 4501336"/>
              <a:gd name="connsiteY33" fmla="*/ 1450629 h 5531266"/>
              <a:gd name="connsiteX34" fmla="*/ 4434076 w 4501336"/>
              <a:gd name="connsiteY34" fmla="*/ 1524330 h 5531266"/>
              <a:gd name="connsiteX35" fmla="*/ 4429195 w 4501336"/>
              <a:gd name="connsiteY35" fmla="*/ 1535289 h 5531266"/>
              <a:gd name="connsiteX36" fmla="*/ 4414767 w 4501336"/>
              <a:gd name="connsiteY36" fmla="*/ 1607363 h 5531266"/>
              <a:gd name="connsiteX37" fmla="*/ 4411052 w 4501336"/>
              <a:gd name="connsiteY37" fmla="*/ 1645395 h 5531266"/>
              <a:gd name="connsiteX38" fmla="*/ 4414712 w 4501336"/>
              <a:gd name="connsiteY38" fmla="*/ 1649850 h 5531266"/>
              <a:gd name="connsiteX39" fmla="*/ 4413062 w 4501336"/>
              <a:gd name="connsiteY39" fmla="*/ 1661048 h 5531266"/>
              <a:gd name="connsiteX40" fmla="*/ 4413474 w 4501336"/>
              <a:gd name="connsiteY40" fmla="*/ 1664107 h 5531266"/>
              <a:gd name="connsiteX41" fmla="*/ 4414985 w 4501336"/>
              <a:gd name="connsiteY41" fmla="*/ 1681560 h 5531266"/>
              <a:gd name="connsiteX42" fmla="*/ 4403515 w 4501336"/>
              <a:gd name="connsiteY42" fmla="*/ 1716455 h 5531266"/>
              <a:gd name="connsiteX43" fmla="*/ 4401455 w 4501336"/>
              <a:gd name="connsiteY43" fmla="*/ 1716581 h 5531266"/>
              <a:gd name="connsiteX44" fmla="*/ 4392957 w 4501336"/>
              <a:gd name="connsiteY44" fmla="*/ 1868666 h 5531266"/>
              <a:gd name="connsiteX45" fmla="*/ 4401648 w 4501336"/>
              <a:gd name="connsiteY45" fmla="*/ 1892828 h 5531266"/>
              <a:gd name="connsiteX46" fmla="*/ 4403926 w 4501336"/>
              <a:gd name="connsiteY46" fmla="*/ 1943047 h 5531266"/>
              <a:gd name="connsiteX47" fmla="*/ 4403045 w 4501336"/>
              <a:gd name="connsiteY47" fmla="*/ 1976676 h 5531266"/>
              <a:gd name="connsiteX48" fmla="*/ 4402583 w 4501336"/>
              <a:gd name="connsiteY48" fmla="*/ 1981536 h 5531266"/>
              <a:gd name="connsiteX49" fmla="*/ 4393463 w 4501336"/>
              <a:gd name="connsiteY49" fmla="*/ 2021434 h 5531266"/>
              <a:gd name="connsiteX50" fmla="*/ 4396728 w 4501336"/>
              <a:gd name="connsiteY50" fmla="*/ 2025379 h 5531266"/>
              <a:gd name="connsiteX51" fmla="*/ 4399569 w 4501336"/>
              <a:gd name="connsiteY51" fmla="*/ 2038196 h 5531266"/>
              <a:gd name="connsiteX52" fmla="*/ 4394828 w 4501336"/>
              <a:gd name="connsiteY52" fmla="*/ 2048781 h 5531266"/>
              <a:gd name="connsiteX53" fmla="*/ 4384644 w 4501336"/>
              <a:gd name="connsiteY53" fmla="*/ 2099011 h 5531266"/>
              <a:gd name="connsiteX54" fmla="*/ 4377313 w 4501336"/>
              <a:gd name="connsiteY54" fmla="*/ 2148592 h 5531266"/>
              <a:gd name="connsiteX55" fmla="*/ 4321230 w 4501336"/>
              <a:gd name="connsiteY55" fmla="*/ 3204925 h 5531266"/>
              <a:gd name="connsiteX56" fmla="*/ 4308444 w 4501336"/>
              <a:gd name="connsiteY56" fmla="*/ 3458573 h 5531266"/>
              <a:gd name="connsiteX57" fmla="*/ 4297359 w 4501336"/>
              <a:gd name="connsiteY57" fmla="*/ 3621276 h 5531266"/>
              <a:gd name="connsiteX58" fmla="*/ 4206598 w 4501336"/>
              <a:gd name="connsiteY58" fmla="*/ 5260213 h 5531266"/>
              <a:gd name="connsiteX59" fmla="*/ 4211896 w 4501336"/>
              <a:gd name="connsiteY59" fmla="*/ 5296918 h 5531266"/>
              <a:gd name="connsiteX60" fmla="*/ 4215430 w 4501336"/>
              <a:gd name="connsiteY60" fmla="*/ 5331382 h 5531266"/>
              <a:gd name="connsiteX61" fmla="*/ 4218262 w 4501336"/>
              <a:gd name="connsiteY61" fmla="*/ 5431691 h 5531266"/>
              <a:gd name="connsiteX62" fmla="*/ 4199705 w 4501336"/>
              <a:gd name="connsiteY62" fmla="*/ 5466096 h 5531266"/>
              <a:gd name="connsiteX63" fmla="*/ 4195053 w 4501336"/>
              <a:gd name="connsiteY63" fmla="*/ 5468796 h 5531266"/>
              <a:gd name="connsiteX64" fmla="*/ 4191596 w 4501336"/>
              <a:gd name="connsiteY64" fmla="*/ 5531243 h 5531266"/>
              <a:gd name="connsiteX65" fmla="*/ 258233 w 4501336"/>
              <a:gd name="connsiteY65" fmla="*/ 5278553 h 5531266"/>
              <a:gd name="connsiteX66" fmla="*/ 3330 w 4501336"/>
              <a:gd name="connsiteY66" fmla="*/ 5237777 h 5531266"/>
              <a:gd name="connsiteX67" fmla="*/ 0 w 4501336"/>
              <a:gd name="connsiteY67" fmla="*/ 5070360 h 5531266"/>
              <a:gd name="connsiteX68" fmla="*/ 22583 w 4501336"/>
              <a:gd name="connsiteY68" fmla="*/ 4752822 h 5531266"/>
              <a:gd name="connsiteX69" fmla="*/ 224334 w 4501336"/>
              <a:gd name="connsiteY69" fmla="*/ 0 h 5531266"/>
              <a:gd name="connsiteX0" fmla="*/ 221004 w 4498006"/>
              <a:gd name="connsiteY0" fmla="*/ 0 h 5531266"/>
              <a:gd name="connsiteX1" fmla="*/ 3250171 w 4498006"/>
              <a:gd name="connsiteY1" fmla="*/ 153134 h 5531266"/>
              <a:gd name="connsiteX2" fmla="*/ 4078982 w 4498006"/>
              <a:gd name="connsiteY2" fmla="*/ 208242 h 5531266"/>
              <a:gd name="connsiteX3" fmla="*/ 4452176 w 4498006"/>
              <a:gd name="connsiteY3" fmla="*/ 228666 h 5531266"/>
              <a:gd name="connsiteX4" fmla="*/ 4480055 w 4498006"/>
              <a:gd name="connsiteY4" fmla="*/ 250471 h 5531266"/>
              <a:gd name="connsiteX5" fmla="*/ 4478281 w 4498006"/>
              <a:gd name="connsiteY5" fmla="*/ 282222 h 5531266"/>
              <a:gd name="connsiteX6" fmla="*/ 4481203 w 4498006"/>
              <a:gd name="connsiteY6" fmla="*/ 283939 h 5531266"/>
              <a:gd name="connsiteX7" fmla="*/ 4497629 w 4498006"/>
              <a:gd name="connsiteY7" fmla="*/ 315514 h 5531266"/>
              <a:gd name="connsiteX8" fmla="*/ 4475368 w 4498006"/>
              <a:gd name="connsiteY8" fmla="*/ 373160 h 5531266"/>
              <a:gd name="connsiteX9" fmla="*/ 4471880 w 4498006"/>
              <a:gd name="connsiteY9" fmla="*/ 396781 h 5531266"/>
              <a:gd name="connsiteX10" fmla="*/ 4466775 w 4498006"/>
              <a:gd name="connsiteY10" fmla="*/ 488120 h 5531266"/>
              <a:gd name="connsiteX11" fmla="*/ 4466125 w 4498006"/>
              <a:gd name="connsiteY11" fmla="*/ 534537 h 5531266"/>
              <a:gd name="connsiteX12" fmla="*/ 4463026 w 4498006"/>
              <a:gd name="connsiteY12" fmla="*/ 563001 h 5531266"/>
              <a:gd name="connsiteX13" fmla="*/ 4462357 w 4498006"/>
              <a:gd name="connsiteY13" fmla="*/ 567182 h 5531266"/>
              <a:gd name="connsiteX14" fmla="*/ 4449420 w 4498006"/>
              <a:gd name="connsiteY14" fmla="*/ 798696 h 5531266"/>
              <a:gd name="connsiteX15" fmla="*/ 4451133 w 4498006"/>
              <a:gd name="connsiteY15" fmla="*/ 803530 h 5531266"/>
              <a:gd name="connsiteX16" fmla="*/ 4448982 w 4498006"/>
              <a:gd name="connsiteY16" fmla="*/ 827361 h 5531266"/>
              <a:gd name="connsiteX17" fmla="*/ 4447382 w 4498006"/>
              <a:gd name="connsiteY17" fmla="*/ 835146 h 5531266"/>
              <a:gd name="connsiteX18" fmla="*/ 4441144 w 4498006"/>
              <a:gd name="connsiteY18" fmla="*/ 946777 h 5531266"/>
              <a:gd name="connsiteX19" fmla="*/ 4443221 w 4498006"/>
              <a:gd name="connsiteY19" fmla="*/ 947677 h 5531266"/>
              <a:gd name="connsiteX20" fmla="*/ 4447340 w 4498006"/>
              <a:gd name="connsiteY20" fmla="*/ 983859 h 5531266"/>
              <a:gd name="connsiteX21" fmla="*/ 4442542 w 4498006"/>
              <a:gd name="connsiteY21" fmla="*/ 1082386 h 5531266"/>
              <a:gd name="connsiteX22" fmla="*/ 4442437 w 4498006"/>
              <a:gd name="connsiteY22" fmla="*/ 1140681 h 5531266"/>
              <a:gd name="connsiteX23" fmla="*/ 4446740 w 4498006"/>
              <a:gd name="connsiteY23" fmla="*/ 1161797 h 5531266"/>
              <a:gd name="connsiteX24" fmla="*/ 4449830 w 4498006"/>
              <a:gd name="connsiteY24" fmla="*/ 1191979 h 5531266"/>
              <a:gd name="connsiteX25" fmla="*/ 4458647 w 4498006"/>
              <a:gd name="connsiteY25" fmla="*/ 1244449 h 5531266"/>
              <a:gd name="connsiteX26" fmla="*/ 4460924 w 4498006"/>
              <a:gd name="connsiteY26" fmla="*/ 1294666 h 5531266"/>
              <a:gd name="connsiteX27" fmla="*/ 4460044 w 4498006"/>
              <a:gd name="connsiteY27" fmla="*/ 1328296 h 5531266"/>
              <a:gd name="connsiteX28" fmla="*/ 4459581 w 4498006"/>
              <a:gd name="connsiteY28" fmla="*/ 1333156 h 5531266"/>
              <a:gd name="connsiteX29" fmla="*/ 4450462 w 4498006"/>
              <a:gd name="connsiteY29" fmla="*/ 1373054 h 5531266"/>
              <a:gd name="connsiteX30" fmla="*/ 4453726 w 4498006"/>
              <a:gd name="connsiteY30" fmla="*/ 1376999 h 5531266"/>
              <a:gd name="connsiteX31" fmla="*/ 4456568 w 4498006"/>
              <a:gd name="connsiteY31" fmla="*/ 1389816 h 5531266"/>
              <a:gd name="connsiteX32" fmla="*/ 4451827 w 4498006"/>
              <a:gd name="connsiteY32" fmla="*/ 1400401 h 5531266"/>
              <a:gd name="connsiteX33" fmla="*/ 4441643 w 4498006"/>
              <a:gd name="connsiteY33" fmla="*/ 1450629 h 5531266"/>
              <a:gd name="connsiteX34" fmla="*/ 4430746 w 4498006"/>
              <a:gd name="connsiteY34" fmla="*/ 1524330 h 5531266"/>
              <a:gd name="connsiteX35" fmla="*/ 4425865 w 4498006"/>
              <a:gd name="connsiteY35" fmla="*/ 1535289 h 5531266"/>
              <a:gd name="connsiteX36" fmla="*/ 4411437 w 4498006"/>
              <a:gd name="connsiteY36" fmla="*/ 1607363 h 5531266"/>
              <a:gd name="connsiteX37" fmla="*/ 4407722 w 4498006"/>
              <a:gd name="connsiteY37" fmla="*/ 1645395 h 5531266"/>
              <a:gd name="connsiteX38" fmla="*/ 4411382 w 4498006"/>
              <a:gd name="connsiteY38" fmla="*/ 1649850 h 5531266"/>
              <a:gd name="connsiteX39" fmla="*/ 4409732 w 4498006"/>
              <a:gd name="connsiteY39" fmla="*/ 1661048 h 5531266"/>
              <a:gd name="connsiteX40" fmla="*/ 4410144 w 4498006"/>
              <a:gd name="connsiteY40" fmla="*/ 1664107 h 5531266"/>
              <a:gd name="connsiteX41" fmla="*/ 4411655 w 4498006"/>
              <a:gd name="connsiteY41" fmla="*/ 1681560 h 5531266"/>
              <a:gd name="connsiteX42" fmla="*/ 4400185 w 4498006"/>
              <a:gd name="connsiteY42" fmla="*/ 1716455 h 5531266"/>
              <a:gd name="connsiteX43" fmla="*/ 4398125 w 4498006"/>
              <a:gd name="connsiteY43" fmla="*/ 1716581 h 5531266"/>
              <a:gd name="connsiteX44" fmla="*/ 4389627 w 4498006"/>
              <a:gd name="connsiteY44" fmla="*/ 1868666 h 5531266"/>
              <a:gd name="connsiteX45" fmla="*/ 4398318 w 4498006"/>
              <a:gd name="connsiteY45" fmla="*/ 1892828 h 5531266"/>
              <a:gd name="connsiteX46" fmla="*/ 4400596 w 4498006"/>
              <a:gd name="connsiteY46" fmla="*/ 1943047 h 5531266"/>
              <a:gd name="connsiteX47" fmla="*/ 4399715 w 4498006"/>
              <a:gd name="connsiteY47" fmla="*/ 1976676 h 5531266"/>
              <a:gd name="connsiteX48" fmla="*/ 4399253 w 4498006"/>
              <a:gd name="connsiteY48" fmla="*/ 1981536 h 5531266"/>
              <a:gd name="connsiteX49" fmla="*/ 4390133 w 4498006"/>
              <a:gd name="connsiteY49" fmla="*/ 2021434 h 5531266"/>
              <a:gd name="connsiteX50" fmla="*/ 4393398 w 4498006"/>
              <a:gd name="connsiteY50" fmla="*/ 2025379 h 5531266"/>
              <a:gd name="connsiteX51" fmla="*/ 4396239 w 4498006"/>
              <a:gd name="connsiteY51" fmla="*/ 2038196 h 5531266"/>
              <a:gd name="connsiteX52" fmla="*/ 4391498 w 4498006"/>
              <a:gd name="connsiteY52" fmla="*/ 2048781 h 5531266"/>
              <a:gd name="connsiteX53" fmla="*/ 4381314 w 4498006"/>
              <a:gd name="connsiteY53" fmla="*/ 2099011 h 5531266"/>
              <a:gd name="connsiteX54" fmla="*/ 4373983 w 4498006"/>
              <a:gd name="connsiteY54" fmla="*/ 2148592 h 5531266"/>
              <a:gd name="connsiteX55" fmla="*/ 4317900 w 4498006"/>
              <a:gd name="connsiteY55" fmla="*/ 3204925 h 5531266"/>
              <a:gd name="connsiteX56" fmla="*/ 4305114 w 4498006"/>
              <a:gd name="connsiteY56" fmla="*/ 3458573 h 5531266"/>
              <a:gd name="connsiteX57" fmla="*/ 4294029 w 4498006"/>
              <a:gd name="connsiteY57" fmla="*/ 3621276 h 5531266"/>
              <a:gd name="connsiteX58" fmla="*/ 4203268 w 4498006"/>
              <a:gd name="connsiteY58" fmla="*/ 5260213 h 5531266"/>
              <a:gd name="connsiteX59" fmla="*/ 4208566 w 4498006"/>
              <a:gd name="connsiteY59" fmla="*/ 5296918 h 5531266"/>
              <a:gd name="connsiteX60" fmla="*/ 4212100 w 4498006"/>
              <a:gd name="connsiteY60" fmla="*/ 5331382 h 5531266"/>
              <a:gd name="connsiteX61" fmla="*/ 4214932 w 4498006"/>
              <a:gd name="connsiteY61" fmla="*/ 5431691 h 5531266"/>
              <a:gd name="connsiteX62" fmla="*/ 4196375 w 4498006"/>
              <a:gd name="connsiteY62" fmla="*/ 5466096 h 5531266"/>
              <a:gd name="connsiteX63" fmla="*/ 4191723 w 4498006"/>
              <a:gd name="connsiteY63" fmla="*/ 5468796 h 5531266"/>
              <a:gd name="connsiteX64" fmla="*/ 4188266 w 4498006"/>
              <a:gd name="connsiteY64" fmla="*/ 5531243 h 5531266"/>
              <a:gd name="connsiteX65" fmla="*/ 254903 w 4498006"/>
              <a:gd name="connsiteY65" fmla="*/ 5278553 h 5531266"/>
              <a:gd name="connsiteX66" fmla="*/ 0 w 4498006"/>
              <a:gd name="connsiteY66" fmla="*/ 5237777 h 5531266"/>
              <a:gd name="connsiteX67" fmla="*/ 6412 w 4498006"/>
              <a:gd name="connsiteY67" fmla="*/ 4977753 h 5531266"/>
              <a:gd name="connsiteX68" fmla="*/ 19253 w 4498006"/>
              <a:gd name="connsiteY68" fmla="*/ 4752822 h 5531266"/>
              <a:gd name="connsiteX69" fmla="*/ 221004 w 4498006"/>
              <a:gd name="connsiteY69" fmla="*/ 0 h 5531266"/>
              <a:gd name="connsiteX0" fmla="*/ 222466 w 4499468"/>
              <a:gd name="connsiteY0" fmla="*/ 0 h 5531266"/>
              <a:gd name="connsiteX1" fmla="*/ 3251633 w 4499468"/>
              <a:gd name="connsiteY1" fmla="*/ 153134 h 5531266"/>
              <a:gd name="connsiteX2" fmla="*/ 4080444 w 4499468"/>
              <a:gd name="connsiteY2" fmla="*/ 208242 h 5531266"/>
              <a:gd name="connsiteX3" fmla="*/ 4453638 w 4499468"/>
              <a:gd name="connsiteY3" fmla="*/ 228666 h 5531266"/>
              <a:gd name="connsiteX4" fmla="*/ 4481517 w 4499468"/>
              <a:gd name="connsiteY4" fmla="*/ 250471 h 5531266"/>
              <a:gd name="connsiteX5" fmla="*/ 4479743 w 4499468"/>
              <a:gd name="connsiteY5" fmla="*/ 282222 h 5531266"/>
              <a:gd name="connsiteX6" fmla="*/ 4482665 w 4499468"/>
              <a:gd name="connsiteY6" fmla="*/ 283939 h 5531266"/>
              <a:gd name="connsiteX7" fmla="*/ 4499091 w 4499468"/>
              <a:gd name="connsiteY7" fmla="*/ 315514 h 5531266"/>
              <a:gd name="connsiteX8" fmla="*/ 4476830 w 4499468"/>
              <a:gd name="connsiteY8" fmla="*/ 373160 h 5531266"/>
              <a:gd name="connsiteX9" fmla="*/ 4473342 w 4499468"/>
              <a:gd name="connsiteY9" fmla="*/ 396781 h 5531266"/>
              <a:gd name="connsiteX10" fmla="*/ 4468237 w 4499468"/>
              <a:gd name="connsiteY10" fmla="*/ 488120 h 5531266"/>
              <a:gd name="connsiteX11" fmla="*/ 4467587 w 4499468"/>
              <a:gd name="connsiteY11" fmla="*/ 534537 h 5531266"/>
              <a:gd name="connsiteX12" fmla="*/ 4464488 w 4499468"/>
              <a:gd name="connsiteY12" fmla="*/ 563001 h 5531266"/>
              <a:gd name="connsiteX13" fmla="*/ 4463819 w 4499468"/>
              <a:gd name="connsiteY13" fmla="*/ 567182 h 5531266"/>
              <a:gd name="connsiteX14" fmla="*/ 4450882 w 4499468"/>
              <a:gd name="connsiteY14" fmla="*/ 798696 h 5531266"/>
              <a:gd name="connsiteX15" fmla="*/ 4452595 w 4499468"/>
              <a:gd name="connsiteY15" fmla="*/ 803530 h 5531266"/>
              <a:gd name="connsiteX16" fmla="*/ 4450444 w 4499468"/>
              <a:gd name="connsiteY16" fmla="*/ 827361 h 5531266"/>
              <a:gd name="connsiteX17" fmla="*/ 4448844 w 4499468"/>
              <a:gd name="connsiteY17" fmla="*/ 835146 h 5531266"/>
              <a:gd name="connsiteX18" fmla="*/ 4442606 w 4499468"/>
              <a:gd name="connsiteY18" fmla="*/ 946777 h 5531266"/>
              <a:gd name="connsiteX19" fmla="*/ 4444683 w 4499468"/>
              <a:gd name="connsiteY19" fmla="*/ 947677 h 5531266"/>
              <a:gd name="connsiteX20" fmla="*/ 4448802 w 4499468"/>
              <a:gd name="connsiteY20" fmla="*/ 983859 h 5531266"/>
              <a:gd name="connsiteX21" fmla="*/ 4444004 w 4499468"/>
              <a:gd name="connsiteY21" fmla="*/ 1082386 h 5531266"/>
              <a:gd name="connsiteX22" fmla="*/ 4443899 w 4499468"/>
              <a:gd name="connsiteY22" fmla="*/ 1140681 h 5531266"/>
              <a:gd name="connsiteX23" fmla="*/ 4448202 w 4499468"/>
              <a:gd name="connsiteY23" fmla="*/ 1161797 h 5531266"/>
              <a:gd name="connsiteX24" fmla="*/ 4451292 w 4499468"/>
              <a:gd name="connsiteY24" fmla="*/ 1191979 h 5531266"/>
              <a:gd name="connsiteX25" fmla="*/ 4460109 w 4499468"/>
              <a:gd name="connsiteY25" fmla="*/ 1244449 h 5531266"/>
              <a:gd name="connsiteX26" fmla="*/ 4462386 w 4499468"/>
              <a:gd name="connsiteY26" fmla="*/ 1294666 h 5531266"/>
              <a:gd name="connsiteX27" fmla="*/ 4461506 w 4499468"/>
              <a:gd name="connsiteY27" fmla="*/ 1328296 h 5531266"/>
              <a:gd name="connsiteX28" fmla="*/ 4461043 w 4499468"/>
              <a:gd name="connsiteY28" fmla="*/ 1333156 h 5531266"/>
              <a:gd name="connsiteX29" fmla="*/ 4451924 w 4499468"/>
              <a:gd name="connsiteY29" fmla="*/ 1373054 h 5531266"/>
              <a:gd name="connsiteX30" fmla="*/ 4455188 w 4499468"/>
              <a:gd name="connsiteY30" fmla="*/ 1376999 h 5531266"/>
              <a:gd name="connsiteX31" fmla="*/ 4458030 w 4499468"/>
              <a:gd name="connsiteY31" fmla="*/ 1389816 h 5531266"/>
              <a:gd name="connsiteX32" fmla="*/ 4453289 w 4499468"/>
              <a:gd name="connsiteY32" fmla="*/ 1400401 h 5531266"/>
              <a:gd name="connsiteX33" fmla="*/ 4443105 w 4499468"/>
              <a:gd name="connsiteY33" fmla="*/ 1450629 h 5531266"/>
              <a:gd name="connsiteX34" fmla="*/ 4432208 w 4499468"/>
              <a:gd name="connsiteY34" fmla="*/ 1524330 h 5531266"/>
              <a:gd name="connsiteX35" fmla="*/ 4427327 w 4499468"/>
              <a:gd name="connsiteY35" fmla="*/ 1535289 h 5531266"/>
              <a:gd name="connsiteX36" fmla="*/ 4412899 w 4499468"/>
              <a:gd name="connsiteY36" fmla="*/ 1607363 h 5531266"/>
              <a:gd name="connsiteX37" fmla="*/ 4409184 w 4499468"/>
              <a:gd name="connsiteY37" fmla="*/ 1645395 h 5531266"/>
              <a:gd name="connsiteX38" fmla="*/ 4412844 w 4499468"/>
              <a:gd name="connsiteY38" fmla="*/ 1649850 h 5531266"/>
              <a:gd name="connsiteX39" fmla="*/ 4411194 w 4499468"/>
              <a:gd name="connsiteY39" fmla="*/ 1661048 h 5531266"/>
              <a:gd name="connsiteX40" fmla="*/ 4411606 w 4499468"/>
              <a:gd name="connsiteY40" fmla="*/ 1664107 h 5531266"/>
              <a:gd name="connsiteX41" fmla="*/ 4413117 w 4499468"/>
              <a:gd name="connsiteY41" fmla="*/ 1681560 h 5531266"/>
              <a:gd name="connsiteX42" fmla="*/ 4401647 w 4499468"/>
              <a:gd name="connsiteY42" fmla="*/ 1716455 h 5531266"/>
              <a:gd name="connsiteX43" fmla="*/ 4399587 w 4499468"/>
              <a:gd name="connsiteY43" fmla="*/ 1716581 h 5531266"/>
              <a:gd name="connsiteX44" fmla="*/ 4391089 w 4499468"/>
              <a:gd name="connsiteY44" fmla="*/ 1868666 h 5531266"/>
              <a:gd name="connsiteX45" fmla="*/ 4399780 w 4499468"/>
              <a:gd name="connsiteY45" fmla="*/ 1892828 h 5531266"/>
              <a:gd name="connsiteX46" fmla="*/ 4402058 w 4499468"/>
              <a:gd name="connsiteY46" fmla="*/ 1943047 h 5531266"/>
              <a:gd name="connsiteX47" fmla="*/ 4401177 w 4499468"/>
              <a:gd name="connsiteY47" fmla="*/ 1976676 h 5531266"/>
              <a:gd name="connsiteX48" fmla="*/ 4400715 w 4499468"/>
              <a:gd name="connsiteY48" fmla="*/ 1981536 h 5531266"/>
              <a:gd name="connsiteX49" fmla="*/ 4391595 w 4499468"/>
              <a:gd name="connsiteY49" fmla="*/ 2021434 h 5531266"/>
              <a:gd name="connsiteX50" fmla="*/ 4394860 w 4499468"/>
              <a:gd name="connsiteY50" fmla="*/ 2025379 h 5531266"/>
              <a:gd name="connsiteX51" fmla="*/ 4397701 w 4499468"/>
              <a:gd name="connsiteY51" fmla="*/ 2038196 h 5531266"/>
              <a:gd name="connsiteX52" fmla="*/ 4392960 w 4499468"/>
              <a:gd name="connsiteY52" fmla="*/ 2048781 h 5531266"/>
              <a:gd name="connsiteX53" fmla="*/ 4382776 w 4499468"/>
              <a:gd name="connsiteY53" fmla="*/ 2099011 h 5531266"/>
              <a:gd name="connsiteX54" fmla="*/ 4375445 w 4499468"/>
              <a:gd name="connsiteY54" fmla="*/ 2148592 h 5531266"/>
              <a:gd name="connsiteX55" fmla="*/ 4319362 w 4499468"/>
              <a:gd name="connsiteY55" fmla="*/ 3204925 h 5531266"/>
              <a:gd name="connsiteX56" fmla="*/ 4306576 w 4499468"/>
              <a:gd name="connsiteY56" fmla="*/ 3458573 h 5531266"/>
              <a:gd name="connsiteX57" fmla="*/ 4295491 w 4499468"/>
              <a:gd name="connsiteY57" fmla="*/ 3621276 h 5531266"/>
              <a:gd name="connsiteX58" fmla="*/ 4204730 w 4499468"/>
              <a:gd name="connsiteY58" fmla="*/ 5260213 h 5531266"/>
              <a:gd name="connsiteX59" fmla="*/ 4210028 w 4499468"/>
              <a:gd name="connsiteY59" fmla="*/ 5296918 h 5531266"/>
              <a:gd name="connsiteX60" fmla="*/ 4213562 w 4499468"/>
              <a:gd name="connsiteY60" fmla="*/ 5331382 h 5531266"/>
              <a:gd name="connsiteX61" fmla="*/ 4216394 w 4499468"/>
              <a:gd name="connsiteY61" fmla="*/ 5431691 h 5531266"/>
              <a:gd name="connsiteX62" fmla="*/ 4197837 w 4499468"/>
              <a:gd name="connsiteY62" fmla="*/ 5466096 h 5531266"/>
              <a:gd name="connsiteX63" fmla="*/ 4193185 w 4499468"/>
              <a:gd name="connsiteY63" fmla="*/ 5468796 h 5531266"/>
              <a:gd name="connsiteX64" fmla="*/ 4189728 w 4499468"/>
              <a:gd name="connsiteY64" fmla="*/ 5531243 h 5531266"/>
              <a:gd name="connsiteX65" fmla="*/ 256365 w 4499468"/>
              <a:gd name="connsiteY65" fmla="*/ 5278553 h 5531266"/>
              <a:gd name="connsiteX66" fmla="*/ 1462 w 4499468"/>
              <a:gd name="connsiteY66" fmla="*/ 5237777 h 5531266"/>
              <a:gd name="connsiteX67" fmla="*/ 7874 w 4499468"/>
              <a:gd name="connsiteY67" fmla="*/ 4977753 h 5531266"/>
              <a:gd name="connsiteX68" fmla="*/ 20715 w 4499468"/>
              <a:gd name="connsiteY68" fmla="*/ 4752822 h 5531266"/>
              <a:gd name="connsiteX69" fmla="*/ 222466 w 4499468"/>
              <a:gd name="connsiteY69" fmla="*/ 0 h 5531266"/>
              <a:gd name="connsiteX0" fmla="*/ 222466 w 4499468"/>
              <a:gd name="connsiteY0" fmla="*/ 0 h 5531262"/>
              <a:gd name="connsiteX1" fmla="*/ 3251633 w 4499468"/>
              <a:gd name="connsiteY1" fmla="*/ 153134 h 5531262"/>
              <a:gd name="connsiteX2" fmla="*/ 4080444 w 4499468"/>
              <a:gd name="connsiteY2" fmla="*/ 208242 h 5531262"/>
              <a:gd name="connsiteX3" fmla="*/ 4453638 w 4499468"/>
              <a:gd name="connsiteY3" fmla="*/ 228666 h 5531262"/>
              <a:gd name="connsiteX4" fmla="*/ 4481517 w 4499468"/>
              <a:gd name="connsiteY4" fmla="*/ 250471 h 5531262"/>
              <a:gd name="connsiteX5" fmla="*/ 4479743 w 4499468"/>
              <a:gd name="connsiteY5" fmla="*/ 282222 h 5531262"/>
              <a:gd name="connsiteX6" fmla="*/ 4482665 w 4499468"/>
              <a:gd name="connsiteY6" fmla="*/ 283939 h 5531262"/>
              <a:gd name="connsiteX7" fmla="*/ 4499091 w 4499468"/>
              <a:gd name="connsiteY7" fmla="*/ 315514 h 5531262"/>
              <a:gd name="connsiteX8" fmla="*/ 4476830 w 4499468"/>
              <a:gd name="connsiteY8" fmla="*/ 373160 h 5531262"/>
              <a:gd name="connsiteX9" fmla="*/ 4473342 w 4499468"/>
              <a:gd name="connsiteY9" fmla="*/ 396781 h 5531262"/>
              <a:gd name="connsiteX10" fmla="*/ 4468237 w 4499468"/>
              <a:gd name="connsiteY10" fmla="*/ 488120 h 5531262"/>
              <a:gd name="connsiteX11" fmla="*/ 4467587 w 4499468"/>
              <a:gd name="connsiteY11" fmla="*/ 534537 h 5531262"/>
              <a:gd name="connsiteX12" fmla="*/ 4464488 w 4499468"/>
              <a:gd name="connsiteY12" fmla="*/ 563001 h 5531262"/>
              <a:gd name="connsiteX13" fmla="*/ 4463819 w 4499468"/>
              <a:gd name="connsiteY13" fmla="*/ 567182 h 5531262"/>
              <a:gd name="connsiteX14" fmla="*/ 4450882 w 4499468"/>
              <a:gd name="connsiteY14" fmla="*/ 798696 h 5531262"/>
              <a:gd name="connsiteX15" fmla="*/ 4452595 w 4499468"/>
              <a:gd name="connsiteY15" fmla="*/ 803530 h 5531262"/>
              <a:gd name="connsiteX16" fmla="*/ 4450444 w 4499468"/>
              <a:gd name="connsiteY16" fmla="*/ 827361 h 5531262"/>
              <a:gd name="connsiteX17" fmla="*/ 4448844 w 4499468"/>
              <a:gd name="connsiteY17" fmla="*/ 835146 h 5531262"/>
              <a:gd name="connsiteX18" fmla="*/ 4442606 w 4499468"/>
              <a:gd name="connsiteY18" fmla="*/ 946777 h 5531262"/>
              <a:gd name="connsiteX19" fmla="*/ 4444683 w 4499468"/>
              <a:gd name="connsiteY19" fmla="*/ 947677 h 5531262"/>
              <a:gd name="connsiteX20" fmla="*/ 4448802 w 4499468"/>
              <a:gd name="connsiteY20" fmla="*/ 983859 h 5531262"/>
              <a:gd name="connsiteX21" fmla="*/ 4444004 w 4499468"/>
              <a:gd name="connsiteY21" fmla="*/ 1082386 h 5531262"/>
              <a:gd name="connsiteX22" fmla="*/ 4443899 w 4499468"/>
              <a:gd name="connsiteY22" fmla="*/ 1140681 h 5531262"/>
              <a:gd name="connsiteX23" fmla="*/ 4448202 w 4499468"/>
              <a:gd name="connsiteY23" fmla="*/ 1161797 h 5531262"/>
              <a:gd name="connsiteX24" fmla="*/ 4451292 w 4499468"/>
              <a:gd name="connsiteY24" fmla="*/ 1191979 h 5531262"/>
              <a:gd name="connsiteX25" fmla="*/ 4460109 w 4499468"/>
              <a:gd name="connsiteY25" fmla="*/ 1244449 h 5531262"/>
              <a:gd name="connsiteX26" fmla="*/ 4462386 w 4499468"/>
              <a:gd name="connsiteY26" fmla="*/ 1294666 h 5531262"/>
              <a:gd name="connsiteX27" fmla="*/ 4461506 w 4499468"/>
              <a:gd name="connsiteY27" fmla="*/ 1328296 h 5531262"/>
              <a:gd name="connsiteX28" fmla="*/ 4461043 w 4499468"/>
              <a:gd name="connsiteY28" fmla="*/ 1333156 h 5531262"/>
              <a:gd name="connsiteX29" fmla="*/ 4451924 w 4499468"/>
              <a:gd name="connsiteY29" fmla="*/ 1373054 h 5531262"/>
              <a:gd name="connsiteX30" fmla="*/ 4455188 w 4499468"/>
              <a:gd name="connsiteY30" fmla="*/ 1376999 h 5531262"/>
              <a:gd name="connsiteX31" fmla="*/ 4458030 w 4499468"/>
              <a:gd name="connsiteY31" fmla="*/ 1389816 h 5531262"/>
              <a:gd name="connsiteX32" fmla="*/ 4453289 w 4499468"/>
              <a:gd name="connsiteY32" fmla="*/ 1400401 h 5531262"/>
              <a:gd name="connsiteX33" fmla="*/ 4443105 w 4499468"/>
              <a:gd name="connsiteY33" fmla="*/ 1450629 h 5531262"/>
              <a:gd name="connsiteX34" fmla="*/ 4432208 w 4499468"/>
              <a:gd name="connsiteY34" fmla="*/ 1524330 h 5531262"/>
              <a:gd name="connsiteX35" fmla="*/ 4427327 w 4499468"/>
              <a:gd name="connsiteY35" fmla="*/ 1535289 h 5531262"/>
              <a:gd name="connsiteX36" fmla="*/ 4412899 w 4499468"/>
              <a:gd name="connsiteY36" fmla="*/ 1607363 h 5531262"/>
              <a:gd name="connsiteX37" fmla="*/ 4409184 w 4499468"/>
              <a:gd name="connsiteY37" fmla="*/ 1645395 h 5531262"/>
              <a:gd name="connsiteX38" fmla="*/ 4412844 w 4499468"/>
              <a:gd name="connsiteY38" fmla="*/ 1649850 h 5531262"/>
              <a:gd name="connsiteX39" fmla="*/ 4411194 w 4499468"/>
              <a:gd name="connsiteY39" fmla="*/ 1661048 h 5531262"/>
              <a:gd name="connsiteX40" fmla="*/ 4411606 w 4499468"/>
              <a:gd name="connsiteY40" fmla="*/ 1664107 h 5531262"/>
              <a:gd name="connsiteX41" fmla="*/ 4413117 w 4499468"/>
              <a:gd name="connsiteY41" fmla="*/ 1681560 h 5531262"/>
              <a:gd name="connsiteX42" fmla="*/ 4401647 w 4499468"/>
              <a:gd name="connsiteY42" fmla="*/ 1716455 h 5531262"/>
              <a:gd name="connsiteX43" fmla="*/ 4399587 w 4499468"/>
              <a:gd name="connsiteY43" fmla="*/ 1716581 h 5531262"/>
              <a:gd name="connsiteX44" fmla="*/ 4391089 w 4499468"/>
              <a:gd name="connsiteY44" fmla="*/ 1868666 h 5531262"/>
              <a:gd name="connsiteX45" fmla="*/ 4399780 w 4499468"/>
              <a:gd name="connsiteY45" fmla="*/ 1892828 h 5531262"/>
              <a:gd name="connsiteX46" fmla="*/ 4402058 w 4499468"/>
              <a:gd name="connsiteY46" fmla="*/ 1943047 h 5531262"/>
              <a:gd name="connsiteX47" fmla="*/ 4401177 w 4499468"/>
              <a:gd name="connsiteY47" fmla="*/ 1976676 h 5531262"/>
              <a:gd name="connsiteX48" fmla="*/ 4400715 w 4499468"/>
              <a:gd name="connsiteY48" fmla="*/ 1981536 h 5531262"/>
              <a:gd name="connsiteX49" fmla="*/ 4391595 w 4499468"/>
              <a:gd name="connsiteY49" fmla="*/ 2021434 h 5531262"/>
              <a:gd name="connsiteX50" fmla="*/ 4394860 w 4499468"/>
              <a:gd name="connsiteY50" fmla="*/ 2025379 h 5531262"/>
              <a:gd name="connsiteX51" fmla="*/ 4397701 w 4499468"/>
              <a:gd name="connsiteY51" fmla="*/ 2038196 h 5531262"/>
              <a:gd name="connsiteX52" fmla="*/ 4392960 w 4499468"/>
              <a:gd name="connsiteY52" fmla="*/ 2048781 h 5531262"/>
              <a:gd name="connsiteX53" fmla="*/ 4382776 w 4499468"/>
              <a:gd name="connsiteY53" fmla="*/ 2099011 h 5531262"/>
              <a:gd name="connsiteX54" fmla="*/ 4375445 w 4499468"/>
              <a:gd name="connsiteY54" fmla="*/ 2148592 h 5531262"/>
              <a:gd name="connsiteX55" fmla="*/ 4319362 w 4499468"/>
              <a:gd name="connsiteY55" fmla="*/ 3204925 h 5531262"/>
              <a:gd name="connsiteX56" fmla="*/ 4306576 w 4499468"/>
              <a:gd name="connsiteY56" fmla="*/ 3458573 h 5531262"/>
              <a:gd name="connsiteX57" fmla="*/ 4295491 w 4499468"/>
              <a:gd name="connsiteY57" fmla="*/ 3621276 h 5531262"/>
              <a:gd name="connsiteX58" fmla="*/ 4204730 w 4499468"/>
              <a:gd name="connsiteY58" fmla="*/ 5260213 h 5531262"/>
              <a:gd name="connsiteX59" fmla="*/ 4210028 w 4499468"/>
              <a:gd name="connsiteY59" fmla="*/ 5296918 h 5531262"/>
              <a:gd name="connsiteX60" fmla="*/ 4213562 w 4499468"/>
              <a:gd name="connsiteY60" fmla="*/ 5331382 h 5531262"/>
              <a:gd name="connsiteX61" fmla="*/ 4216394 w 4499468"/>
              <a:gd name="connsiteY61" fmla="*/ 5431691 h 5531262"/>
              <a:gd name="connsiteX62" fmla="*/ 4197837 w 4499468"/>
              <a:gd name="connsiteY62" fmla="*/ 5466096 h 5531262"/>
              <a:gd name="connsiteX63" fmla="*/ 4193185 w 4499468"/>
              <a:gd name="connsiteY63" fmla="*/ 5468796 h 5531262"/>
              <a:gd name="connsiteX64" fmla="*/ 4189728 w 4499468"/>
              <a:gd name="connsiteY64" fmla="*/ 5531243 h 5531262"/>
              <a:gd name="connsiteX65" fmla="*/ 298746 w 4499468"/>
              <a:gd name="connsiteY65" fmla="*/ 5249166 h 5531262"/>
              <a:gd name="connsiteX66" fmla="*/ 1462 w 4499468"/>
              <a:gd name="connsiteY66" fmla="*/ 5237777 h 5531262"/>
              <a:gd name="connsiteX67" fmla="*/ 7874 w 4499468"/>
              <a:gd name="connsiteY67" fmla="*/ 4977753 h 5531262"/>
              <a:gd name="connsiteX68" fmla="*/ 20715 w 4499468"/>
              <a:gd name="connsiteY68" fmla="*/ 4752822 h 5531262"/>
              <a:gd name="connsiteX69" fmla="*/ 222466 w 4499468"/>
              <a:gd name="connsiteY69" fmla="*/ 0 h 5531262"/>
              <a:gd name="connsiteX0" fmla="*/ 222466 w 4499468"/>
              <a:gd name="connsiteY0" fmla="*/ 0 h 5513991"/>
              <a:gd name="connsiteX1" fmla="*/ 3251633 w 4499468"/>
              <a:gd name="connsiteY1" fmla="*/ 153134 h 5513991"/>
              <a:gd name="connsiteX2" fmla="*/ 4080444 w 4499468"/>
              <a:gd name="connsiteY2" fmla="*/ 208242 h 5513991"/>
              <a:gd name="connsiteX3" fmla="*/ 4453638 w 4499468"/>
              <a:gd name="connsiteY3" fmla="*/ 228666 h 5513991"/>
              <a:gd name="connsiteX4" fmla="*/ 4481517 w 4499468"/>
              <a:gd name="connsiteY4" fmla="*/ 250471 h 5513991"/>
              <a:gd name="connsiteX5" fmla="*/ 4479743 w 4499468"/>
              <a:gd name="connsiteY5" fmla="*/ 282222 h 5513991"/>
              <a:gd name="connsiteX6" fmla="*/ 4482665 w 4499468"/>
              <a:gd name="connsiteY6" fmla="*/ 283939 h 5513991"/>
              <a:gd name="connsiteX7" fmla="*/ 4499091 w 4499468"/>
              <a:gd name="connsiteY7" fmla="*/ 315514 h 5513991"/>
              <a:gd name="connsiteX8" fmla="*/ 4476830 w 4499468"/>
              <a:gd name="connsiteY8" fmla="*/ 373160 h 5513991"/>
              <a:gd name="connsiteX9" fmla="*/ 4473342 w 4499468"/>
              <a:gd name="connsiteY9" fmla="*/ 396781 h 5513991"/>
              <a:gd name="connsiteX10" fmla="*/ 4468237 w 4499468"/>
              <a:gd name="connsiteY10" fmla="*/ 488120 h 5513991"/>
              <a:gd name="connsiteX11" fmla="*/ 4467587 w 4499468"/>
              <a:gd name="connsiteY11" fmla="*/ 534537 h 5513991"/>
              <a:gd name="connsiteX12" fmla="*/ 4464488 w 4499468"/>
              <a:gd name="connsiteY12" fmla="*/ 563001 h 5513991"/>
              <a:gd name="connsiteX13" fmla="*/ 4463819 w 4499468"/>
              <a:gd name="connsiteY13" fmla="*/ 567182 h 5513991"/>
              <a:gd name="connsiteX14" fmla="*/ 4450882 w 4499468"/>
              <a:gd name="connsiteY14" fmla="*/ 798696 h 5513991"/>
              <a:gd name="connsiteX15" fmla="*/ 4452595 w 4499468"/>
              <a:gd name="connsiteY15" fmla="*/ 803530 h 5513991"/>
              <a:gd name="connsiteX16" fmla="*/ 4450444 w 4499468"/>
              <a:gd name="connsiteY16" fmla="*/ 827361 h 5513991"/>
              <a:gd name="connsiteX17" fmla="*/ 4448844 w 4499468"/>
              <a:gd name="connsiteY17" fmla="*/ 835146 h 5513991"/>
              <a:gd name="connsiteX18" fmla="*/ 4442606 w 4499468"/>
              <a:gd name="connsiteY18" fmla="*/ 946777 h 5513991"/>
              <a:gd name="connsiteX19" fmla="*/ 4444683 w 4499468"/>
              <a:gd name="connsiteY19" fmla="*/ 947677 h 5513991"/>
              <a:gd name="connsiteX20" fmla="*/ 4448802 w 4499468"/>
              <a:gd name="connsiteY20" fmla="*/ 983859 h 5513991"/>
              <a:gd name="connsiteX21" fmla="*/ 4444004 w 4499468"/>
              <a:gd name="connsiteY21" fmla="*/ 1082386 h 5513991"/>
              <a:gd name="connsiteX22" fmla="*/ 4443899 w 4499468"/>
              <a:gd name="connsiteY22" fmla="*/ 1140681 h 5513991"/>
              <a:gd name="connsiteX23" fmla="*/ 4448202 w 4499468"/>
              <a:gd name="connsiteY23" fmla="*/ 1161797 h 5513991"/>
              <a:gd name="connsiteX24" fmla="*/ 4451292 w 4499468"/>
              <a:gd name="connsiteY24" fmla="*/ 1191979 h 5513991"/>
              <a:gd name="connsiteX25" fmla="*/ 4460109 w 4499468"/>
              <a:gd name="connsiteY25" fmla="*/ 1244449 h 5513991"/>
              <a:gd name="connsiteX26" fmla="*/ 4462386 w 4499468"/>
              <a:gd name="connsiteY26" fmla="*/ 1294666 h 5513991"/>
              <a:gd name="connsiteX27" fmla="*/ 4461506 w 4499468"/>
              <a:gd name="connsiteY27" fmla="*/ 1328296 h 5513991"/>
              <a:gd name="connsiteX28" fmla="*/ 4461043 w 4499468"/>
              <a:gd name="connsiteY28" fmla="*/ 1333156 h 5513991"/>
              <a:gd name="connsiteX29" fmla="*/ 4451924 w 4499468"/>
              <a:gd name="connsiteY29" fmla="*/ 1373054 h 5513991"/>
              <a:gd name="connsiteX30" fmla="*/ 4455188 w 4499468"/>
              <a:gd name="connsiteY30" fmla="*/ 1376999 h 5513991"/>
              <a:gd name="connsiteX31" fmla="*/ 4458030 w 4499468"/>
              <a:gd name="connsiteY31" fmla="*/ 1389816 h 5513991"/>
              <a:gd name="connsiteX32" fmla="*/ 4453289 w 4499468"/>
              <a:gd name="connsiteY32" fmla="*/ 1400401 h 5513991"/>
              <a:gd name="connsiteX33" fmla="*/ 4443105 w 4499468"/>
              <a:gd name="connsiteY33" fmla="*/ 1450629 h 5513991"/>
              <a:gd name="connsiteX34" fmla="*/ 4432208 w 4499468"/>
              <a:gd name="connsiteY34" fmla="*/ 1524330 h 5513991"/>
              <a:gd name="connsiteX35" fmla="*/ 4427327 w 4499468"/>
              <a:gd name="connsiteY35" fmla="*/ 1535289 h 5513991"/>
              <a:gd name="connsiteX36" fmla="*/ 4412899 w 4499468"/>
              <a:gd name="connsiteY36" fmla="*/ 1607363 h 5513991"/>
              <a:gd name="connsiteX37" fmla="*/ 4409184 w 4499468"/>
              <a:gd name="connsiteY37" fmla="*/ 1645395 h 5513991"/>
              <a:gd name="connsiteX38" fmla="*/ 4412844 w 4499468"/>
              <a:gd name="connsiteY38" fmla="*/ 1649850 h 5513991"/>
              <a:gd name="connsiteX39" fmla="*/ 4411194 w 4499468"/>
              <a:gd name="connsiteY39" fmla="*/ 1661048 h 5513991"/>
              <a:gd name="connsiteX40" fmla="*/ 4411606 w 4499468"/>
              <a:gd name="connsiteY40" fmla="*/ 1664107 h 5513991"/>
              <a:gd name="connsiteX41" fmla="*/ 4413117 w 4499468"/>
              <a:gd name="connsiteY41" fmla="*/ 1681560 h 5513991"/>
              <a:gd name="connsiteX42" fmla="*/ 4401647 w 4499468"/>
              <a:gd name="connsiteY42" fmla="*/ 1716455 h 5513991"/>
              <a:gd name="connsiteX43" fmla="*/ 4399587 w 4499468"/>
              <a:gd name="connsiteY43" fmla="*/ 1716581 h 5513991"/>
              <a:gd name="connsiteX44" fmla="*/ 4391089 w 4499468"/>
              <a:gd name="connsiteY44" fmla="*/ 1868666 h 5513991"/>
              <a:gd name="connsiteX45" fmla="*/ 4399780 w 4499468"/>
              <a:gd name="connsiteY45" fmla="*/ 1892828 h 5513991"/>
              <a:gd name="connsiteX46" fmla="*/ 4402058 w 4499468"/>
              <a:gd name="connsiteY46" fmla="*/ 1943047 h 5513991"/>
              <a:gd name="connsiteX47" fmla="*/ 4401177 w 4499468"/>
              <a:gd name="connsiteY47" fmla="*/ 1976676 h 5513991"/>
              <a:gd name="connsiteX48" fmla="*/ 4400715 w 4499468"/>
              <a:gd name="connsiteY48" fmla="*/ 1981536 h 5513991"/>
              <a:gd name="connsiteX49" fmla="*/ 4391595 w 4499468"/>
              <a:gd name="connsiteY49" fmla="*/ 2021434 h 5513991"/>
              <a:gd name="connsiteX50" fmla="*/ 4394860 w 4499468"/>
              <a:gd name="connsiteY50" fmla="*/ 2025379 h 5513991"/>
              <a:gd name="connsiteX51" fmla="*/ 4397701 w 4499468"/>
              <a:gd name="connsiteY51" fmla="*/ 2038196 h 5513991"/>
              <a:gd name="connsiteX52" fmla="*/ 4392960 w 4499468"/>
              <a:gd name="connsiteY52" fmla="*/ 2048781 h 5513991"/>
              <a:gd name="connsiteX53" fmla="*/ 4382776 w 4499468"/>
              <a:gd name="connsiteY53" fmla="*/ 2099011 h 5513991"/>
              <a:gd name="connsiteX54" fmla="*/ 4375445 w 4499468"/>
              <a:gd name="connsiteY54" fmla="*/ 2148592 h 5513991"/>
              <a:gd name="connsiteX55" fmla="*/ 4319362 w 4499468"/>
              <a:gd name="connsiteY55" fmla="*/ 3204925 h 5513991"/>
              <a:gd name="connsiteX56" fmla="*/ 4306576 w 4499468"/>
              <a:gd name="connsiteY56" fmla="*/ 3458573 h 5513991"/>
              <a:gd name="connsiteX57" fmla="*/ 4295491 w 4499468"/>
              <a:gd name="connsiteY57" fmla="*/ 3621276 h 5513991"/>
              <a:gd name="connsiteX58" fmla="*/ 4204730 w 4499468"/>
              <a:gd name="connsiteY58" fmla="*/ 5260213 h 5513991"/>
              <a:gd name="connsiteX59" fmla="*/ 4210028 w 4499468"/>
              <a:gd name="connsiteY59" fmla="*/ 5296918 h 5513991"/>
              <a:gd name="connsiteX60" fmla="*/ 4213562 w 4499468"/>
              <a:gd name="connsiteY60" fmla="*/ 5331382 h 5513991"/>
              <a:gd name="connsiteX61" fmla="*/ 4216394 w 4499468"/>
              <a:gd name="connsiteY61" fmla="*/ 5431691 h 5513991"/>
              <a:gd name="connsiteX62" fmla="*/ 4197837 w 4499468"/>
              <a:gd name="connsiteY62" fmla="*/ 5466096 h 5513991"/>
              <a:gd name="connsiteX63" fmla="*/ 4193185 w 4499468"/>
              <a:gd name="connsiteY63" fmla="*/ 5468796 h 5513991"/>
              <a:gd name="connsiteX64" fmla="*/ 4187554 w 4499468"/>
              <a:gd name="connsiteY64" fmla="*/ 5513970 h 5513991"/>
              <a:gd name="connsiteX65" fmla="*/ 298746 w 4499468"/>
              <a:gd name="connsiteY65" fmla="*/ 5249166 h 5513991"/>
              <a:gd name="connsiteX66" fmla="*/ 1462 w 4499468"/>
              <a:gd name="connsiteY66" fmla="*/ 5237777 h 5513991"/>
              <a:gd name="connsiteX67" fmla="*/ 7874 w 4499468"/>
              <a:gd name="connsiteY67" fmla="*/ 4977753 h 5513991"/>
              <a:gd name="connsiteX68" fmla="*/ 20715 w 4499468"/>
              <a:gd name="connsiteY68" fmla="*/ 4752822 h 5513991"/>
              <a:gd name="connsiteX69" fmla="*/ 222466 w 4499468"/>
              <a:gd name="connsiteY69" fmla="*/ 0 h 5513991"/>
              <a:gd name="connsiteX0" fmla="*/ 222466 w 4499468"/>
              <a:gd name="connsiteY0" fmla="*/ 0 h 5513991"/>
              <a:gd name="connsiteX1" fmla="*/ 3251633 w 4499468"/>
              <a:gd name="connsiteY1" fmla="*/ 153134 h 5513991"/>
              <a:gd name="connsiteX2" fmla="*/ 4080444 w 4499468"/>
              <a:gd name="connsiteY2" fmla="*/ 208242 h 5513991"/>
              <a:gd name="connsiteX3" fmla="*/ 4453638 w 4499468"/>
              <a:gd name="connsiteY3" fmla="*/ 228666 h 5513991"/>
              <a:gd name="connsiteX4" fmla="*/ 4481517 w 4499468"/>
              <a:gd name="connsiteY4" fmla="*/ 250471 h 5513991"/>
              <a:gd name="connsiteX5" fmla="*/ 4479743 w 4499468"/>
              <a:gd name="connsiteY5" fmla="*/ 282222 h 5513991"/>
              <a:gd name="connsiteX6" fmla="*/ 4482665 w 4499468"/>
              <a:gd name="connsiteY6" fmla="*/ 283939 h 5513991"/>
              <a:gd name="connsiteX7" fmla="*/ 4499091 w 4499468"/>
              <a:gd name="connsiteY7" fmla="*/ 315514 h 5513991"/>
              <a:gd name="connsiteX8" fmla="*/ 4476830 w 4499468"/>
              <a:gd name="connsiteY8" fmla="*/ 373160 h 5513991"/>
              <a:gd name="connsiteX9" fmla="*/ 4473342 w 4499468"/>
              <a:gd name="connsiteY9" fmla="*/ 396781 h 5513991"/>
              <a:gd name="connsiteX10" fmla="*/ 4468237 w 4499468"/>
              <a:gd name="connsiteY10" fmla="*/ 488120 h 5513991"/>
              <a:gd name="connsiteX11" fmla="*/ 4467587 w 4499468"/>
              <a:gd name="connsiteY11" fmla="*/ 534537 h 5513991"/>
              <a:gd name="connsiteX12" fmla="*/ 4464488 w 4499468"/>
              <a:gd name="connsiteY12" fmla="*/ 563001 h 5513991"/>
              <a:gd name="connsiteX13" fmla="*/ 4463819 w 4499468"/>
              <a:gd name="connsiteY13" fmla="*/ 567182 h 5513991"/>
              <a:gd name="connsiteX14" fmla="*/ 4450882 w 4499468"/>
              <a:gd name="connsiteY14" fmla="*/ 798696 h 5513991"/>
              <a:gd name="connsiteX15" fmla="*/ 4452595 w 4499468"/>
              <a:gd name="connsiteY15" fmla="*/ 803530 h 5513991"/>
              <a:gd name="connsiteX16" fmla="*/ 4450444 w 4499468"/>
              <a:gd name="connsiteY16" fmla="*/ 827361 h 5513991"/>
              <a:gd name="connsiteX17" fmla="*/ 4448844 w 4499468"/>
              <a:gd name="connsiteY17" fmla="*/ 835146 h 5513991"/>
              <a:gd name="connsiteX18" fmla="*/ 4442606 w 4499468"/>
              <a:gd name="connsiteY18" fmla="*/ 946777 h 5513991"/>
              <a:gd name="connsiteX19" fmla="*/ 4444683 w 4499468"/>
              <a:gd name="connsiteY19" fmla="*/ 947677 h 5513991"/>
              <a:gd name="connsiteX20" fmla="*/ 4448802 w 4499468"/>
              <a:gd name="connsiteY20" fmla="*/ 983859 h 5513991"/>
              <a:gd name="connsiteX21" fmla="*/ 4444004 w 4499468"/>
              <a:gd name="connsiteY21" fmla="*/ 1082386 h 5513991"/>
              <a:gd name="connsiteX22" fmla="*/ 4443899 w 4499468"/>
              <a:gd name="connsiteY22" fmla="*/ 1140681 h 5513991"/>
              <a:gd name="connsiteX23" fmla="*/ 4448202 w 4499468"/>
              <a:gd name="connsiteY23" fmla="*/ 1161797 h 5513991"/>
              <a:gd name="connsiteX24" fmla="*/ 4451292 w 4499468"/>
              <a:gd name="connsiteY24" fmla="*/ 1191979 h 5513991"/>
              <a:gd name="connsiteX25" fmla="*/ 4460109 w 4499468"/>
              <a:gd name="connsiteY25" fmla="*/ 1244449 h 5513991"/>
              <a:gd name="connsiteX26" fmla="*/ 4462386 w 4499468"/>
              <a:gd name="connsiteY26" fmla="*/ 1294666 h 5513991"/>
              <a:gd name="connsiteX27" fmla="*/ 4461506 w 4499468"/>
              <a:gd name="connsiteY27" fmla="*/ 1328296 h 5513991"/>
              <a:gd name="connsiteX28" fmla="*/ 4461043 w 4499468"/>
              <a:gd name="connsiteY28" fmla="*/ 1333156 h 5513991"/>
              <a:gd name="connsiteX29" fmla="*/ 4451924 w 4499468"/>
              <a:gd name="connsiteY29" fmla="*/ 1373054 h 5513991"/>
              <a:gd name="connsiteX30" fmla="*/ 4455188 w 4499468"/>
              <a:gd name="connsiteY30" fmla="*/ 1376999 h 5513991"/>
              <a:gd name="connsiteX31" fmla="*/ 4458030 w 4499468"/>
              <a:gd name="connsiteY31" fmla="*/ 1389816 h 5513991"/>
              <a:gd name="connsiteX32" fmla="*/ 4453289 w 4499468"/>
              <a:gd name="connsiteY32" fmla="*/ 1400401 h 5513991"/>
              <a:gd name="connsiteX33" fmla="*/ 4443105 w 4499468"/>
              <a:gd name="connsiteY33" fmla="*/ 1450629 h 5513991"/>
              <a:gd name="connsiteX34" fmla="*/ 4432208 w 4499468"/>
              <a:gd name="connsiteY34" fmla="*/ 1524330 h 5513991"/>
              <a:gd name="connsiteX35" fmla="*/ 4427327 w 4499468"/>
              <a:gd name="connsiteY35" fmla="*/ 1535289 h 5513991"/>
              <a:gd name="connsiteX36" fmla="*/ 4412899 w 4499468"/>
              <a:gd name="connsiteY36" fmla="*/ 1607363 h 5513991"/>
              <a:gd name="connsiteX37" fmla="*/ 4409184 w 4499468"/>
              <a:gd name="connsiteY37" fmla="*/ 1645395 h 5513991"/>
              <a:gd name="connsiteX38" fmla="*/ 4412844 w 4499468"/>
              <a:gd name="connsiteY38" fmla="*/ 1649850 h 5513991"/>
              <a:gd name="connsiteX39" fmla="*/ 4411194 w 4499468"/>
              <a:gd name="connsiteY39" fmla="*/ 1661048 h 5513991"/>
              <a:gd name="connsiteX40" fmla="*/ 4411606 w 4499468"/>
              <a:gd name="connsiteY40" fmla="*/ 1664107 h 5513991"/>
              <a:gd name="connsiteX41" fmla="*/ 4413117 w 4499468"/>
              <a:gd name="connsiteY41" fmla="*/ 1681560 h 5513991"/>
              <a:gd name="connsiteX42" fmla="*/ 4401647 w 4499468"/>
              <a:gd name="connsiteY42" fmla="*/ 1716455 h 5513991"/>
              <a:gd name="connsiteX43" fmla="*/ 4399587 w 4499468"/>
              <a:gd name="connsiteY43" fmla="*/ 1716581 h 5513991"/>
              <a:gd name="connsiteX44" fmla="*/ 4391089 w 4499468"/>
              <a:gd name="connsiteY44" fmla="*/ 1868666 h 5513991"/>
              <a:gd name="connsiteX45" fmla="*/ 4399780 w 4499468"/>
              <a:gd name="connsiteY45" fmla="*/ 1892828 h 5513991"/>
              <a:gd name="connsiteX46" fmla="*/ 4402058 w 4499468"/>
              <a:gd name="connsiteY46" fmla="*/ 1943047 h 5513991"/>
              <a:gd name="connsiteX47" fmla="*/ 4401177 w 4499468"/>
              <a:gd name="connsiteY47" fmla="*/ 1976676 h 5513991"/>
              <a:gd name="connsiteX48" fmla="*/ 4400715 w 4499468"/>
              <a:gd name="connsiteY48" fmla="*/ 1981536 h 5513991"/>
              <a:gd name="connsiteX49" fmla="*/ 4391595 w 4499468"/>
              <a:gd name="connsiteY49" fmla="*/ 2021434 h 5513991"/>
              <a:gd name="connsiteX50" fmla="*/ 4394860 w 4499468"/>
              <a:gd name="connsiteY50" fmla="*/ 2025379 h 5513991"/>
              <a:gd name="connsiteX51" fmla="*/ 4397701 w 4499468"/>
              <a:gd name="connsiteY51" fmla="*/ 2038196 h 5513991"/>
              <a:gd name="connsiteX52" fmla="*/ 4392960 w 4499468"/>
              <a:gd name="connsiteY52" fmla="*/ 2048781 h 5513991"/>
              <a:gd name="connsiteX53" fmla="*/ 4382776 w 4499468"/>
              <a:gd name="connsiteY53" fmla="*/ 2099011 h 5513991"/>
              <a:gd name="connsiteX54" fmla="*/ 4375445 w 4499468"/>
              <a:gd name="connsiteY54" fmla="*/ 2148592 h 5513991"/>
              <a:gd name="connsiteX55" fmla="*/ 4319362 w 4499468"/>
              <a:gd name="connsiteY55" fmla="*/ 3204925 h 5513991"/>
              <a:gd name="connsiteX56" fmla="*/ 4306576 w 4499468"/>
              <a:gd name="connsiteY56" fmla="*/ 3458573 h 5513991"/>
              <a:gd name="connsiteX57" fmla="*/ 4295491 w 4499468"/>
              <a:gd name="connsiteY57" fmla="*/ 3621276 h 5513991"/>
              <a:gd name="connsiteX58" fmla="*/ 4204730 w 4499468"/>
              <a:gd name="connsiteY58" fmla="*/ 5260213 h 5513991"/>
              <a:gd name="connsiteX59" fmla="*/ 4210028 w 4499468"/>
              <a:gd name="connsiteY59" fmla="*/ 5296918 h 5513991"/>
              <a:gd name="connsiteX60" fmla="*/ 4213562 w 4499468"/>
              <a:gd name="connsiteY60" fmla="*/ 5331382 h 5513991"/>
              <a:gd name="connsiteX61" fmla="*/ 4216394 w 4499468"/>
              <a:gd name="connsiteY61" fmla="*/ 5431691 h 5513991"/>
              <a:gd name="connsiteX62" fmla="*/ 4197837 w 4499468"/>
              <a:gd name="connsiteY62" fmla="*/ 5466096 h 5513991"/>
              <a:gd name="connsiteX63" fmla="*/ 4187554 w 4499468"/>
              <a:gd name="connsiteY63" fmla="*/ 5513970 h 5513991"/>
              <a:gd name="connsiteX64" fmla="*/ 298746 w 4499468"/>
              <a:gd name="connsiteY64" fmla="*/ 5249166 h 5513991"/>
              <a:gd name="connsiteX65" fmla="*/ 1462 w 4499468"/>
              <a:gd name="connsiteY65" fmla="*/ 5237777 h 5513991"/>
              <a:gd name="connsiteX66" fmla="*/ 7874 w 4499468"/>
              <a:gd name="connsiteY66" fmla="*/ 4977753 h 5513991"/>
              <a:gd name="connsiteX67" fmla="*/ 20715 w 4499468"/>
              <a:gd name="connsiteY67" fmla="*/ 4752822 h 5513991"/>
              <a:gd name="connsiteX68" fmla="*/ 222466 w 4499468"/>
              <a:gd name="connsiteY68" fmla="*/ 0 h 5513991"/>
              <a:gd name="connsiteX0" fmla="*/ 222466 w 4499468"/>
              <a:gd name="connsiteY0" fmla="*/ 0 h 5513991"/>
              <a:gd name="connsiteX1" fmla="*/ 3251633 w 4499468"/>
              <a:gd name="connsiteY1" fmla="*/ 153134 h 5513991"/>
              <a:gd name="connsiteX2" fmla="*/ 4080444 w 4499468"/>
              <a:gd name="connsiteY2" fmla="*/ 208242 h 5513991"/>
              <a:gd name="connsiteX3" fmla="*/ 4453638 w 4499468"/>
              <a:gd name="connsiteY3" fmla="*/ 228666 h 5513991"/>
              <a:gd name="connsiteX4" fmla="*/ 4481517 w 4499468"/>
              <a:gd name="connsiteY4" fmla="*/ 250471 h 5513991"/>
              <a:gd name="connsiteX5" fmla="*/ 4479743 w 4499468"/>
              <a:gd name="connsiteY5" fmla="*/ 282222 h 5513991"/>
              <a:gd name="connsiteX6" fmla="*/ 4482665 w 4499468"/>
              <a:gd name="connsiteY6" fmla="*/ 283939 h 5513991"/>
              <a:gd name="connsiteX7" fmla="*/ 4499091 w 4499468"/>
              <a:gd name="connsiteY7" fmla="*/ 315514 h 5513991"/>
              <a:gd name="connsiteX8" fmla="*/ 4476830 w 4499468"/>
              <a:gd name="connsiteY8" fmla="*/ 373160 h 5513991"/>
              <a:gd name="connsiteX9" fmla="*/ 4473342 w 4499468"/>
              <a:gd name="connsiteY9" fmla="*/ 396781 h 5513991"/>
              <a:gd name="connsiteX10" fmla="*/ 4468237 w 4499468"/>
              <a:gd name="connsiteY10" fmla="*/ 488120 h 5513991"/>
              <a:gd name="connsiteX11" fmla="*/ 4467587 w 4499468"/>
              <a:gd name="connsiteY11" fmla="*/ 534537 h 5513991"/>
              <a:gd name="connsiteX12" fmla="*/ 4464488 w 4499468"/>
              <a:gd name="connsiteY12" fmla="*/ 563001 h 5513991"/>
              <a:gd name="connsiteX13" fmla="*/ 4463819 w 4499468"/>
              <a:gd name="connsiteY13" fmla="*/ 567182 h 5513991"/>
              <a:gd name="connsiteX14" fmla="*/ 4450882 w 4499468"/>
              <a:gd name="connsiteY14" fmla="*/ 798696 h 5513991"/>
              <a:gd name="connsiteX15" fmla="*/ 4452595 w 4499468"/>
              <a:gd name="connsiteY15" fmla="*/ 803530 h 5513991"/>
              <a:gd name="connsiteX16" fmla="*/ 4450444 w 4499468"/>
              <a:gd name="connsiteY16" fmla="*/ 827361 h 5513991"/>
              <a:gd name="connsiteX17" fmla="*/ 4448844 w 4499468"/>
              <a:gd name="connsiteY17" fmla="*/ 835146 h 5513991"/>
              <a:gd name="connsiteX18" fmla="*/ 4442606 w 4499468"/>
              <a:gd name="connsiteY18" fmla="*/ 946777 h 5513991"/>
              <a:gd name="connsiteX19" fmla="*/ 4444683 w 4499468"/>
              <a:gd name="connsiteY19" fmla="*/ 947677 h 5513991"/>
              <a:gd name="connsiteX20" fmla="*/ 4448802 w 4499468"/>
              <a:gd name="connsiteY20" fmla="*/ 983859 h 5513991"/>
              <a:gd name="connsiteX21" fmla="*/ 4444004 w 4499468"/>
              <a:gd name="connsiteY21" fmla="*/ 1082386 h 5513991"/>
              <a:gd name="connsiteX22" fmla="*/ 4443899 w 4499468"/>
              <a:gd name="connsiteY22" fmla="*/ 1140681 h 5513991"/>
              <a:gd name="connsiteX23" fmla="*/ 4448202 w 4499468"/>
              <a:gd name="connsiteY23" fmla="*/ 1161797 h 5513991"/>
              <a:gd name="connsiteX24" fmla="*/ 4451292 w 4499468"/>
              <a:gd name="connsiteY24" fmla="*/ 1191979 h 5513991"/>
              <a:gd name="connsiteX25" fmla="*/ 4460109 w 4499468"/>
              <a:gd name="connsiteY25" fmla="*/ 1244449 h 5513991"/>
              <a:gd name="connsiteX26" fmla="*/ 4462386 w 4499468"/>
              <a:gd name="connsiteY26" fmla="*/ 1294666 h 5513991"/>
              <a:gd name="connsiteX27" fmla="*/ 4461506 w 4499468"/>
              <a:gd name="connsiteY27" fmla="*/ 1328296 h 5513991"/>
              <a:gd name="connsiteX28" fmla="*/ 4461043 w 4499468"/>
              <a:gd name="connsiteY28" fmla="*/ 1333156 h 5513991"/>
              <a:gd name="connsiteX29" fmla="*/ 4451924 w 4499468"/>
              <a:gd name="connsiteY29" fmla="*/ 1373054 h 5513991"/>
              <a:gd name="connsiteX30" fmla="*/ 4455188 w 4499468"/>
              <a:gd name="connsiteY30" fmla="*/ 1376999 h 5513991"/>
              <a:gd name="connsiteX31" fmla="*/ 4458030 w 4499468"/>
              <a:gd name="connsiteY31" fmla="*/ 1389816 h 5513991"/>
              <a:gd name="connsiteX32" fmla="*/ 4453289 w 4499468"/>
              <a:gd name="connsiteY32" fmla="*/ 1400401 h 5513991"/>
              <a:gd name="connsiteX33" fmla="*/ 4443105 w 4499468"/>
              <a:gd name="connsiteY33" fmla="*/ 1450629 h 5513991"/>
              <a:gd name="connsiteX34" fmla="*/ 4432208 w 4499468"/>
              <a:gd name="connsiteY34" fmla="*/ 1524330 h 5513991"/>
              <a:gd name="connsiteX35" fmla="*/ 4427327 w 4499468"/>
              <a:gd name="connsiteY35" fmla="*/ 1535289 h 5513991"/>
              <a:gd name="connsiteX36" fmla="*/ 4412899 w 4499468"/>
              <a:gd name="connsiteY36" fmla="*/ 1607363 h 5513991"/>
              <a:gd name="connsiteX37" fmla="*/ 4409184 w 4499468"/>
              <a:gd name="connsiteY37" fmla="*/ 1645395 h 5513991"/>
              <a:gd name="connsiteX38" fmla="*/ 4412844 w 4499468"/>
              <a:gd name="connsiteY38" fmla="*/ 1649850 h 5513991"/>
              <a:gd name="connsiteX39" fmla="*/ 4411194 w 4499468"/>
              <a:gd name="connsiteY39" fmla="*/ 1661048 h 5513991"/>
              <a:gd name="connsiteX40" fmla="*/ 4411606 w 4499468"/>
              <a:gd name="connsiteY40" fmla="*/ 1664107 h 5513991"/>
              <a:gd name="connsiteX41" fmla="*/ 4413117 w 4499468"/>
              <a:gd name="connsiteY41" fmla="*/ 1681560 h 5513991"/>
              <a:gd name="connsiteX42" fmla="*/ 4401647 w 4499468"/>
              <a:gd name="connsiteY42" fmla="*/ 1716455 h 5513991"/>
              <a:gd name="connsiteX43" fmla="*/ 4399587 w 4499468"/>
              <a:gd name="connsiteY43" fmla="*/ 1716581 h 5513991"/>
              <a:gd name="connsiteX44" fmla="*/ 4391089 w 4499468"/>
              <a:gd name="connsiteY44" fmla="*/ 1868666 h 5513991"/>
              <a:gd name="connsiteX45" fmla="*/ 4399780 w 4499468"/>
              <a:gd name="connsiteY45" fmla="*/ 1892828 h 5513991"/>
              <a:gd name="connsiteX46" fmla="*/ 4402058 w 4499468"/>
              <a:gd name="connsiteY46" fmla="*/ 1943047 h 5513991"/>
              <a:gd name="connsiteX47" fmla="*/ 4401177 w 4499468"/>
              <a:gd name="connsiteY47" fmla="*/ 1976676 h 5513991"/>
              <a:gd name="connsiteX48" fmla="*/ 4400715 w 4499468"/>
              <a:gd name="connsiteY48" fmla="*/ 1981536 h 5513991"/>
              <a:gd name="connsiteX49" fmla="*/ 4391595 w 4499468"/>
              <a:gd name="connsiteY49" fmla="*/ 2021434 h 5513991"/>
              <a:gd name="connsiteX50" fmla="*/ 4394860 w 4499468"/>
              <a:gd name="connsiteY50" fmla="*/ 2025379 h 5513991"/>
              <a:gd name="connsiteX51" fmla="*/ 4397701 w 4499468"/>
              <a:gd name="connsiteY51" fmla="*/ 2038196 h 5513991"/>
              <a:gd name="connsiteX52" fmla="*/ 4392960 w 4499468"/>
              <a:gd name="connsiteY52" fmla="*/ 2048781 h 5513991"/>
              <a:gd name="connsiteX53" fmla="*/ 4382776 w 4499468"/>
              <a:gd name="connsiteY53" fmla="*/ 2099011 h 5513991"/>
              <a:gd name="connsiteX54" fmla="*/ 4375445 w 4499468"/>
              <a:gd name="connsiteY54" fmla="*/ 2148592 h 5513991"/>
              <a:gd name="connsiteX55" fmla="*/ 4319362 w 4499468"/>
              <a:gd name="connsiteY55" fmla="*/ 3204925 h 5513991"/>
              <a:gd name="connsiteX56" fmla="*/ 4306576 w 4499468"/>
              <a:gd name="connsiteY56" fmla="*/ 3458573 h 5513991"/>
              <a:gd name="connsiteX57" fmla="*/ 4295491 w 4499468"/>
              <a:gd name="connsiteY57" fmla="*/ 3621276 h 5513991"/>
              <a:gd name="connsiteX58" fmla="*/ 4210028 w 4499468"/>
              <a:gd name="connsiteY58" fmla="*/ 5296918 h 5513991"/>
              <a:gd name="connsiteX59" fmla="*/ 4213562 w 4499468"/>
              <a:gd name="connsiteY59" fmla="*/ 5331382 h 5513991"/>
              <a:gd name="connsiteX60" fmla="*/ 4216394 w 4499468"/>
              <a:gd name="connsiteY60" fmla="*/ 5431691 h 5513991"/>
              <a:gd name="connsiteX61" fmla="*/ 4197837 w 4499468"/>
              <a:gd name="connsiteY61" fmla="*/ 5466096 h 5513991"/>
              <a:gd name="connsiteX62" fmla="*/ 4187554 w 4499468"/>
              <a:gd name="connsiteY62" fmla="*/ 5513970 h 5513991"/>
              <a:gd name="connsiteX63" fmla="*/ 298746 w 4499468"/>
              <a:gd name="connsiteY63" fmla="*/ 5249166 h 5513991"/>
              <a:gd name="connsiteX64" fmla="*/ 1462 w 4499468"/>
              <a:gd name="connsiteY64" fmla="*/ 5237777 h 5513991"/>
              <a:gd name="connsiteX65" fmla="*/ 7874 w 4499468"/>
              <a:gd name="connsiteY65" fmla="*/ 4977753 h 5513991"/>
              <a:gd name="connsiteX66" fmla="*/ 20715 w 4499468"/>
              <a:gd name="connsiteY66" fmla="*/ 4752822 h 5513991"/>
              <a:gd name="connsiteX67" fmla="*/ 222466 w 4499468"/>
              <a:gd name="connsiteY67" fmla="*/ 0 h 5513991"/>
              <a:gd name="connsiteX0" fmla="*/ 222466 w 4499468"/>
              <a:gd name="connsiteY0" fmla="*/ 0 h 5513991"/>
              <a:gd name="connsiteX1" fmla="*/ 3251633 w 4499468"/>
              <a:gd name="connsiteY1" fmla="*/ 153134 h 5513991"/>
              <a:gd name="connsiteX2" fmla="*/ 4080444 w 4499468"/>
              <a:gd name="connsiteY2" fmla="*/ 208242 h 5513991"/>
              <a:gd name="connsiteX3" fmla="*/ 4453638 w 4499468"/>
              <a:gd name="connsiteY3" fmla="*/ 228666 h 5513991"/>
              <a:gd name="connsiteX4" fmla="*/ 4481517 w 4499468"/>
              <a:gd name="connsiteY4" fmla="*/ 250471 h 5513991"/>
              <a:gd name="connsiteX5" fmla="*/ 4479743 w 4499468"/>
              <a:gd name="connsiteY5" fmla="*/ 282222 h 5513991"/>
              <a:gd name="connsiteX6" fmla="*/ 4482665 w 4499468"/>
              <a:gd name="connsiteY6" fmla="*/ 283939 h 5513991"/>
              <a:gd name="connsiteX7" fmla="*/ 4499091 w 4499468"/>
              <a:gd name="connsiteY7" fmla="*/ 315514 h 5513991"/>
              <a:gd name="connsiteX8" fmla="*/ 4476830 w 4499468"/>
              <a:gd name="connsiteY8" fmla="*/ 373160 h 5513991"/>
              <a:gd name="connsiteX9" fmla="*/ 4473342 w 4499468"/>
              <a:gd name="connsiteY9" fmla="*/ 396781 h 5513991"/>
              <a:gd name="connsiteX10" fmla="*/ 4468237 w 4499468"/>
              <a:gd name="connsiteY10" fmla="*/ 488120 h 5513991"/>
              <a:gd name="connsiteX11" fmla="*/ 4467587 w 4499468"/>
              <a:gd name="connsiteY11" fmla="*/ 534537 h 5513991"/>
              <a:gd name="connsiteX12" fmla="*/ 4464488 w 4499468"/>
              <a:gd name="connsiteY12" fmla="*/ 563001 h 5513991"/>
              <a:gd name="connsiteX13" fmla="*/ 4463819 w 4499468"/>
              <a:gd name="connsiteY13" fmla="*/ 567182 h 5513991"/>
              <a:gd name="connsiteX14" fmla="*/ 4450882 w 4499468"/>
              <a:gd name="connsiteY14" fmla="*/ 798696 h 5513991"/>
              <a:gd name="connsiteX15" fmla="*/ 4452595 w 4499468"/>
              <a:gd name="connsiteY15" fmla="*/ 803530 h 5513991"/>
              <a:gd name="connsiteX16" fmla="*/ 4450444 w 4499468"/>
              <a:gd name="connsiteY16" fmla="*/ 827361 h 5513991"/>
              <a:gd name="connsiteX17" fmla="*/ 4448844 w 4499468"/>
              <a:gd name="connsiteY17" fmla="*/ 835146 h 5513991"/>
              <a:gd name="connsiteX18" fmla="*/ 4442606 w 4499468"/>
              <a:gd name="connsiteY18" fmla="*/ 946777 h 5513991"/>
              <a:gd name="connsiteX19" fmla="*/ 4444683 w 4499468"/>
              <a:gd name="connsiteY19" fmla="*/ 947677 h 5513991"/>
              <a:gd name="connsiteX20" fmla="*/ 4448802 w 4499468"/>
              <a:gd name="connsiteY20" fmla="*/ 983859 h 5513991"/>
              <a:gd name="connsiteX21" fmla="*/ 4444004 w 4499468"/>
              <a:gd name="connsiteY21" fmla="*/ 1082386 h 5513991"/>
              <a:gd name="connsiteX22" fmla="*/ 4443899 w 4499468"/>
              <a:gd name="connsiteY22" fmla="*/ 1140681 h 5513991"/>
              <a:gd name="connsiteX23" fmla="*/ 4448202 w 4499468"/>
              <a:gd name="connsiteY23" fmla="*/ 1161797 h 5513991"/>
              <a:gd name="connsiteX24" fmla="*/ 4451292 w 4499468"/>
              <a:gd name="connsiteY24" fmla="*/ 1191979 h 5513991"/>
              <a:gd name="connsiteX25" fmla="*/ 4460109 w 4499468"/>
              <a:gd name="connsiteY25" fmla="*/ 1244449 h 5513991"/>
              <a:gd name="connsiteX26" fmla="*/ 4462386 w 4499468"/>
              <a:gd name="connsiteY26" fmla="*/ 1294666 h 5513991"/>
              <a:gd name="connsiteX27" fmla="*/ 4461506 w 4499468"/>
              <a:gd name="connsiteY27" fmla="*/ 1328296 h 5513991"/>
              <a:gd name="connsiteX28" fmla="*/ 4461043 w 4499468"/>
              <a:gd name="connsiteY28" fmla="*/ 1333156 h 5513991"/>
              <a:gd name="connsiteX29" fmla="*/ 4451924 w 4499468"/>
              <a:gd name="connsiteY29" fmla="*/ 1373054 h 5513991"/>
              <a:gd name="connsiteX30" fmla="*/ 4455188 w 4499468"/>
              <a:gd name="connsiteY30" fmla="*/ 1376999 h 5513991"/>
              <a:gd name="connsiteX31" fmla="*/ 4458030 w 4499468"/>
              <a:gd name="connsiteY31" fmla="*/ 1389816 h 5513991"/>
              <a:gd name="connsiteX32" fmla="*/ 4453289 w 4499468"/>
              <a:gd name="connsiteY32" fmla="*/ 1400401 h 5513991"/>
              <a:gd name="connsiteX33" fmla="*/ 4443105 w 4499468"/>
              <a:gd name="connsiteY33" fmla="*/ 1450629 h 5513991"/>
              <a:gd name="connsiteX34" fmla="*/ 4432208 w 4499468"/>
              <a:gd name="connsiteY34" fmla="*/ 1524330 h 5513991"/>
              <a:gd name="connsiteX35" fmla="*/ 4427327 w 4499468"/>
              <a:gd name="connsiteY35" fmla="*/ 1535289 h 5513991"/>
              <a:gd name="connsiteX36" fmla="*/ 4412899 w 4499468"/>
              <a:gd name="connsiteY36" fmla="*/ 1607363 h 5513991"/>
              <a:gd name="connsiteX37" fmla="*/ 4409184 w 4499468"/>
              <a:gd name="connsiteY37" fmla="*/ 1645395 h 5513991"/>
              <a:gd name="connsiteX38" fmla="*/ 4412844 w 4499468"/>
              <a:gd name="connsiteY38" fmla="*/ 1649850 h 5513991"/>
              <a:gd name="connsiteX39" fmla="*/ 4411194 w 4499468"/>
              <a:gd name="connsiteY39" fmla="*/ 1661048 h 5513991"/>
              <a:gd name="connsiteX40" fmla="*/ 4411606 w 4499468"/>
              <a:gd name="connsiteY40" fmla="*/ 1664107 h 5513991"/>
              <a:gd name="connsiteX41" fmla="*/ 4413117 w 4499468"/>
              <a:gd name="connsiteY41" fmla="*/ 1681560 h 5513991"/>
              <a:gd name="connsiteX42" fmla="*/ 4401647 w 4499468"/>
              <a:gd name="connsiteY42" fmla="*/ 1716455 h 5513991"/>
              <a:gd name="connsiteX43" fmla="*/ 4399587 w 4499468"/>
              <a:gd name="connsiteY43" fmla="*/ 1716581 h 5513991"/>
              <a:gd name="connsiteX44" fmla="*/ 4391089 w 4499468"/>
              <a:gd name="connsiteY44" fmla="*/ 1868666 h 5513991"/>
              <a:gd name="connsiteX45" fmla="*/ 4399780 w 4499468"/>
              <a:gd name="connsiteY45" fmla="*/ 1892828 h 5513991"/>
              <a:gd name="connsiteX46" fmla="*/ 4402058 w 4499468"/>
              <a:gd name="connsiteY46" fmla="*/ 1943047 h 5513991"/>
              <a:gd name="connsiteX47" fmla="*/ 4401177 w 4499468"/>
              <a:gd name="connsiteY47" fmla="*/ 1976676 h 5513991"/>
              <a:gd name="connsiteX48" fmla="*/ 4400715 w 4499468"/>
              <a:gd name="connsiteY48" fmla="*/ 1981536 h 5513991"/>
              <a:gd name="connsiteX49" fmla="*/ 4391595 w 4499468"/>
              <a:gd name="connsiteY49" fmla="*/ 2021434 h 5513991"/>
              <a:gd name="connsiteX50" fmla="*/ 4394860 w 4499468"/>
              <a:gd name="connsiteY50" fmla="*/ 2025379 h 5513991"/>
              <a:gd name="connsiteX51" fmla="*/ 4397701 w 4499468"/>
              <a:gd name="connsiteY51" fmla="*/ 2038196 h 5513991"/>
              <a:gd name="connsiteX52" fmla="*/ 4392960 w 4499468"/>
              <a:gd name="connsiteY52" fmla="*/ 2048781 h 5513991"/>
              <a:gd name="connsiteX53" fmla="*/ 4382776 w 4499468"/>
              <a:gd name="connsiteY53" fmla="*/ 2099011 h 5513991"/>
              <a:gd name="connsiteX54" fmla="*/ 4375445 w 4499468"/>
              <a:gd name="connsiteY54" fmla="*/ 2148592 h 5513991"/>
              <a:gd name="connsiteX55" fmla="*/ 4319362 w 4499468"/>
              <a:gd name="connsiteY55" fmla="*/ 3204925 h 5513991"/>
              <a:gd name="connsiteX56" fmla="*/ 4306576 w 4499468"/>
              <a:gd name="connsiteY56" fmla="*/ 3458573 h 5513991"/>
              <a:gd name="connsiteX57" fmla="*/ 4295491 w 4499468"/>
              <a:gd name="connsiteY57" fmla="*/ 3621276 h 5513991"/>
              <a:gd name="connsiteX58" fmla="*/ 4213562 w 4499468"/>
              <a:gd name="connsiteY58" fmla="*/ 5331382 h 5513991"/>
              <a:gd name="connsiteX59" fmla="*/ 4216394 w 4499468"/>
              <a:gd name="connsiteY59" fmla="*/ 5431691 h 5513991"/>
              <a:gd name="connsiteX60" fmla="*/ 4197837 w 4499468"/>
              <a:gd name="connsiteY60" fmla="*/ 5466096 h 5513991"/>
              <a:gd name="connsiteX61" fmla="*/ 4187554 w 4499468"/>
              <a:gd name="connsiteY61" fmla="*/ 5513970 h 5513991"/>
              <a:gd name="connsiteX62" fmla="*/ 298746 w 4499468"/>
              <a:gd name="connsiteY62" fmla="*/ 5249166 h 5513991"/>
              <a:gd name="connsiteX63" fmla="*/ 1462 w 4499468"/>
              <a:gd name="connsiteY63" fmla="*/ 5237777 h 5513991"/>
              <a:gd name="connsiteX64" fmla="*/ 7874 w 4499468"/>
              <a:gd name="connsiteY64" fmla="*/ 4977753 h 5513991"/>
              <a:gd name="connsiteX65" fmla="*/ 20715 w 4499468"/>
              <a:gd name="connsiteY65" fmla="*/ 4752822 h 5513991"/>
              <a:gd name="connsiteX66" fmla="*/ 222466 w 4499468"/>
              <a:gd name="connsiteY66" fmla="*/ 0 h 5513991"/>
              <a:gd name="connsiteX0" fmla="*/ 222466 w 4499468"/>
              <a:gd name="connsiteY0" fmla="*/ 0 h 5520609"/>
              <a:gd name="connsiteX1" fmla="*/ 3251633 w 4499468"/>
              <a:gd name="connsiteY1" fmla="*/ 153134 h 5520609"/>
              <a:gd name="connsiteX2" fmla="*/ 4080444 w 4499468"/>
              <a:gd name="connsiteY2" fmla="*/ 208242 h 5520609"/>
              <a:gd name="connsiteX3" fmla="*/ 4453638 w 4499468"/>
              <a:gd name="connsiteY3" fmla="*/ 228666 h 5520609"/>
              <a:gd name="connsiteX4" fmla="*/ 4481517 w 4499468"/>
              <a:gd name="connsiteY4" fmla="*/ 250471 h 5520609"/>
              <a:gd name="connsiteX5" fmla="*/ 4479743 w 4499468"/>
              <a:gd name="connsiteY5" fmla="*/ 282222 h 5520609"/>
              <a:gd name="connsiteX6" fmla="*/ 4482665 w 4499468"/>
              <a:gd name="connsiteY6" fmla="*/ 283939 h 5520609"/>
              <a:gd name="connsiteX7" fmla="*/ 4499091 w 4499468"/>
              <a:gd name="connsiteY7" fmla="*/ 315514 h 5520609"/>
              <a:gd name="connsiteX8" fmla="*/ 4476830 w 4499468"/>
              <a:gd name="connsiteY8" fmla="*/ 373160 h 5520609"/>
              <a:gd name="connsiteX9" fmla="*/ 4473342 w 4499468"/>
              <a:gd name="connsiteY9" fmla="*/ 396781 h 5520609"/>
              <a:gd name="connsiteX10" fmla="*/ 4468237 w 4499468"/>
              <a:gd name="connsiteY10" fmla="*/ 488120 h 5520609"/>
              <a:gd name="connsiteX11" fmla="*/ 4467587 w 4499468"/>
              <a:gd name="connsiteY11" fmla="*/ 534537 h 5520609"/>
              <a:gd name="connsiteX12" fmla="*/ 4464488 w 4499468"/>
              <a:gd name="connsiteY12" fmla="*/ 563001 h 5520609"/>
              <a:gd name="connsiteX13" fmla="*/ 4463819 w 4499468"/>
              <a:gd name="connsiteY13" fmla="*/ 567182 h 5520609"/>
              <a:gd name="connsiteX14" fmla="*/ 4450882 w 4499468"/>
              <a:gd name="connsiteY14" fmla="*/ 798696 h 5520609"/>
              <a:gd name="connsiteX15" fmla="*/ 4452595 w 4499468"/>
              <a:gd name="connsiteY15" fmla="*/ 803530 h 5520609"/>
              <a:gd name="connsiteX16" fmla="*/ 4450444 w 4499468"/>
              <a:gd name="connsiteY16" fmla="*/ 827361 h 5520609"/>
              <a:gd name="connsiteX17" fmla="*/ 4448844 w 4499468"/>
              <a:gd name="connsiteY17" fmla="*/ 835146 h 5520609"/>
              <a:gd name="connsiteX18" fmla="*/ 4442606 w 4499468"/>
              <a:gd name="connsiteY18" fmla="*/ 946777 h 5520609"/>
              <a:gd name="connsiteX19" fmla="*/ 4444683 w 4499468"/>
              <a:gd name="connsiteY19" fmla="*/ 947677 h 5520609"/>
              <a:gd name="connsiteX20" fmla="*/ 4448802 w 4499468"/>
              <a:gd name="connsiteY20" fmla="*/ 983859 h 5520609"/>
              <a:gd name="connsiteX21" fmla="*/ 4444004 w 4499468"/>
              <a:gd name="connsiteY21" fmla="*/ 1082386 h 5520609"/>
              <a:gd name="connsiteX22" fmla="*/ 4443899 w 4499468"/>
              <a:gd name="connsiteY22" fmla="*/ 1140681 h 5520609"/>
              <a:gd name="connsiteX23" fmla="*/ 4448202 w 4499468"/>
              <a:gd name="connsiteY23" fmla="*/ 1161797 h 5520609"/>
              <a:gd name="connsiteX24" fmla="*/ 4451292 w 4499468"/>
              <a:gd name="connsiteY24" fmla="*/ 1191979 h 5520609"/>
              <a:gd name="connsiteX25" fmla="*/ 4460109 w 4499468"/>
              <a:gd name="connsiteY25" fmla="*/ 1244449 h 5520609"/>
              <a:gd name="connsiteX26" fmla="*/ 4462386 w 4499468"/>
              <a:gd name="connsiteY26" fmla="*/ 1294666 h 5520609"/>
              <a:gd name="connsiteX27" fmla="*/ 4461506 w 4499468"/>
              <a:gd name="connsiteY27" fmla="*/ 1328296 h 5520609"/>
              <a:gd name="connsiteX28" fmla="*/ 4461043 w 4499468"/>
              <a:gd name="connsiteY28" fmla="*/ 1333156 h 5520609"/>
              <a:gd name="connsiteX29" fmla="*/ 4451924 w 4499468"/>
              <a:gd name="connsiteY29" fmla="*/ 1373054 h 5520609"/>
              <a:gd name="connsiteX30" fmla="*/ 4455188 w 4499468"/>
              <a:gd name="connsiteY30" fmla="*/ 1376999 h 5520609"/>
              <a:gd name="connsiteX31" fmla="*/ 4458030 w 4499468"/>
              <a:gd name="connsiteY31" fmla="*/ 1389816 h 5520609"/>
              <a:gd name="connsiteX32" fmla="*/ 4453289 w 4499468"/>
              <a:gd name="connsiteY32" fmla="*/ 1400401 h 5520609"/>
              <a:gd name="connsiteX33" fmla="*/ 4443105 w 4499468"/>
              <a:gd name="connsiteY33" fmla="*/ 1450629 h 5520609"/>
              <a:gd name="connsiteX34" fmla="*/ 4432208 w 4499468"/>
              <a:gd name="connsiteY34" fmla="*/ 1524330 h 5520609"/>
              <a:gd name="connsiteX35" fmla="*/ 4427327 w 4499468"/>
              <a:gd name="connsiteY35" fmla="*/ 1535289 h 5520609"/>
              <a:gd name="connsiteX36" fmla="*/ 4412899 w 4499468"/>
              <a:gd name="connsiteY36" fmla="*/ 1607363 h 5520609"/>
              <a:gd name="connsiteX37" fmla="*/ 4409184 w 4499468"/>
              <a:gd name="connsiteY37" fmla="*/ 1645395 h 5520609"/>
              <a:gd name="connsiteX38" fmla="*/ 4412844 w 4499468"/>
              <a:gd name="connsiteY38" fmla="*/ 1649850 h 5520609"/>
              <a:gd name="connsiteX39" fmla="*/ 4411194 w 4499468"/>
              <a:gd name="connsiteY39" fmla="*/ 1661048 h 5520609"/>
              <a:gd name="connsiteX40" fmla="*/ 4411606 w 4499468"/>
              <a:gd name="connsiteY40" fmla="*/ 1664107 h 5520609"/>
              <a:gd name="connsiteX41" fmla="*/ 4413117 w 4499468"/>
              <a:gd name="connsiteY41" fmla="*/ 1681560 h 5520609"/>
              <a:gd name="connsiteX42" fmla="*/ 4401647 w 4499468"/>
              <a:gd name="connsiteY42" fmla="*/ 1716455 h 5520609"/>
              <a:gd name="connsiteX43" fmla="*/ 4399587 w 4499468"/>
              <a:gd name="connsiteY43" fmla="*/ 1716581 h 5520609"/>
              <a:gd name="connsiteX44" fmla="*/ 4391089 w 4499468"/>
              <a:gd name="connsiteY44" fmla="*/ 1868666 h 5520609"/>
              <a:gd name="connsiteX45" fmla="*/ 4399780 w 4499468"/>
              <a:gd name="connsiteY45" fmla="*/ 1892828 h 5520609"/>
              <a:gd name="connsiteX46" fmla="*/ 4402058 w 4499468"/>
              <a:gd name="connsiteY46" fmla="*/ 1943047 h 5520609"/>
              <a:gd name="connsiteX47" fmla="*/ 4401177 w 4499468"/>
              <a:gd name="connsiteY47" fmla="*/ 1976676 h 5520609"/>
              <a:gd name="connsiteX48" fmla="*/ 4400715 w 4499468"/>
              <a:gd name="connsiteY48" fmla="*/ 1981536 h 5520609"/>
              <a:gd name="connsiteX49" fmla="*/ 4391595 w 4499468"/>
              <a:gd name="connsiteY49" fmla="*/ 2021434 h 5520609"/>
              <a:gd name="connsiteX50" fmla="*/ 4394860 w 4499468"/>
              <a:gd name="connsiteY50" fmla="*/ 2025379 h 5520609"/>
              <a:gd name="connsiteX51" fmla="*/ 4397701 w 4499468"/>
              <a:gd name="connsiteY51" fmla="*/ 2038196 h 5520609"/>
              <a:gd name="connsiteX52" fmla="*/ 4392960 w 4499468"/>
              <a:gd name="connsiteY52" fmla="*/ 2048781 h 5520609"/>
              <a:gd name="connsiteX53" fmla="*/ 4382776 w 4499468"/>
              <a:gd name="connsiteY53" fmla="*/ 2099011 h 5520609"/>
              <a:gd name="connsiteX54" fmla="*/ 4375445 w 4499468"/>
              <a:gd name="connsiteY54" fmla="*/ 2148592 h 5520609"/>
              <a:gd name="connsiteX55" fmla="*/ 4319362 w 4499468"/>
              <a:gd name="connsiteY55" fmla="*/ 3204925 h 5520609"/>
              <a:gd name="connsiteX56" fmla="*/ 4306576 w 4499468"/>
              <a:gd name="connsiteY56" fmla="*/ 3458573 h 5520609"/>
              <a:gd name="connsiteX57" fmla="*/ 4295491 w 4499468"/>
              <a:gd name="connsiteY57" fmla="*/ 3621276 h 5520609"/>
              <a:gd name="connsiteX58" fmla="*/ 4213562 w 4499468"/>
              <a:gd name="connsiteY58" fmla="*/ 5331382 h 5520609"/>
              <a:gd name="connsiteX59" fmla="*/ 4216394 w 4499468"/>
              <a:gd name="connsiteY59" fmla="*/ 5431691 h 5520609"/>
              <a:gd name="connsiteX60" fmla="*/ 4187554 w 4499468"/>
              <a:gd name="connsiteY60" fmla="*/ 5513970 h 5520609"/>
              <a:gd name="connsiteX61" fmla="*/ 298746 w 4499468"/>
              <a:gd name="connsiteY61" fmla="*/ 5249166 h 5520609"/>
              <a:gd name="connsiteX62" fmla="*/ 1462 w 4499468"/>
              <a:gd name="connsiteY62" fmla="*/ 5237777 h 5520609"/>
              <a:gd name="connsiteX63" fmla="*/ 7874 w 4499468"/>
              <a:gd name="connsiteY63" fmla="*/ 4977753 h 5520609"/>
              <a:gd name="connsiteX64" fmla="*/ 20715 w 4499468"/>
              <a:gd name="connsiteY64" fmla="*/ 4752822 h 5520609"/>
              <a:gd name="connsiteX65" fmla="*/ 222466 w 4499468"/>
              <a:gd name="connsiteY65" fmla="*/ 0 h 5520609"/>
              <a:gd name="connsiteX0" fmla="*/ 222466 w 4499468"/>
              <a:gd name="connsiteY0" fmla="*/ 0 h 5520609"/>
              <a:gd name="connsiteX1" fmla="*/ 3251633 w 4499468"/>
              <a:gd name="connsiteY1" fmla="*/ 153134 h 5520609"/>
              <a:gd name="connsiteX2" fmla="*/ 4080444 w 4499468"/>
              <a:gd name="connsiteY2" fmla="*/ 208242 h 5520609"/>
              <a:gd name="connsiteX3" fmla="*/ 4453638 w 4499468"/>
              <a:gd name="connsiteY3" fmla="*/ 228666 h 5520609"/>
              <a:gd name="connsiteX4" fmla="*/ 4481517 w 4499468"/>
              <a:gd name="connsiteY4" fmla="*/ 250471 h 5520609"/>
              <a:gd name="connsiteX5" fmla="*/ 4479743 w 4499468"/>
              <a:gd name="connsiteY5" fmla="*/ 282222 h 5520609"/>
              <a:gd name="connsiteX6" fmla="*/ 4482665 w 4499468"/>
              <a:gd name="connsiteY6" fmla="*/ 283939 h 5520609"/>
              <a:gd name="connsiteX7" fmla="*/ 4499091 w 4499468"/>
              <a:gd name="connsiteY7" fmla="*/ 315514 h 5520609"/>
              <a:gd name="connsiteX8" fmla="*/ 4476830 w 4499468"/>
              <a:gd name="connsiteY8" fmla="*/ 373160 h 5520609"/>
              <a:gd name="connsiteX9" fmla="*/ 4473342 w 4499468"/>
              <a:gd name="connsiteY9" fmla="*/ 396781 h 5520609"/>
              <a:gd name="connsiteX10" fmla="*/ 4468237 w 4499468"/>
              <a:gd name="connsiteY10" fmla="*/ 488120 h 5520609"/>
              <a:gd name="connsiteX11" fmla="*/ 4467587 w 4499468"/>
              <a:gd name="connsiteY11" fmla="*/ 534537 h 5520609"/>
              <a:gd name="connsiteX12" fmla="*/ 4464488 w 4499468"/>
              <a:gd name="connsiteY12" fmla="*/ 563001 h 5520609"/>
              <a:gd name="connsiteX13" fmla="*/ 4463819 w 4499468"/>
              <a:gd name="connsiteY13" fmla="*/ 567182 h 5520609"/>
              <a:gd name="connsiteX14" fmla="*/ 4450882 w 4499468"/>
              <a:gd name="connsiteY14" fmla="*/ 798696 h 5520609"/>
              <a:gd name="connsiteX15" fmla="*/ 4452595 w 4499468"/>
              <a:gd name="connsiteY15" fmla="*/ 803530 h 5520609"/>
              <a:gd name="connsiteX16" fmla="*/ 4450444 w 4499468"/>
              <a:gd name="connsiteY16" fmla="*/ 827361 h 5520609"/>
              <a:gd name="connsiteX17" fmla="*/ 4448844 w 4499468"/>
              <a:gd name="connsiteY17" fmla="*/ 835146 h 5520609"/>
              <a:gd name="connsiteX18" fmla="*/ 4442606 w 4499468"/>
              <a:gd name="connsiteY18" fmla="*/ 946777 h 5520609"/>
              <a:gd name="connsiteX19" fmla="*/ 4444683 w 4499468"/>
              <a:gd name="connsiteY19" fmla="*/ 947677 h 5520609"/>
              <a:gd name="connsiteX20" fmla="*/ 4448802 w 4499468"/>
              <a:gd name="connsiteY20" fmla="*/ 983859 h 5520609"/>
              <a:gd name="connsiteX21" fmla="*/ 4444004 w 4499468"/>
              <a:gd name="connsiteY21" fmla="*/ 1082386 h 5520609"/>
              <a:gd name="connsiteX22" fmla="*/ 4443899 w 4499468"/>
              <a:gd name="connsiteY22" fmla="*/ 1140681 h 5520609"/>
              <a:gd name="connsiteX23" fmla="*/ 4448202 w 4499468"/>
              <a:gd name="connsiteY23" fmla="*/ 1161797 h 5520609"/>
              <a:gd name="connsiteX24" fmla="*/ 4451292 w 4499468"/>
              <a:gd name="connsiteY24" fmla="*/ 1191979 h 5520609"/>
              <a:gd name="connsiteX25" fmla="*/ 4460109 w 4499468"/>
              <a:gd name="connsiteY25" fmla="*/ 1244449 h 5520609"/>
              <a:gd name="connsiteX26" fmla="*/ 4462386 w 4499468"/>
              <a:gd name="connsiteY26" fmla="*/ 1294666 h 5520609"/>
              <a:gd name="connsiteX27" fmla="*/ 4461506 w 4499468"/>
              <a:gd name="connsiteY27" fmla="*/ 1328296 h 5520609"/>
              <a:gd name="connsiteX28" fmla="*/ 4461043 w 4499468"/>
              <a:gd name="connsiteY28" fmla="*/ 1333156 h 5520609"/>
              <a:gd name="connsiteX29" fmla="*/ 4451924 w 4499468"/>
              <a:gd name="connsiteY29" fmla="*/ 1373054 h 5520609"/>
              <a:gd name="connsiteX30" fmla="*/ 4455188 w 4499468"/>
              <a:gd name="connsiteY30" fmla="*/ 1376999 h 5520609"/>
              <a:gd name="connsiteX31" fmla="*/ 4458030 w 4499468"/>
              <a:gd name="connsiteY31" fmla="*/ 1389816 h 5520609"/>
              <a:gd name="connsiteX32" fmla="*/ 4453289 w 4499468"/>
              <a:gd name="connsiteY32" fmla="*/ 1400401 h 5520609"/>
              <a:gd name="connsiteX33" fmla="*/ 4443105 w 4499468"/>
              <a:gd name="connsiteY33" fmla="*/ 1450629 h 5520609"/>
              <a:gd name="connsiteX34" fmla="*/ 4432208 w 4499468"/>
              <a:gd name="connsiteY34" fmla="*/ 1524330 h 5520609"/>
              <a:gd name="connsiteX35" fmla="*/ 4427327 w 4499468"/>
              <a:gd name="connsiteY35" fmla="*/ 1535289 h 5520609"/>
              <a:gd name="connsiteX36" fmla="*/ 4412899 w 4499468"/>
              <a:gd name="connsiteY36" fmla="*/ 1607363 h 5520609"/>
              <a:gd name="connsiteX37" fmla="*/ 4409184 w 4499468"/>
              <a:gd name="connsiteY37" fmla="*/ 1645395 h 5520609"/>
              <a:gd name="connsiteX38" fmla="*/ 4412844 w 4499468"/>
              <a:gd name="connsiteY38" fmla="*/ 1649850 h 5520609"/>
              <a:gd name="connsiteX39" fmla="*/ 4411194 w 4499468"/>
              <a:gd name="connsiteY39" fmla="*/ 1661048 h 5520609"/>
              <a:gd name="connsiteX40" fmla="*/ 4411606 w 4499468"/>
              <a:gd name="connsiteY40" fmla="*/ 1664107 h 5520609"/>
              <a:gd name="connsiteX41" fmla="*/ 4413117 w 4499468"/>
              <a:gd name="connsiteY41" fmla="*/ 1681560 h 5520609"/>
              <a:gd name="connsiteX42" fmla="*/ 4401647 w 4499468"/>
              <a:gd name="connsiteY42" fmla="*/ 1716455 h 5520609"/>
              <a:gd name="connsiteX43" fmla="*/ 4399587 w 4499468"/>
              <a:gd name="connsiteY43" fmla="*/ 1716581 h 5520609"/>
              <a:gd name="connsiteX44" fmla="*/ 4391089 w 4499468"/>
              <a:gd name="connsiteY44" fmla="*/ 1868666 h 5520609"/>
              <a:gd name="connsiteX45" fmla="*/ 4399780 w 4499468"/>
              <a:gd name="connsiteY45" fmla="*/ 1892828 h 5520609"/>
              <a:gd name="connsiteX46" fmla="*/ 4402058 w 4499468"/>
              <a:gd name="connsiteY46" fmla="*/ 1943047 h 5520609"/>
              <a:gd name="connsiteX47" fmla="*/ 4401177 w 4499468"/>
              <a:gd name="connsiteY47" fmla="*/ 1976676 h 5520609"/>
              <a:gd name="connsiteX48" fmla="*/ 4400715 w 4499468"/>
              <a:gd name="connsiteY48" fmla="*/ 1981536 h 5520609"/>
              <a:gd name="connsiteX49" fmla="*/ 4391595 w 4499468"/>
              <a:gd name="connsiteY49" fmla="*/ 2021434 h 5520609"/>
              <a:gd name="connsiteX50" fmla="*/ 4394860 w 4499468"/>
              <a:gd name="connsiteY50" fmla="*/ 2025379 h 5520609"/>
              <a:gd name="connsiteX51" fmla="*/ 4397701 w 4499468"/>
              <a:gd name="connsiteY51" fmla="*/ 2038196 h 5520609"/>
              <a:gd name="connsiteX52" fmla="*/ 4392960 w 4499468"/>
              <a:gd name="connsiteY52" fmla="*/ 2048781 h 5520609"/>
              <a:gd name="connsiteX53" fmla="*/ 4382776 w 4499468"/>
              <a:gd name="connsiteY53" fmla="*/ 2099011 h 5520609"/>
              <a:gd name="connsiteX54" fmla="*/ 4375445 w 4499468"/>
              <a:gd name="connsiteY54" fmla="*/ 2148592 h 5520609"/>
              <a:gd name="connsiteX55" fmla="*/ 4319362 w 4499468"/>
              <a:gd name="connsiteY55" fmla="*/ 3204925 h 5520609"/>
              <a:gd name="connsiteX56" fmla="*/ 4306576 w 4499468"/>
              <a:gd name="connsiteY56" fmla="*/ 3458573 h 5520609"/>
              <a:gd name="connsiteX57" fmla="*/ 4295491 w 4499468"/>
              <a:gd name="connsiteY57" fmla="*/ 3621276 h 5520609"/>
              <a:gd name="connsiteX58" fmla="*/ 4243956 w 4499468"/>
              <a:gd name="connsiteY58" fmla="*/ 5036659 h 5520609"/>
              <a:gd name="connsiteX59" fmla="*/ 4216394 w 4499468"/>
              <a:gd name="connsiteY59" fmla="*/ 5431691 h 5520609"/>
              <a:gd name="connsiteX60" fmla="*/ 4187554 w 4499468"/>
              <a:gd name="connsiteY60" fmla="*/ 5513970 h 5520609"/>
              <a:gd name="connsiteX61" fmla="*/ 298746 w 4499468"/>
              <a:gd name="connsiteY61" fmla="*/ 5249166 h 5520609"/>
              <a:gd name="connsiteX62" fmla="*/ 1462 w 4499468"/>
              <a:gd name="connsiteY62" fmla="*/ 5237777 h 5520609"/>
              <a:gd name="connsiteX63" fmla="*/ 7874 w 4499468"/>
              <a:gd name="connsiteY63" fmla="*/ 4977753 h 5520609"/>
              <a:gd name="connsiteX64" fmla="*/ 20715 w 4499468"/>
              <a:gd name="connsiteY64" fmla="*/ 4752822 h 5520609"/>
              <a:gd name="connsiteX65" fmla="*/ 222466 w 4499468"/>
              <a:gd name="connsiteY65" fmla="*/ 0 h 5520609"/>
              <a:gd name="connsiteX0" fmla="*/ 222466 w 4499468"/>
              <a:gd name="connsiteY0" fmla="*/ 0 h 5516347"/>
              <a:gd name="connsiteX1" fmla="*/ 3251633 w 4499468"/>
              <a:gd name="connsiteY1" fmla="*/ 153134 h 5516347"/>
              <a:gd name="connsiteX2" fmla="*/ 4080444 w 4499468"/>
              <a:gd name="connsiteY2" fmla="*/ 208242 h 5516347"/>
              <a:gd name="connsiteX3" fmla="*/ 4453638 w 4499468"/>
              <a:gd name="connsiteY3" fmla="*/ 228666 h 5516347"/>
              <a:gd name="connsiteX4" fmla="*/ 4481517 w 4499468"/>
              <a:gd name="connsiteY4" fmla="*/ 250471 h 5516347"/>
              <a:gd name="connsiteX5" fmla="*/ 4479743 w 4499468"/>
              <a:gd name="connsiteY5" fmla="*/ 282222 h 5516347"/>
              <a:gd name="connsiteX6" fmla="*/ 4482665 w 4499468"/>
              <a:gd name="connsiteY6" fmla="*/ 283939 h 5516347"/>
              <a:gd name="connsiteX7" fmla="*/ 4499091 w 4499468"/>
              <a:gd name="connsiteY7" fmla="*/ 315514 h 5516347"/>
              <a:gd name="connsiteX8" fmla="*/ 4476830 w 4499468"/>
              <a:gd name="connsiteY8" fmla="*/ 373160 h 5516347"/>
              <a:gd name="connsiteX9" fmla="*/ 4473342 w 4499468"/>
              <a:gd name="connsiteY9" fmla="*/ 396781 h 5516347"/>
              <a:gd name="connsiteX10" fmla="*/ 4468237 w 4499468"/>
              <a:gd name="connsiteY10" fmla="*/ 488120 h 5516347"/>
              <a:gd name="connsiteX11" fmla="*/ 4467587 w 4499468"/>
              <a:gd name="connsiteY11" fmla="*/ 534537 h 5516347"/>
              <a:gd name="connsiteX12" fmla="*/ 4464488 w 4499468"/>
              <a:gd name="connsiteY12" fmla="*/ 563001 h 5516347"/>
              <a:gd name="connsiteX13" fmla="*/ 4463819 w 4499468"/>
              <a:gd name="connsiteY13" fmla="*/ 567182 h 5516347"/>
              <a:gd name="connsiteX14" fmla="*/ 4450882 w 4499468"/>
              <a:gd name="connsiteY14" fmla="*/ 798696 h 5516347"/>
              <a:gd name="connsiteX15" fmla="*/ 4452595 w 4499468"/>
              <a:gd name="connsiteY15" fmla="*/ 803530 h 5516347"/>
              <a:gd name="connsiteX16" fmla="*/ 4450444 w 4499468"/>
              <a:gd name="connsiteY16" fmla="*/ 827361 h 5516347"/>
              <a:gd name="connsiteX17" fmla="*/ 4448844 w 4499468"/>
              <a:gd name="connsiteY17" fmla="*/ 835146 h 5516347"/>
              <a:gd name="connsiteX18" fmla="*/ 4442606 w 4499468"/>
              <a:gd name="connsiteY18" fmla="*/ 946777 h 5516347"/>
              <a:gd name="connsiteX19" fmla="*/ 4444683 w 4499468"/>
              <a:gd name="connsiteY19" fmla="*/ 947677 h 5516347"/>
              <a:gd name="connsiteX20" fmla="*/ 4448802 w 4499468"/>
              <a:gd name="connsiteY20" fmla="*/ 983859 h 5516347"/>
              <a:gd name="connsiteX21" fmla="*/ 4444004 w 4499468"/>
              <a:gd name="connsiteY21" fmla="*/ 1082386 h 5516347"/>
              <a:gd name="connsiteX22" fmla="*/ 4443899 w 4499468"/>
              <a:gd name="connsiteY22" fmla="*/ 1140681 h 5516347"/>
              <a:gd name="connsiteX23" fmla="*/ 4448202 w 4499468"/>
              <a:gd name="connsiteY23" fmla="*/ 1161797 h 5516347"/>
              <a:gd name="connsiteX24" fmla="*/ 4451292 w 4499468"/>
              <a:gd name="connsiteY24" fmla="*/ 1191979 h 5516347"/>
              <a:gd name="connsiteX25" fmla="*/ 4460109 w 4499468"/>
              <a:gd name="connsiteY25" fmla="*/ 1244449 h 5516347"/>
              <a:gd name="connsiteX26" fmla="*/ 4462386 w 4499468"/>
              <a:gd name="connsiteY26" fmla="*/ 1294666 h 5516347"/>
              <a:gd name="connsiteX27" fmla="*/ 4461506 w 4499468"/>
              <a:gd name="connsiteY27" fmla="*/ 1328296 h 5516347"/>
              <a:gd name="connsiteX28" fmla="*/ 4461043 w 4499468"/>
              <a:gd name="connsiteY28" fmla="*/ 1333156 h 5516347"/>
              <a:gd name="connsiteX29" fmla="*/ 4451924 w 4499468"/>
              <a:gd name="connsiteY29" fmla="*/ 1373054 h 5516347"/>
              <a:gd name="connsiteX30" fmla="*/ 4455188 w 4499468"/>
              <a:gd name="connsiteY30" fmla="*/ 1376999 h 5516347"/>
              <a:gd name="connsiteX31" fmla="*/ 4458030 w 4499468"/>
              <a:gd name="connsiteY31" fmla="*/ 1389816 h 5516347"/>
              <a:gd name="connsiteX32" fmla="*/ 4453289 w 4499468"/>
              <a:gd name="connsiteY32" fmla="*/ 1400401 h 5516347"/>
              <a:gd name="connsiteX33" fmla="*/ 4443105 w 4499468"/>
              <a:gd name="connsiteY33" fmla="*/ 1450629 h 5516347"/>
              <a:gd name="connsiteX34" fmla="*/ 4432208 w 4499468"/>
              <a:gd name="connsiteY34" fmla="*/ 1524330 h 5516347"/>
              <a:gd name="connsiteX35" fmla="*/ 4427327 w 4499468"/>
              <a:gd name="connsiteY35" fmla="*/ 1535289 h 5516347"/>
              <a:gd name="connsiteX36" fmla="*/ 4412899 w 4499468"/>
              <a:gd name="connsiteY36" fmla="*/ 1607363 h 5516347"/>
              <a:gd name="connsiteX37" fmla="*/ 4409184 w 4499468"/>
              <a:gd name="connsiteY37" fmla="*/ 1645395 h 5516347"/>
              <a:gd name="connsiteX38" fmla="*/ 4412844 w 4499468"/>
              <a:gd name="connsiteY38" fmla="*/ 1649850 h 5516347"/>
              <a:gd name="connsiteX39" fmla="*/ 4411194 w 4499468"/>
              <a:gd name="connsiteY39" fmla="*/ 1661048 h 5516347"/>
              <a:gd name="connsiteX40" fmla="*/ 4411606 w 4499468"/>
              <a:gd name="connsiteY40" fmla="*/ 1664107 h 5516347"/>
              <a:gd name="connsiteX41" fmla="*/ 4413117 w 4499468"/>
              <a:gd name="connsiteY41" fmla="*/ 1681560 h 5516347"/>
              <a:gd name="connsiteX42" fmla="*/ 4401647 w 4499468"/>
              <a:gd name="connsiteY42" fmla="*/ 1716455 h 5516347"/>
              <a:gd name="connsiteX43" fmla="*/ 4399587 w 4499468"/>
              <a:gd name="connsiteY43" fmla="*/ 1716581 h 5516347"/>
              <a:gd name="connsiteX44" fmla="*/ 4391089 w 4499468"/>
              <a:gd name="connsiteY44" fmla="*/ 1868666 h 5516347"/>
              <a:gd name="connsiteX45" fmla="*/ 4399780 w 4499468"/>
              <a:gd name="connsiteY45" fmla="*/ 1892828 h 5516347"/>
              <a:gd name="connsiteX46" fmla="*/ 4402058 w 4499468"/>
              <a:gd name="connsiteY46" fmla="*/ 1943047 h 5516347"/>
              <a:gd name="connsiteX47" fmla="*/ 4401177 w 4499468"/>
              <a:gd name="connsiteY47" fmla="*/ 1976676 h 5516347"/>
              <a:gd name="connsiteX48" fmla="*/ 4400715 w 4499468"/>
              <a:gd name="connsiteY48" fmla="*/ 1981536 h 5516347"/>
              <a:gd name="connsiteX49" fmla="*/ 4391595 w 4499468"/>
              <a:gd name="connsiteY49" fmla="*/ 2021434 h 5516347"/>
              <a:gd name="connsiteX50" fmla="*/ 4394860 w 4499468"/>
              <a:gd name="connsiteY50" fmla="*/ 2025379 h 5516347"/>
              <a:gd name="connsiteX51" fmla="*/ 4397701 w 4499468"/>
              <a:gd name="connsiteY51" fmla="*/ 2038196 h 5516347"/>
              <a:gd name="connsiteX52" fmla="*/ 4392960 w 4499468"/>
              <a:gd name="connsiteY52" fmla="*/ 2048781 h 5516347"/>
              <a:gd name="connsiteX53" fmla="*/ 4382776 w 4499468"/>
              <a:gd name="connsiteY53" fmla="*/ 2099011 h 5516347"/>
              <a:gd name="connsiteX54" fmla="*/ 4375445 w 4499468"/>
              <a:gd name="connsiteY54" fmla="*/ 2148592 h 5516347"/>
              <a:gd name="connsiteX55" fmla="*/ 4319362 w 4499468"/>
              <a:gd name="connsiteY55" fmla="*/ 3204925 h 5516347"/>
              <a:gd name="connsiteX56" fmla="*/ 4306576 w 4499468"/>
              <a:gd name="connsiteY56" fmla="*/ 3458573 h 5516347"/>
              <a:gd name="connsiteX57" fmla="*/ 4295491 w 4499468"/>
              <a:gd name="connsiteY57" fmla="*/ 3621276 h 5516347"/>
              <a:gd name="connsiteX58" fmla="*/ 4243956 w 4499468"/>
              <a:gd name="connsiteY58" fmla="*/ 5036659 h 5516347"/>
              <a:gd name="connsiteX59" fmla="*/ 4242847 w 4499468"/>
              <a:gd name="connsiteY59" fmla="*/ 5242987 h 5516347"/>
              <a:gd name="connsiteX60" fmla="*/ 4187554 w 4499468"/>
              <a:gd name="connsiteY60" fmla="*/ 5513970 h 5516347"/>
              <a:gd name="connsiteX61" fmla="*/ 298746 w 4499468"/>
              <a:gd name="connsiteY61" fmla="*/ 5249166 h 5516347"/>
              <a:gd name="connsiteX62" fmla="*/ 1462 w 4499468"/>
              <a:gd name="connsiteY62" fmla="*/ 5237777 h 5516347"/>
              <a:gd name="connsiteX63" fmla="*/ 7874 w 4499468"/>
              <a:gd name="connsiteY63" fmla="*/ 4977753 h 5516347"/>
              <a:gd name="connsiteX64" fmla="*/ 20715 w 4499468"/>
              <a:gd name="connsiteY64" fmla="*/ 4752822 h 5516347"/>
              <a:gd name="connsiteX65" fmla="*/ 222466 w 4499468"/>
              <a:gd name="connsiteY65" fmla="*/ 0 h 5516347"/>
              <a:gd name="connsiteX0" fmla="*/ 222466 w 4499468"/>
              <a:gd name="connsiteY0" fmla="*/ 0 h 5513991"/>
              <a:gd name="connsiteX1" fmla="*/ 3251633 w 4499468"/>
              <a:gd name="connsiteY1" fmla="*/ 153134 h 5513991"/>
              <a:gd name="connsiteX2" fmla="*/ 4080444 w 4499468"/>
              <a:gd name="connsiteY2" fmla="*/ 208242 h 5513991"/>
              <a:gd name="connsiteX3" fmla="*/ 4453638 w 4499468"/>
              <a:gd name="connsiteY3" fmla="*/ 228666 h 5513991"/>
              <a:gd name="connsiteX4" fmla="*/ 4481517 w 4499468"/>
              <a:gd name="connsiteY4" fmla="*/ 250471 h 5513991"/>
              <a:gd name="connsiteX5" fmla="*/ 4479743 w 4499468"/>
              <a:gd name="connsiteY5" fmla="*/ 282222 h 5513991"/>
              <a:gd name="connsiteX6" fmla="*/ 4482665 w 4499468"/>
              <a:gd name="connsiteY6" fmla="*/ 283939 h 5513991"/>
              <a:gd name="connsiteX7" fmla="*/ 4499091 w 4499468"/>
              <a:gd name="connsiteY7" fmla="*/ 315514 h 5513991"/>
              <a:gd name="connsiteX8" fmla="*/ 4476830 w 4499468"/>
              <a:gd name="connsiteY8" fmla="*/ 373160 h 5513991"/>
              <a:gd name="connsiteX9" fmla="*/ 4473342 w 4499468"/>
              <a:gd name="connsiteY9" fmla="*/ 396781 h 5513991"/>
              <a:gd name="connsiteX10" fmla="*/ 4468237 w 4499468"/>
              <a:gd name="connsiteY10" fmla="*/ 488120 h 5513991"/>
              <a:gd name="connsiteX11" fmla="*/ 4467587 w 4499468"/>
              <a:gd name="connsiteY11" fmla="*/ 534537 h 5513991"/>
              <a:gd name="connsiteX12" fmla="*/ 4464488 w 4499468"/>
              <a:gd name="connsiteY12" fmla="*/ 563001 h 5513991"/>
              <a:gd name="connsiteX13" fmla="*/ 4463819 w 4499468"/>
              <a:gd name="connsiteY13" fmla="*/ 567182 h 5513991"/>
              <a:gd name="connsiteX14" fmla="*/ 4450882 w 4499468"/>
              <a:gd name="connsiteY14" fmla="*/ 798696 h 5513991"/>
              <a:gd name="connsiteX15" fmla="*/ 4452595 w 4499468"/>
              <a:gd name="connsiteY15" fmla="*/ 803530 h 5513991"/>
              <a:gd name="connsiteX16" fmla="*/ 4450444 w 4499468"/>
              <a:gd name="connsiteY16" fmla="*/ 827361 h 5513991"/>
              <a:gd name="connsiteX17" fmla="*/ 4448844 w 4499468"/>
              <a:gd name="connsiteY17" fmla="*/ 835146 h 5513991"/>
              <a:gd name="connsiteX18" fmla="*/ 4442606 w 4499468"/>
              <a:gd name="connsiteY18" fmla="*/ 946777 h 5513991"/>
              <a:gd name="connsiteX19" fmla="*/ 4444683 w 4499468"/>
              <a:gd name="connsiteY19" fmla="*/ 947677 h 5513991"/>
              <a:gd name="connsiteX20" fmla="*/ 4448802 w 4499468"/>
              <a:gd name="connsiteY20" fmla="*/ 983859 h 5513991"/>
              <a:gd name="connsiteX21" fmla="*/ 4444004 w 4499468"/>
              <a:gd name="connsiteY21" fmla="*/ 1082386 h 5513991"/>
              <a:gd name="connsiteX22" fmla="*/ 4443899 w 4499468"/>
              <a:gd name="connsiteY22" fmla="*/ 1140681 h 5513991"/>
              <a:gd name="connsiteX23" fmla="*/ 4448202 w 4499468"/>
              <a:gd name="connsiteY23" fmla="*/ 1161797 h 5513991"/>
              <a:gd name="connsiteX24" fmla="*/ 4451292 w 4499468"/>
              <a:gd name="connsiteY24" fmla="*/ 1191979 h 5513991"/>
              <a:gd name="connsiteX25" fmla="*/ 4460109 w 4499468"/>
              <a:gd name="connsiteY25" fmla="*/ 1244449 h 5513991"/>
              <a:gd name="connsiteX26" fmla="*/ 4462386 w 4499468"/>
              <a:gd name="connsiteY26" fmla="*/ 1294666 h 5513991"/>
              <a:gd name="connsiteX27" fmla="*/ 4461506 w 4499468"/>
              <a:gd name="connsiteY27" fmla="*/ 1328296 h 5513991"/>
              <a:gd name="connsiteX28" fmla="*/ 4461043 w 4499468"/>
              <a:gd name="connsiteY28" fmla="*/ 1333156 h 5513991"/>
              <a:gd name="connsiteX29" fmla="*/ 4451924 w 4499468"/>
              <a:gd name="connsiteY29" fmla="*/ 1373054 h 5513991"/>
              <a:gd name="connsiteX30" fmla="*/ 4455188 w 4499468"/>
              <a:gd name="connsiteY30" fmla="*/ 1376999 h 5513991"/>
              <a:gd name="connsiteX31" fmla="*/ 4458030 w 4499468"/>
              <a:gd name="connsiteY31" fmla="*/ 1389816 h 5513991"/>
              <a:gd name="connsiteX32" fmla="*/ 4453289 w 4499468"/>
              <a:gd name="connsiteY32" fmla="*/ 1400401 h 5513991"/>
              <a:gd name="connsiteX33" fmla="*/ 4443105 w 4499468"/>
              <a:gd name="connsiteY33" fmla="*/ 1450629 h 5513991"/>
              <a:gd name="connsiteX34" fmla="*/ 4432208 w 4499468"/>
              <a:gd name="connsiteY34" fmla="*/ 1524330 h 5513991"/>
              <a:gd name="connsiteX35" fmla="*/ 4427327 w 4499468"/>
              <a:gd name="connsiteY35" fmla="*/ 1535289 h 5513991"/>
              <a:gd name="connsiteX36" fmla="*/ 4412899 w 4499468"/>
              <a:gd name="connsiteY36" fmla="*/ 1607363 h 5513991"/>
              <a:gd name="connsiteX37" fmla="*/ 4409184 w 4499468"/>
              <a:gd name="connsiteY37" fmla="*/ 1645395 h 5513991"/>
              <a:gd name="connsiteX38" fmla="*/ 4412844 w 4499468"/>
              <a:gd name="connsiteY38" fmla="*/ 1649850 h 5513991"/>
              <a:gd name="connsiteX39" fmla="*/ 4411194 w 4499468"/>
              <a:gd name="connsiteY39" fmla="*/ 1661048 h 5513991"/>
              <a:gd name="connsiteX40" fmla="*/ 4411606 w 4499468"/>
              <a:gd name="connsiteY40" fmla="*/ 1664107 h 5513991"/>
              <a:gd name="connsiteX41" fmla="*/ 4413117 w 4499468"/>
              <a:gd name="connsiteY41" fmla="*/ 1681560 h 5513991"/>
              <a:gd name="connsiteX42" fmla="*/ 4401647 w 4499468"/>
              <a:gd name="connsiteY42" fmla="*/ 1716455 h 5513991"/>
              <a:gd name="connsiteX43" fmla="*/ 4399587 w 4499468"/>
              <a:gd name="connsiteY43" fmla="*/ 1716581 h 5513991"/>
              <a:gd name="connsiteX44" fmla="*/ 4391089 w 4499468"/>
              <a:gd name="connsiteY44" fmla="*/ 1868666 h 5513991"/>
              <a:gd name="connsiteX45" fmla="*/ 4399780 w 4499468"/>
              <a:gd name="connsiteY45" fmla="*/ 1892828 h 5513991"/>
              <a:gd name="connsiteX46" fmla="*/ 4402058 w 4499468"/>
              <a:gd name="connsiteY46" fmla="*/ 1943047 h 5513991"/>
              <a:gd name="connsiteX47" fmla="*/ 4401177 w 4499468"/>
              <a:gd name="connsiteY47" fmla="*/ 1976676 h 5513991"/>
              <a:gd name="connsiteX48" fmla="*/ 4400715 w 4499468"/>
              <a:gd name="connsiteY48" fmla="*/ 1981536 h 5513991"/>
              <a:gd name="connsiteX49" fmla="*/ 4391595 w 4499468"/>
              <a:gd name="connsiteY49" fmla="*/ 2021434 h 5513991"/>
              <a:gd name="connsiteX50" fmla="*/ 4394860 w 4499468"/>
              <a:gd name="connsiteY50" fmla="*/ 2025379 h 5513991"/>
              <a:gd name="connsiteX51" fmla="*/ 4397701 w 4499468"/>
              <a:gd name="connsiteY51" fmla="*/ 2038196 h 5513991"/>
              <a:gd name="connsiteX52" fmla="*/ 4392960 w 4499468"/>
              <a:gd name="connsiteY52" fmla="*/ 2048781 h 5513991"/>
              <a:gd name="connsiteX53" fmla="*/ 4382776 w 4499468"/>
              <a:gd name="connsiteY53" fmla="*/ 2099011 h 5513991"/>
              <a:gd name="connsiteX54" fmla="*/ 4375445 w 4499468"/>
              <a:gd name="connsiteY54" fmla="*/ 2148592 h 5513991"/>
              <a:gd name="connsiteX55" fmla="*/ 4319362 w 4499468"/>
              <a:gd name="connsiteY55" fmla="*/ 3204925 h 5513991"/>
              <a:gd name="connsiteX56" fmla="*/ 4306576 w 4499468"/>
              <a:gd name="connsiteY56" fmla="*/ 3458573 h 5513991"/>
              <a:gd name="connsiteX57" fmla="*/ 4295491 w 4499468"/>
              <a:gd name="connsiteY57" fmla="*/ 3621276 h 5513991"/>
              <a:gd name="connsiteX58" fmla="*/ 4243956 w 4499468"/>
              <a:gd name="connsiteY58" fmla="*/ 5036659 h 5513991"/>
              <a:gd name="connsiteX59" fmla="*/ 4242847 w 4499468"/>
              <a:gd name="connsiteY59" fmla="*/ 5242987 h 5513991"/>
              <a:gd name="connsiteX60" fmla="*/ 4187554 w 4499468"/>
              <a:gd name="connsiteY60" fmla="*/ 5513970 h 5513991"/>
              <a:gd name="connsiteX61" fmla="*/ 298746 w 4499468"/>
              <a:gd name="connsiteY61" fmla="*/ 5249166 h 5513991"/>
              <a:gd name="connsiteX62" fmla="*/ 1462 w 4499468"/>
              <a:gd name="connsiteY62" fmla="*/ 5237777 h 5513991"/>
              <a:gd name="connsiteX63" fmla="*/ 7874 w 4499468"/>
              <a:gd name="connsiteY63" fmla="*/ 4977753 h 5513991"/>
              <a:gd name="connsiteX64" fmla="*/ 20715 w 4499468"/>
              <a:gd name="connsiteY64" fmla="*/ 4752822 h 5513991"/>
              <a:gd name="connsiteX65" fmla="*/ 222466 w 4499468"/>
              <a:gd name="connsiteY65" fmla="*/ 0 h 5513991"/>
              <a:gd name="connsiteX0" fmla="*/ 222466 w 4499468"/>
              <a:gd name="connsiteY0" fmla="*/ 0 h 5513991"/>
              <a:gd name="connsiteX1" fmla="*/ 3251633 w 4499468"/>
              <a:gd name="connsiteY1" fmla="*/ 153134 h 5513991"/>
              <a:gd name="connsiteX2" fmla="*/ 4080444 w 4499468"/>
              <a:gd name="connsiteY2" fmla="*/ 208242 h 5513991"/>
              <a:gd name="connsiteX3" fmla="*/ 4453638 w 4499468"/>
              <a:gd name="connsiteY3" fmla="*/ 228666 h 5513991"/>
              <a:gd name="connsiteX4" fmla="*/ 4481517 w 4499468"/>
              <a:gd name="connsiteY4" fmla="*/ 250471 h 5513991"/>
              <a:gd name="connsiteX5" fmla="*/ 4479743 w 4499468"/>
              <a:gd name="connsiteY5" fmla="*/ 282222 h 5513991"/>
              <a:gd name="connsiteX6" fmla="*/ 4482665 w 4499468"/>
              <a:gd name="connsiteY6" fmla="*/ 283939 h 5513991"/>
              <a:gd name="connsiteX7" fmla="*/ 4499091 w 4499468"/>
              <a:gd name="connsiteY7" fmla="*/ 315514 h 5513991"/>
              <a:gd name="connsiteX8" fmla="*/ 4476830 w 4499468"/>
              <a:gd name="connsiteY8" fmla="*/ 373160 h 5513991"/>
              <a:gd name="connsiteX9" fmla="*/ 4473342 w 4499468"/>
              <a:gd name="connsiteY9" fmla="*/ 396781 h 5513991"/>
              <a:gd name="connsiteX10" fmla="*/ 4468237 w 4499468"/>
              <a:gd name="connsiteY10" fmla="*/ 488120 h 5513991"/>
              <a:gd name="connsiteX11" fmla="*/ 4467587 w 4499468"/>
              <a:gd name="connsiteY11" fmla="*/ 534537 h 5513991"/>
              <a:gd name="connsiteX12" fmla="*/ 4464488 w 4499468"/>
              <a:gd name="connsiteY12" fmla="*/ 563001 h 5513991"/>
              <a:gd name="connsiteX13" fmla="*/ 4463819 w 4499468"/>
              <a:gd name="connsiteY13" fmla="*/ 567182 h 5513991"/>
              <a:gd name="connsiteX14" fmla="*/ 4450882 w 4499468"/>
              <a:gd name="connsiteY14" fmla="*/ 798696 h 5513991"/>
              <a:gd name="connsiteX15" fmla="*/ 4452595 w 4499468"/>
              <a:gd name="connsiteY15" fmla="*/ 803530 h 5513991"/>
              <a:gd name="connsiteX16" fmla="*/ 4450444 w 4499468"/>
              <a:gd name="connsiteY16" fmla="*/ 827361 h 5513991"/>
              <a:gd name="connsiteX17" fmla="*/ 4448844 w 4499468"/>
              <a:gd name="connsiteY17" fmla="*/ 835146 h 5513991"/>
              <a:gd name="connsiteX18" fmla="*/ 4442606 w 4499468"/>
              <a:gd name="connsiteY18" fmla="*/ 946777 h 5513991"/>
              <a:gd name="connsiteX19" fmla="*/ 4444683 w 4499468"/>
              <a:gd name="connsiteY19" fmla="*/ 947677 h 5513991"/>
              <a:gd name="connsiteX20" fmla="*/ 4448802 w 4499468"/>
              <a:gd name="connsiteY20" fmla="*/ 983859 h 5513991"/>
              <a:gd name="connsiteX21" fmla="*/ 4444004 w 4499468"/>
              <a:gd name="connsiteY21" fmla="*/ 1082386 h 5513991"/>
              <a:gd name="connsiteX22" fmla="*/ 4443899 w 4499468"/>
              <a:gd name="connsiteY22" fmla="*/ 1140681 h 5513991"/>
              <a:gd name="connsiteX23" fmla="*/ 4448202 w 4499468"/>
              <a:gd name="connsiteY23" fmla="*/ 1161797 h 5513991"/>
              <a:gd name="connsiteX24" fmla="*/ 4451292 w 4499468"/>
              <a:gd name="connsiteY24" fmla="*/ 1191979 h 5513991"/>
              <a:gd name="connsiteX25" fmla="*/ 4460109 w 4499468"/>
              <a:gd name="connsiteY25" fmla="*/ 1244449 h 5513991"/>
              <a:gd name="connsiteX26" fmla="*/ 4462386 w 4499468"/>
              <a:gd name="connsiteY26" fmla="*/ 1294666 h 5513991"/>
              <a:gd name="connsiteX27" fmla="*/ 4461506 w 4499468"/>
              <a:gd name="connsiteY27" fmla="*/ 1328296 h 5513991"/>
              <a:gd name="connsiteX28" fmla="*/ 4461043 w 4499468"/>
              <a:gd name="connsiteY28" fmla="*/ 1333156 h 5513991"/>
              <a:gd name="connsiteX29" fmla="*/ 4451924 w 4499468"/>
              <a:gd name="connsiteY29" fmla="*/ 1373054 h 5513991"/>
              <a:gd name="connsiteX30" fmla="*/ 4455188 w 4499468"/>
              <a:gd name="connsiteY30" fmla="*/ 1376999 h 5513991"/>
              <a:gd name="connsiteX31" fmla="*/ 4458030 w 4499468"/>
              <a:gd name="connsiteY31" fmla="*/ 1389816 h 5513991"/>
              <a:gd name="connsiteX32" fmla="*/ 4453289 w 4499468"/>
              <a:gd name="connsiteY32" fmla="*/ 1400401 h 5513991"/>
              <a:gd name="connsiteX33" fmla="*/ 4443105 w 4499468"/>
              <a:gd name="connsiteY33" fmla="*/ 1450629 h 5513991"/>
              <a:gd name="connsiteX34" fmla="*/ 4432208 w 4499468"/>
              <a:gd name="connsiteY34" fmla="*/ 1524330 h 5513991"/>
              <a:gd name="connsiteX35" fmla="*/ 4427327 w 4499468"/>
              <a:gd name="connsiteY35" fmla="*/ 1535289 h 5513991"/>
              <a:gd name="connsiteX36" fmla="*/ 4412899 w 4499468"/>
              <a:gd name="connsiteY36" fmla="*/ 1607363 h 5513991"/>
              <a:gd name="connsiteX37" fmla="*/ 4409184 w 4499468"/>
              <a:gd name="connsiteY37" fmla="*/ 1645395 h 5513991"/>
              <a:gd name="connsiteX38" fmla="*/ 4412844 w 4499468"/>
              <a:gd name="connsiteY38" fmla="*/ 1649850 h 5513991"/>
              <a:gd name="connsiteX39" fmla="*/ 4411194 w 4499468"/>
              <a:gd name="connsiteY39" fmla="*/ 1661048 h 5513991"/>
              <a:gd name="connsiteX40" fmla="*/ 4411606 w 4499468"/>
              <a:gd name="connsiteY40" fmla="*/ 1664107 h 5513991"/>
              <a:gd name="connsiteX41" fmla="*/ 4413117 w 4499468"/>
              <a:gd name="connsiteY41" fmla="*/ 1681560 h 5513991"/>
              <a:gd name="connsiteX42" fmla="*/ 4401647 w 4499468"/>
              <a:gd name="connsiteY42" fmla="*/ 1716455 h 5513991"/>
              <a:gd name="connsiteX43" fmla="*/ 4399587 w 4499468"/>
              <a:gd name="connsiteY43" fmla="*/ 1716581 h 5513991"/>
              <a:gd name="connsiteX44" fmla="*/ 4391089 w 4499468"/>
              <a:gd name="connsiteY44" fmla="*/ 1868666 h 5513991"/>
              <a:gd name="connsiteX45" fmla="*/ 4399780 w 4499468"/>
              <a:gd name="connsiteY45" fmla="*/ 1892828 h 5513991"/>
              <a:gd name="connsiteX46" fmla="*/ 4402058 w 4499468"/>
              <a:gd name="connsiteY46" fmla="*/ 1943047 h 5513991"/>
              <a:gd name="connsiteX47" fmla="*/ 4401177 w 4499468"/>
              <a:gd name="connsiteY47" fmla="*/ 1976676 h 5513991"/>
              <a:gd name="connsiteX48" fmla="*/ 4400715 w 4499468"/>
              <a:gd name="connsiteY48" fmla="*/ 1981536 h 5513991"/>
              <a:gd name="connsiteX49" fmla="*/ 4391595 w 4499468"/>
              <a:gd name="connsiteY49" fmla="*/ 2021434 h 5513991"/>
              <a:gd name="connsiteX50" fmla="*/ 4394860 w 4499468"/>
              <a:gd name="connsiteY50" fmla="*/ 2025379 h 5513991"/>
              <a:gd name="connsiteX51" fmla="*/ 4397701 w 4499468"/>
              <a:gd name="connsiteY51" fmla="*/ 2038196 h 5513991"/>
              <a:gd name="connsiteX52" fmla="*/ 4392960 w 4499468"/>
              <a:gd name="connsiteY52" fmla="*/ 2048781 h 5513991"/>
              <a:gd name="connsiteX53" fmla="*/ 4382776 w 4499468"/>
              <a:gd name="connsiteY53" fmla="*/ 2099011 h 5513991"/>
              <a:gd name="connsiteX54" fmla="*/ 4375445 w 4499468"/>
              <a:gd name="connsiteY54" fmla="*/ 2148592 h 5513991"/>
              <a:gd name="connsiteX55" fmla="*/ 4319362 w 4499468"/>
              <a:gd name="connsiteY55" fmla="*/ 3204925 h 5513991"/>
              <a:gd name="connsiteX56" fmla="*/ 4306576 w 4499468"/>
              <a:gd name="connsiteY56" fmla="*/ 3458573 h 5513991"/>
              <a:gd name="connsiteX57" fmla="*/ 4243956 w 4499468"/>
              <a:gd name="connsiteY57" fmla="*/ 5036659 h 5513991"/>
              <a:gd name="connsiteX58" fmla="*/ 4242847 w 4499468"/>
              <a:gd name="connsiteY58" fmla="*/ 5242987 h 5513991"/>
              <a:gd name="connsiteX59" fmla="*/ 4187554 w 4499468"/>
              <a:gd name="connsiteY59" fmla="*/ 5513970 h 5513991"/>
              <a:gd name="connsiteX60" fmla="*/ 298746 w 4499468"/>
              <a:gd name="connsiteY60" fmla="*/ 5249166 h 5513991"/>
              <a:gd name="connsiteX61" fmla="*/ 1462 w 4499468"/>
              <a:gd name="connsiteY61" fmla="*/ 5237777 h 5513991"/>
              <a:gd name="connsiteX62" fmla="*/ 7874 w 4499468"/>
              <a:gd name="connsiteY62" fmla="*/ 4977753 h 5513991"/>
              <a:gd name="connsiteX63" fmla="*/ 20715 w 4499468"/>
              <a:gd name="connsiteY63" fmla="*/ 4752822 h 5513991"/>
              <a:gd name="connsiteX64" fmla="*/ 222466 w 4499468"/>
              <a:gd name="connsiteY64" fmla="*/ 0 h 5513991"/>
              <a:gd name="connsiteX0" fmla="*/ 222466 w 4499468"/>
              <a:gd name="connsiteY0" fmla="*/ 0 h 5513991"/>
              <a:gd name="connsiteX1" fmla="*/ 3251633 w 4499468"/>
              <a:gd name="connsiteY1" fmla="*/ 153134 h 5513991"/>
              <a:gd name="connsiteX2" fmla="*/ 4080444 w 4499468"/>
              <a:gd name="connsiteY2" fmla="*/ 208242 h 5513991"/>
              <a:gd name="connsiteX3" fmla="*/ 4453638 w 4499468"/>
              <a:gd name="connsiteY3" fmla="*/ 228666 h 5513991"/>
              <a:gd name="connsiteX4" fmla="*/ 4481517 w 4499468"/>
              <a:gd name="connsiteY4" fmla="*/ 250471 h 5513991"/>
              <a:gd name="connsiteX5" fmla="*/ 4479743 w 4499468"/>
              <a:gd name="connsiteY5" fmla="*/ 282222 h 5513991"/>
              <a:gd name="connsiteX6" fmla="*/ 4482665 w 4499468"/>
              <a:gd name="connsiteY6" fmla="*/ 283939 h 5513991"/>
              <a:gd name="connsiteX7" fmla="*/ 4499091 w 4499468"/>
              <a:gd name="connsiteY7" fmla="*/ 315514 h 5513991"/>
              <a:gd name="connsiteX8" fmla="*/ 4476830 w 4499468"/>
              <a:gd name="connsiteY8" fmla="*/ 373160 h 5513991"/>
              <a:gd name="connsiteX9" fmla="*/ 4473342 w 4499468"/>
              <a:gd name="connsiteY9" fmla="*/ 396781 h 5513991"/>
              <a:gd name="connsiteX10" fmla="*/ 4468237 w 4499468"/>
              <a:gd name="connsiteY10" fmla="*/ 488120 h 5513991"/>
              <a:gd name="connsiteX11" fmla="*/ 4467587 w 4499468"/>
              <a:gd name="connsiteY11" fmla="*/ 534537 h 5513991"/>
              <a:gd name="connsiteX12" fmla="*/ 4464488 w 4499468"/>
              <a:gd name="connsiteY12" fmla="*/ 563001 h 5513991"/>
              <a:gd name="connsiteX13" fmla="*/ 4463819 w 4499468"/>
              <a:gd name="connsiteY13" fmla="*/ 567182 h 5513991"/>
              <a:gd name="connsiteX14" fmla="*/ 4450882 w 4499468"/>
              <a:gd name="connsiteY14" fmla="*/ 798696 h 5513991"/>
              <a:gd name="connsiteX15" fmla="*/ 4452595 w 4499468"/>
              <a:gd name="connsiteY15" fmla="*/ 803530 h 5513991"/>
              <a:gd name="connsiteX16" fmla="*/ 4450444 w 4499468"/>
              <a:gd name="connsiteY16" fmla="*/ 827361 h 5513991"/>
              <a:gd name="connsiteX17" fmla="*/ 4448844 w 4499468"/>
              <a:gd name="connsiteY17" fmla="*/ 835146 h 5513991"/>
              <a:gd name="connsiteX18" fmla="*/ 4442606 w 4499468"/>
              <a:gd name="connsiteY18" fmla="*/ 946777 h 5513991"/>
              <a:gd name="connsiteX19" fmla="*/ 4444683 w 4499468"/>
              <a:gd name="connsiteY19" fmla="*/ 947677 h 5513991"/>
              <a:gd name="connsiteX20" fmla="*/ 4448802 w 4499468"/>
              <a:gd name="connsiteY20" fmla="*/ 983859 h 5513991"/>
              <a:gd name="connsiteX21" fmla="*/ 4444004 w 4499468"/>
              <a:gd name="connsiteY21" fmla="*/ 1082386 h 5513991"/>
              <a:gd name="connsiteX22" fmla="*/ 4443899 w 4499468"/>
              <a:gd name="connsiteY22" fmla="*/ 1140681 h 5513991"/>
              <a:gd name="connsiteX23" fmla="*/ 4448202 w 4499468"/>
              <a:gd name="connsiteY23" fmla="*/ 1161797 h 5513991"/>
              <a:gd name="connsiteX24" fmla="*/ 4451292 w 4499468"/>
              <a:gd name="connsiteY24" fmla="*/ 1191979 h 5513991"/>
              <a:gd name="connsiteX25" fmla="*/ 4460109 w 4499468"/>
              <a:gd name="connsiteY25" fmla="*/ 1244449 h 5513991"/>
              <a:gd name="connsiteX26" fmla="*/ 4462386 w 4499468"/>
              <a:gd name="connsiteY26" fmla="*/ 1294666 h 5513991"/>
              <a:gd name="connsiteX27" fmla="*/ 4461506 w 4499468"/>
              <a:gd name="connsiteY27" fmla="*/ 1328296 h 5513991"/>
              <a:gd name="connsiteX28" fmla="*/ 4461043 w 4499468"/>
              <a:gd name="connsiteY28" fmla="*/ 1333156 h 5513991"/>
              <a:gd name="connsiteX29" fmla="*/ 4451924 w 4499468"/>
              <a:gd name="connsiteY29" fmla="*/ 1373054 h 5513991"/>
              <a:gd name="connsiteX30" fmla="*/ 4455188 w 4499468"/>
              <a:gd name="connsiteY30" fmla="*/ 1376999 h 5513991"/>
              <a:gd name="connsiteX31" fmla="*/ 4458030 w 4499468"/>
              <a:gd name="connsiteY31" fmla="*/ 1389816 h 5513991"/>
              <a:gd name="connsiteX32" fmla="*/ 4453289 w 4499468"/>
              <a:gd name="connsiteY32" fmla="*/ 1400401 h 5513991"/>
              <a:gd name="connsiteX33" fmla="*/ 4443105 w 4499468"/>
              <a:gd name="connsiteY33" fmla="*/ 1450629 h 5513991"/>
              <a:gd name="connsiteX34" fmla="*/ 4432208 w 4499468"/>
              <a:gd name="connsiteY34" fmla="*/ 1524330 h 5513991"/>
              <a:gd name="connsiteX35" fmla="*/ 4427327 w 4499468"/>
              <a:gd name="connsiteY35" fmla="*/ 1535289 h 5513991"/>
              <a:gd name="connsiteX36" fmla="*/ 4412899 w 4499468"/>
              <a:gd name="connsiteY36" fmla="*/ 1607363 h 5513991"/>
              <a:gd name="connsiteX37" fmla="*/ 4409184 w 4499468"/>
              <a:gd name="connsiteY37" fmla="*/ 1645395 h 5513991"/>
              <a:gd name="connsiteX38" fmla="*/ 4412844 w 4499468"/>
              <a:gd name="connsiteY38" fmla="*/ 1649850 h 5513991"/>
              <a:gd name="connsiteX39" fmla="*/ 4411194 w 4499468"/>
              <a:gd name="connsiteY39" fmla="*/ 1661048 h 5513991"/>
              <a:gd name="connsiteX40" fmla="*/ 4411606 w 4499468"/>
              <a:gd name="connsiteY40" fmla="*/ 1664107 h 5513991"/>
              <a:gd name="connsiteX41" fmla="*/ 4413117 w 4499468"/>
              <a:gd name="connsiteY41" fmla="*/ 1681560 h 5513991"/>
              <a:gd name="connsiteX42" fmla="*/ 4401647 w 4499468"/>
              <a:gd name="connsiteY42" fmla="*/ 1716455 h 5513991"/>
              <a:gd name="connsiteX43" fmla="*/ 4399587 w 4499468"/>
              <a:gd name="connsiteY43" fmla="*/ 1716581 h 5513991"/>
              <a:gd name="connsiteX44" fmla="*/ 4391089 w 4499468"/>
              <a:gd name="connsiteY44" fmla="*/ 1868666 h 5513991"/>
              <a:gd name="connsiteX45" fmla="*/ 4399780 w 4499468"/>
              <a:gd name="connsiteY45" fmla="*/ 1892828 h 5513991"/>
              <a:gd name="connsiteX46" fmla="*/ 4402058 w 4499468"/>
              <a:gd name="connsiteY46" fmla="*/ 1943047 h 5513991"/>
              <a:gd name="connsiteX47" fmla="*/ 4401177 w 4499468"/>
              <a:gd name="connsiteY47" fmla="*/ 1976676 h 5513991"/>
              <a:gd name="connsiteX48" fmla="*/ 4400715 w 4499468"/>
              <a:gd name="connsiteY48" fmla="*/ 1981536 h 5513991"/>
              <a:gd name="connsiteX49" fmla="*/ 4391595 w 4499468"/>
              <a:gd name="connsiteY49" fmla="*/ 2021434 h 5513991"/>
              <a:gd name="connsiteX50" fmla="*/ 4394860 w 4499468"/>
              <a:gd name="connsiteY50" fmla="*/ 2025379 h 5513991"/>
              <a:gd name="connsiteX51" fmla="*/ 4397701 w 4499468"/>
              <a:gd name="connsiteY51" fmla="*/ 2038196 h 5513991"/>
              <a:gd name="connsiteX52" fmla="*/ 4392960 w 4499468"/>
              <a:gd name="connsiteY52" fmla="*/ 2048781 h 5513991"/>
              <a:gd name="connsiteX53" fmla="*/ 4382776 w 4499468"/>
              <a:gd name="connsiteY53" fmla="*/ 2099011 h 5513991"/>
              <a:gd name="connsiteX54" fmla="*/ 4375445 w 4499468"/>
              <a:gd name="connsiteY54" fmla="*/ 2148592 h 5513991"/>
              <a:gd name="connsiteX55" fmla="*/ 4319362 w 4499468"/>
              <a:gd name="connsiteY55" fmla="*/ 3204925 h 5513991"/>
              <a:gd name="connsiteX56" fmla="*/ 4243956 w 4499468"/>
              <a:gd name="connsiteY56" fmla="*/ 5036659 h 5513991"/>
              <a:gd name="connsiteX57" fmla="*/ 4242847 w 4499468"/>
              <a:gd name="connsiteY57" fmla="*/ 5242987 h 5513991"/>
              <a:gd name="connsiteX58" fmla="*/ 4187554 w 4499468"/>
              <a:gd name="connsiteY58" fmla="*/ 5513970 h 5513991"/>
              <a:gd name="connsiteX59" fmla="*/ 298746 w 4499468"/>
              <a:gd name="connsiteY59" fmla="*/ 5249166 h 5513991"/>
              <a:gd name="connsiteX60" fmla="*/ 1462 w 4499468"/>
              <a:gd name="connsiteY60" fmla="*/ 5237777 h 5513991"/>
              <a:gd name="connsiteX61" fmla="*/ 7874 w 4499468"/>
              <a:gd name="connsiteY61" fmla="*/ 4977753 h 5513991"/>
              <a:gd name="connsiteX62" fmla="*/ 20715 w 4499468"/>
              <a:gd name="connsiteY62" fmla="*/ 4752822 h 5513991"/>
              <a:gd name="connsiteX63" fmla="*/ 222466 w 4499468"/>
              <a:gd name="connsiteY63" fmla="*/ 0 h 5513991"/>
              <a:gd name="connsiteX0" fmla="*/ 222466 w 4499468"/>
              <a:gd name="connsiteY0" fmla="*/ 0 h 5513991"/>
              <a:gd name="connsiteX1" fmla="*/ 3251633 w 4499468"/>
              <a:gd name="connsiteY1" fmla="*/ 153134 h 5513991"/>
              <a:gd name="connsiteX2" fmla="*/ 4080444 w 4499468"/>
              <a:gd name="connsiteY2" fmla="*/ 208242 h 5513991"/>
              <a:gd name="connsiteX3" fmla="*/ 4453638 w 4499468"/>
              <a:gd name="connsiteY3" fmla="*/ 228666 h 5513991"/>
              <a:gd name="connsiteX4" fmla="*/ 4481517 w 4499468"/>
              <a:gd name="connsiteY4" fmla="*/ 250471 h 5513991"/>
              <a:gd name="connsiteX5" fmla="*/ 4479743 w 4499468"/>
              <a:gd name="connsiteY5" fmla="*/ 282222 h 5513991"/>
              <a:gd name="connsiteX6" fmla="*/ 4482665 w 4499468"/>
              <a:gd name="connsiteY6" fmla="*/ 283939 h 5513991"/>
              <a:gd name="connsiteX7" fmla="*/ 4499091 w 4499468"/>
              <a:gd name="connsiteY7" fmla="*/ 315514 h 5513991"/>
              <a:gd name="connsiteX8" fmla="*/ 4476830 w 4499468"/>
              <a:gd name="connsiteY8" fmla="*/ 373160 h 5513991"/>
              <a:gd name="connsiteX9" fmla="*/ 4473342 w 4499468"/>
              <a:gd name="connsiteY9" fmla="*/ 396781 h 5513991"/>
              <a:gd name="connsiteX10" fmla="*/ 4468237 w 4499468"/>
              <a:gd name="connsiteY10" fmla="*/ 488120 h 5513991"/>
              <a:gd name="connsiteX11" fmla="*/ 4467587 w 4499468"/>
              <a:gd name="connsiteY11" fmla="*/ 534537 h 5513991"/>
              <a:gd name="connsiteX12" fmla="*/ 4464488 w 4499468"/>
              <a:gd name="connsiteY12" fmla="*/ 563001 h 5513991"/>
              <a:gd name="connsiteX13" fmla="*/ 4463819 w 4499468"/>
              <a:gd name="connsiteY13" fmla="*/ 567182 h 5513991"/>
              <a:gd name="connsiteX14" fmla="*/ 4450882 w 4499468"/>
              <a:gd name="connsiteY14" fmla="*/ 798696 h 5513991"/>
              <a:gd name="connsiteX15" fmla="*/ 4452595 w 4499468"/>
              <a:gd name="connsiteY15" fmla="*/ 803530 h 5513991"/>
              <a:gd name="connsiteX16" fmla="*/ 4450444 w 4499468"/>
              <a:gd name="connsiteY16" fmla="*/ 827361 h 5513991"/>
              <a:gd name="connsiteX17" fmla="*/ 4448844 w 4499468"/>
              <a:gd name="connsiteY17" fmla="*/ 835146 h 5513991"/>
              <a:gd name="connsiteX18" fmla="*/ 4442606 w 4499468"/>
              <a:gd name="connsiteY18" fmla="*/ 946777 h 5513991"/>
              <a:gd name="connsiteX19" fmla="*/ 4444683 w 4499468"/>
              <a:gd name="connsiteY19" fmla="*/ 947677 h 5513991"/>
              <a:gd name="connsiteX20" fmla="*/ 4448802 w 4499468"/>
              <a:gd name="connsiteY20" fmla="*/ 983859 h 5513991"/>
              <a:gd name="connsiteX21" fmla="*/ 4444004 w 4499468"/>
              <a:gd name="connsiteY21" fmla="*/ 1082386 h 5513991"/>
              <a:gd name="connsiteX22" fmla="*/ 4443899 w 4499468"/>
              <a:gd name="connsiteY22" fmla="*/ 1140681 h 5513991"/>
              <a:gd name="connsiteX23" fmla="*/ 4448202 w 4499468"/>
              <a:gd name="connsiteY23" fmla="*/ 1161797 h 5513991"/>
              <a:gd name="connsiteX24" fmla="*/ 4451292 w 4499468"/>
              <a:gd name="connsiteY24" fmla="*/ 1191979 h 5513991"/>
              <a:gd name="connsiteX25" fmla="*/ 4460109 w 4499468"/>
              <a:gd name="connsiteY25" fmla="*/ 1244449 h 5513991"/>
              <a:gd name="connsiteX26" fmla="*/ 4462386 w 4499468"/>
              <a:gd name="connsiteY26" fmla="*/ 1294666 h 5513991"/>
              <a:gd name="connsiteX27" fmla="*/ 4461506 w 4499468"/>
              <a:gd name="connsiteY27" fmla="*/ 1328296 h 5513991"/>
              <a:gd name="connsiteX28" fmla="*/ 4461043 w 4499468"/>
              <a:gd name="connsiteY28" fmla="*/ 1333156 h 5513991"/>
              <a:gd name="connsiteX29" fmla="*/ 4451924 w 4499468"/>
              <a:gd name="connsiteY29" fmla="*/ 1373054 h 5513991"/>
              <a:gd name="connsiteX30" fmla="*/ 4455188 w 4499468"/>
              <a:gd name="connsiteY30" fmla="*/ 1376999 h 5513991"/>
              <a:gd name="connsiteX31" fmla="*/ 4458030 w 4499468"/>
              <a:gd name="connsiteY31" fmla="*/ 1389816 h 5513991"/>
              <a:gd name="connsiteX32" fmla="*/ 4453289 w 4499468"/>
              <a:gd name="connsiteY32" fmla="*/ 1400401 h 5513991"/>
              <a:gd name="connsiteX33" fmla="*/ 4443105 w 4499468"/>
              <a:gd name="connsiteY33" fmla="*/ 1450629 h 5513991"/>
              <a:gd name="connsiteX34" fmla="*/ 4432208 w 4499468"/>
              <a:gd name="connsiteY34" fmla="*/ 1524330 h 5513991"/>
              <a:gd name="connsiteX35" fmla="*/ 4427327 w 4499468"/>
              <a:gd name="connsiteY35" fmla="*/ 1535289 h 5513991"/>
              <a:gd name="connsiteX36" fmla="*/ 4412899 w 4499468"/>
              <a:gd name="connsiteY36" fmla="*/ 1607363 h 5513991"/>
              <a:gd name="connsiteX37" fmla="*/ 4409184 w 4499468"/>
              <a:gd name="connsiteY37" fmla="*/ 1645395 h 5513991"/>
              <a:gd name="connsiteX38" fmla="*/ 4412844 w 4499468"/>
              <a:gd name="connsiteY38" fmla="*/ 1649850 h 5513991"/>
              <a:gd name="connsiteX39" fmla="*/ 4411194 w 4499468"/>
              <a:gd name="connsiteY39" fmla="*/ 1661048 h 5513991"/>
              <a:gd name="connsiteX40" fmla="*/ 4411606 w 4499468"/>
              <a:gd name="connsiteY40" fmla="*/ 1664107 h 5513991"/>
              <a:gd name="connsiteX41" fmla="*/ 4413117 w 4499468"/>
              <a:gd name="connsiteY41" fmla="*/ 1681560 h 5513991"/>
              <a:gd name="connsiteX42" fmla="*/ 4401647 w 4499468"/>
              <a:gd name="connsiteY42" fmla="*/ 1716455 h 5513991"/>
              <a:gd name="connsiteX43" fmla="*/ 4399587 w 4499468"/>
              <a:gd name="connsiteY43" fmla="*/ 1716581 h 5513991"/>
              <a:gd name="connsiteX44" fmla="*/ 4391089 w 4499468"/>
              <a:gd name="connsiteY44" fmla="*/ 1868666 h 5513991"/>
              <a:gd name="connsiteX45" fmla="*/ 4399780 w 4499468"/>
              <a:gd name="connsiteY45" fmla="*/ 1892828 h 5513991"/>
              <a:gd name="connsiteX46" fmla="*/ 4402058 w 4499468"/>
              <a:gd name="connsiteY46" fmla="*/ 1943047 h 5513991"/>
              <a:gd name="connsiteX47" fmla="*/ 4401177 w 4499468"/>
              <a:gd name="connsiteY47" fmla="*/ 1976676 h 5513991"/>
              <a:gd name="connsiteX48" fmla="*/ 4400715 w 4499468"/>
              <a:gd name="connsiteY48" fmla="*/ 1981536 h 5513991"/>
              <a:gd name="connsiteX49" fmla="*/ 4391595 w 4499468"/>
              <a:gd name="connsiteY49" fmla="*/ 2021434 h 5513991"/>
              <a:gd name="connsiteX50" fmla="*/ 4394860 w 4499468"/>
              <a:gd name="connsiteY50" fmla="*/ 2025379 h 5513991"/>
              <a:gd name="connsiteX51" fmla="*/ 4397701 w 4499468"/>
              <a:gd name="connsiteY51" fmla="*/ 2038196 h 5513991"/>
              <a:gd name="connsiteX52" fmla="*/ 4392960 w 4499468"/>
              <a:gd name="connsiteY52" fmla="*/ 2048781 h 5513991"/>
              <a:gd name="connsiteX53" fmla="*/ 4382776 w 4499468"/>
              <a:gd name="connsiteY53" fmla="*/ 2099011 h 5513991"/>
              <a:gd name="connsiteX54" fmla="*/ 4375445 w 4499468"/>
              <a:gd name="connsiteY54" fmla="*/ 2148592 h 5513991"/>
              <a:gd name="connsiteX55" fmla="*/ 4243956 w 4499468"/>
              <a:gd name="connsiteY55" fmla="*/ 5036659 h 5513991"/>
              <a:gd name="connsiteX56" fmla="*/ 4242847 w 4499468"/>
              <a:gd name="connsiteY56" fmla="*/ 5242987 h 5513991"/>
              <a:gd name="connsiteX57" fmla="*/ 4187554 w 4499468"/>
              <a:gd name="connsiteY57" fmla="*/ 5513970 h 5513991"/>
              <a:gd name="connsiteX58" fmla="*/ 298746 w 4499468"/>
              <a:gd name="connsiteY58" fmla="*/ 5249166 h 5513991"/>
              <a:gd name="connsiteX59" fmla="*/ 1462 w 4499468"/>
              <a:gd name="connsiteY59" fmla="*/ 5237777 h 5513991"/>
              <a:gd name="connsiteX60" fmla="*/ 7874 w 4499468"/>
              <a:gd name="connsiteY60" fmla="*/ 4977753 h 5513991"/>
              <a:gd name="connsiteX61" fmla="*/ 20715 w 4499468"/>
              <a:gd name="connsiteY61" fmla="*/ 4752822 h 5513991"/>
              <a:gd name="connsiteX62" fmla="*/ 222466 w 4499468"/>
              <a:gd name="connsiteY62" fmla="*/ 0 h 5513991"/>
              <a:gd name="connsiteX0" fmla="*/ 222466 w 4482665"/>
              <a:gd name="connsiteY0" fmla="*/ 0 h 5513991"/>
              <a:gd name="connsiteX1" fmla="*/ 3251633 w 4482665"/>
              <a:gd name="connsiteY1" fmla="*/ 153134 h 5513991"/>
              <a:gd name="connsiteX2" fmla="*/ 4080444 w 4482665"/>
              <a:gd name="connsiteY2" fmla="*/ 208242 h 5513991"/>
              <a:gd name="connsiteX3" fmla="*/ 4453638 w 4482665"/>
              <a:gd name="connsiteY3" fmla="*/ 228666 h 5513991"/>
              <a:gd name="connsiteX4" fmla="*/ 4481517 w 4482665"/>
              <a:gd name="connsiteY4" fmla="*/ 250471 h 5513991"/>
              <a:gd name="connsiteX5" fmla="*/ 4479743 w 4482665"/>
              <a:gd name="connsiteY5" fmla="*/ 282222 h 5513991"/>
              <a:gd name="connsiteX6" fmla="*/ 4482665 w 4482665"/>
              <a:gd name="connsiteY6" fmla="*/ 283939 h 5513991"/>
              <a:gd name="connsiteX7" fmla="*/ 4476830 w 4482665"/>
              <a:gd name="connsiteY7" fmla="*/ 373160 h 5513991"/>
              <a:gd name="connsiteX8" fmla="*/ 4473342 w 4482665"/>
              <a:gd name="connsiteY8" fmla="*/ 396781 h 5513991"/>
              <a:gd name="connsiteX9" fmla="*/ 4468237 w 4482665"/>
              <a:gd name="connsiteY9" fmla="*/ 488120 h 5513991"/>
              <a:gd name="connsiteX10" fmla="*/ 4467587 w 4482665"/>
              <a:gd name="connsiteY10" fmla="*/ 534537 h 5513991"/>
              <a:gd name="connsiteX11" fmla="*/ 4464488 w 4482665"/>
              <a:gd name="connsiteY11" fmla="*/ 563001 h 5513991"/>
              <a:gd name="connsiteX12" fmla="*/ 4463819 w 4482665"/>
              <a:gd name="connsiteY12" fmla="*/ 567182 h 5513991"/>
              <a:gd name="connsiteX13" fmla="*/ 4450882 w 4482665"/>
              <a:gd name="connsiteY13" fmla="*/ 798696 h 5513991"/>
              <a:gd name="connsiteX14" fmla="*/ 4452595 w 4482665"/>
              <a:gd name="connsiteY14" fmla="*/ 803530 h 5513991"/>
              <a:gd name="connsiteX15" fmla="*/ 4450444 w 4482665"/>
              <a:gd name="connsiteY15" fmla="*/ 827361 h 5513991"/>
              <a:gd name="connsiteX16" fmla="*/ 4448844 w 4482665"/>
              <a:gd name="connsiteY16" fmla="*/ 835146 h 5513991"/>
              <a:gd name="connsiteX17" fmla="*/ 4442606 w 4482665"/>
              <a:gd name="connsiteY17" fmla="*/ 946777 h 5513991"/>
              <a:gd name="connsiteX18" fmla="*/ 4444683 w 4482665"/>
              <a:gd name="connsiteY18" fmla="*/ 947677 h 5513991"/>
              <a:gd name="connsiteX19" fmla="*/ 4448802 w 4482665"/>
              <a:gd name="connsiteY19" fmla="*/ 983859 h 5513991"/>
              <a:gd name="connsiteX20" fmla="*/ 4444004 w 4482665"/>
              <a:gd name="connsiteY20" fmla="*/ 1082386 h 5513991"/>
              <a:gd name="connsiteX21" fmla="*/ 4443899 w 4482665"/>
              <a:gd name="connsiteY21" fmla="*/ 1140681 h 5513991"/>
              <a:gd name="connsiteX22" fmla="*/ 4448202 w 4482665"/>
              <a:gd name="connsiteY22" fmla="*/ 1161797 h 5513991"/>
              <a:gd name="connsiteX23" fmla="*/ 4451292 w 4482665"/>
              <a:gd name="connsiteY23" fmla="*/ 1191979 h 5513991"/>
              <a:gd name="connsiteX24" fmla="*/ 4460109 w 4482665"/>
              <a:gd name="connsiteY24" fmla="*/ 1244449 h 5513991"/>
              <a:gd name="connsiteX25" fmla="*/ 4462386 w 4482665"/>
              <a:gd name="connsiteY25" fmla="*/ 1294666 h 5513991"/>
              <a:gd name="connsiteX26" fmla="*/ 4461506 w 4482665"/>
              <a:gd name="connsiteY26" fmla="*/ 1328296 h 5513991"/>
              <a:gd name="connsiteX27" fmla="*/ 4461043 w 4482665"/>
              <a:gd name="connsiteY27" fmla="*/ 1333156 h 5513991"/>
              <a:gd name="connsiteX28" fmla="*/ 4451924 w 4482665"/>
              <a:gd name="connsiteY28" fmla="*/ 1373054 h 5513991"/>
              <a:gd name="connsiteX29" fmla="*/ 4455188 w 4482665"/>
              <a:gd name="connsiteY29" fmla="*/ 1376999 h 5513991"/>
              <a:gd name="connsiteX30" fmla="*/ 4458030 w 4482665"/>
              <a:gd name="connsiteY30" fmla="*/ 1389816 h 5513991"/>
              <a:gd name="connsiteX31" fmla="*/ 4453289 w 4482665"/>
              <a:gd name="connsiteY31" fmla="*/ 1400401 h 5513991"/>
              <a:gd name="connsiteX32" fmla="*/ 4443105 w 4482665"/>
              <a:gd name="connsiteY32" fmla="*/ 1450629 h 5513991"/>
              <a:gd name="connsiteX33" fmla="*/ 4432208 w 4482665"/>
              <a:gd name="connsiteY33" fmla="*/ 1524330 h 5513991"/>
              <a:gd name="connsiteX34" fmla="*/ 4427327 w 4482665"/>
              <a:gd name="connsiteY34" fmla="*/ 1535289 h 5513991"/>
              <a:gd name="connsiteX35" fmla="*/ 4412899 w 4482665"/>
              <a:gd name="connsiteY35" fmla="*/ 1607363 h 5513991"/>
              <a:gd name="connsiteX36" fmla="*/ 4409184 w 4482665"/>
              <a:gd name="connsiteY36" fmla="*/ 1645395 h 5513991"/>
              <a:gd name="connsiteX37" fmla="*/ 4412844 w 4482665"/>
              <a:gd name="connsiteY37" fmla="*/ 1649850 h 5513991"/>
              <a:gd name="connsiteX38" fmla="*/ 4411194 w 4482665"/>
              <a:gd name="connsiteY38" fmla="*/ 1661048 h 5513991"/>
              <a:gd name="connsiteX39" fmla="*/ 4411606 w 4482665"/>
              <a:gd name="connsiteY39" fmla="*/ 1664107 h 5513991"/>
              <a:gd name="connsiteX40" fmla="*/ 4413117 w 4482665"/>
              <a:gd name="connsiteY40" fmla="*/ 1681560 h 5513991"/>
              <a:gd name="connsiteX41" fmla="*/ 4401647 w 4482665"/>
              <a:gd name="connsiteY41" fmla="*/ 1716455 h 5513991"/>
              <a:gd name="connsiteX42" fmla="*/ 4399587 w 4482665"/>
              <a:gd name="connsiteY42" fmla="*/ 1716581 h 5513991"/>
              <a:gd name="connsiteX43" fmla="*/ 4391089 w 4482665"/>
              <a:gd name="connsiteY43" fmla="*/ 1868666 h 5513991"/>
              <a:gd name="connsiteX44" fmla="*/ 4399780 w 4482665"/>
              <a:gd name="connsiteY44" fmla="*/ 1892828 h 5513991"/>
              <a:gd name="connsiteX45" fmla="*/ 4402058 w 4482665"/>
              <a:gd name="connsiteY45" fmla="*/ 1943047 h 5513991"/>
              <a:gd name="connsiteX46" fmla="*/ 4401177 w 4482665"/>
              <a:gd name="connsiteY46" fmla="*/ 1976676 h 5513991"/>
              <a:gd name="connsiteX47" fmla="*/ 4400715 w 4482665"/>
              <a:gd name="connsiteY47" fmla="*/ 1981536 h 5513991"/>
              <a:gd name="connsiteX48" fmla="*/ 4391595 w 4482665"/>
              <a:gd name="connsiteY48" fmla="*/ 2021434 h 5513991"/>
              <a:gd name="connsiteX49" fmla="*/ 4394860 w 4482665"/>
              <a:gd name="connsiteY49" fmla="*/ 2025379 h 5513991"/>
              <a:gd name="connsiteX50" fmla="*/ 4397701 w 4482665"/>
              <a:gd name="connsiteY50" fmla="*/ 2038196 h 5513991"/>
              <a:gd name="connsiteX51" fmla="*/ 4392960 w 4482665"/>
              <a:gd name="connsiteY51" fmla="*/ 2048781 h 5513991"/>
              <a:gd name="connsiteX52" fmla="*/ 4382776 w 4482665"/>
              <a:gd name="connsiteY52" fmla="*/ 2099011 h 5513991"/>
              <a:gd name="connsiteX53" fmla="*/ 4375445 w 4482665"/>
              <a:gd name="connsiteY53" fmla="*/ 2148592 h 5513991"/>
              <a:gd name="connsiteX54" fmla="*/ 4243956 w 4482665"/>
              <a:gd name="connsiteY54" fmla="*/ 5036659 h 5513991"/>
              <a:gd name="connsiteX55" fmla="*/ 4242847 w 4482665"/>
              <a:gd name="connsiteY55" fmla="*/ 5242987 h 5513991"/>
              <a:gd name="connsiteX56" fmla="*/ 4187554 w 4482665"/>
              <a:gd name="connsiteY56" fmla="*/ 5513970 h 5513991"/>
              <a:gd name="connsiteX57" fmla="*/ 298746 w 4482665"/>
              <a:gd name="connsiteY57" fmla="*/ 5249166 h 5513991"/>
              <a:gd name="connsiteX58" fmla="*/ 1462 w 4482665"/>
              <a:gd name="connsiteY58" fmla="*/ 5237777 h 5513991"/>
              <a:gd name="connsiteX59" fmla="*/ 7874 w 4482665"/>
              <a:gd name="connsiteY59" fmla="*/ 4977753 h 5513991"/>
              <a:gd name="connsiteX60" fmla="*/ 20715 w 4482665"/>
              <a:gd name="connsiteY60" fmla="*/ 4752822 h 5513991"/>
              <a:gd name="connsiteX61" fmla="*/ 222466 w 4482665"/>
              <a:gd name="connsiteY61" fmla="*/ 0 h 5513991"/>
              <a:gd name="connsiteX0" fmla="*/ 222466 w 4481517"/>
              <a:gd name="connsiteY0" fmla="*/ 0 h 5513991"/>
              <a:gd name="connsiteX1" fmla="*/ 3251633 w 4481517"/>
              <a:gd name="connsiteY1" fmla="*/ 153134 h 5513991"/>
              <a:gd name="connsiteX2" fmla="*/ 4080444 w 4481517"/>
              <a:gd name="connsiteY2" fmla="*/ 208242 h 5513991"/>
              <a:gd name="connsiteX3" fmla="*/ 4453638 w 4481517"/>
              <a:gd name="connsiteY3" fmla="*/ 228666 h 5513991"/>
              <a:gd name="connsiteX4" fmla="*/ 4481517 w 4481517"/>
              <a:gd name="connsiteY4" fmla="*/ 250471 h 5513991"/>
              <a:gd name="connsiteX5" fmla="*/ 4479743 w 4481517"/>
              <a:gd name="connsiteY5" fmla="*/ 282222 h 5513991"/>
              <a:gd name="connsiteX6" fmla="*/ 4476830 w 4481517"/>
              <a:gd name="connsiteY6" fmla="*/ 373160 h 5513991"/>
              <a:gd name="connsiteX7" fmla="*/ 4473342 w 4481517"/>
              <a:gd name="connsiteY7" fmla="*/ 396781 h 5513991"/>
              <a:gd name="connsiteX8" fmla="*/ 4468237 w 4481517"/>
              <a:gd name="connsiteY8" fmla="*/ 488120 h 5513991"/>
              <a:gd name="connsiteX9" fmla="*/ 4467587 w 4481517"/>
              <a:gd name="connsiteY9" fmla="*/ 534537 h 5513991"/>
              <a:gd name="connsiteX10" fmla="*/ 4464488 w 4481517"/>
              <a:gd name="connsiteY10" fmla="*/ 563001 h 5513991"/>
              <a:gd name="connsiteX11" fmla="*/ 4463819 w 4481517"/>
              <a:gd name="connsiteY11" fmla="*/ 567182 h 5513991"/>
              <a:gd name="connsiteX12" fmla="*/ 4450882 w 4481517"/>
              <a:gd name="connsiteY12" fmla="*/ 798696 h 5513991"/>
              <a:gd name="connsiteX13" fmla="*/ 4452595 w 4481517"/>
              <a:gd name="connsiteY13" fmla="*/ 803530 h 5513991"/>
              <a:gd name="connsiteX14" fmla="*/ 4450444 w 4481517"/>
              <a:gd name="connsiteY14" fmla="*/ 827361 h 5513991"/>
              <a:gd name="connsiteX15" fmla="*/ 4448844 w 4481517"/>
              <a:gd name="connsiteY15" fmla="*/ 835146 h 5513991"/>
              <a:gd name="connsiteX16" fmla="*/ 4442606 w 4481517"/>
              <a:gd name="connsiteY16" fmla="*/ 946777 h 5513991"/>
              <a:gd name="connsiteX17" fmla="*/ 4444683 w 4481517"/>
              <a:gd name="connsiteY17" fmla="*/ 947677 h 5513991"/>
              <a:gd name="connsiteX18" fmla="*/ 4448802 w 4481517"/>
              <a:gd name="connsiteY18" fmla="*/ 983859 h 5513991"/>
              <a:gd name="connsiteX19" fmla="*/ 4444004 w 4481517"/>
              <a:gd name="connsiteY19" fmla="*/ 1082386 h 5513991"/>
              <a:gd name="connsiteX20" fmla="*/ 4443899 w 4481517"/>
              <a:gd name="connsiteY20" fmla="*/ 1140681 h 5513991"/>
              <a:gd name="connsiteX21" fmla="*/ 4448202 w 4481517"/>
              <a:gd name="connsiteY21" fmla="*/ 1161797 h 5513991"/>
              <a:gd name="connsiteX22" fmla="*/ 4451292 w 4481517"/>
              <a:gd name="connsiteY22" fmla="*/ 1191979 h 5513991"/>
              <a:gd name="connsiteX23" fmla="*/ 4460109 w 4481517"/>
              <a:gd name="connsiteY23" fmla="*/ 1244449 h 5513991"/>
              <a:gd name="connsiteX24" fmla="*/ 4462386 w 4481517"/>
              <a:gd name="connsiteY24" fmla="*/ 1294666 h 5513991"/>
              <a:gd name="connsiteX25" fmla="*/ 4461506 w 4481517"/>
              <a:gd name="connsiteY25" fmla="*/ 1328296 h 5513991"/>
              <a:gd name="connsiteX26" fmla="*/ 4461043 w 4481517"/>
              <a:gd name="connsiteY26" fmla="*/ 1333156 h 5513991"/>
              <a:gd name="connsiteX27" fmla="*/ 4451924 w 4481517"/>
              <a:gd name="connsiteY27" fmla="*/ 1373054 h 5513991"/>
              <a:gd name="connsiteX28" fmla="*/ 4455188 w 4481517"/>
              <a:gd name="connsiteY28" fmla="*/ 1376999 h 5513991"/>
              <a:gd name="connsiteX29" fmla="*/ 4458030 w 4481517"/>
              <a:gd name="connsiteY29" fmla="*/ 1389816 h 5513991"/>
              <a:gd name="connsiteX30" fmla="*/ 4453289 w 4481517"/>
              <a:gd name="connsiteY30" fmla="*/ 1400401 h 5513991"/>
              <a:gd name="connsiteX31" fmla="*/ 4443105 w 4481517"/>
              <a:gd name="connsiteY31" fmla="*/ 1450629 h 5513991"/>
              <a:gd name="connsiteX32" fmla="*/ 4432208 w 4481517"/>
              <a:gd name="connsiteY32" fmla="*/ 1524330 h 5513991"/>
              <a:gd name="connsiteX33" fmla="*/ 4427327 w 4481517"/>
              <a:gd name="connsiteY33" fmla="*/ 1535289 h 5513991"/>
              <a:gd name="connsiteX34" fmla="*/ 4412899 w 4481517"/>
              <a:gd name="connsiteY34" fmla="*/ 1607363 h 5513991"/>
              <a:gd name="connsiteX35" fmla="*/ 4409184 w 4481517"/>
              <a:gd name="connsiteY35" fmla="*/ 1645395 h 5513991"/>
              <a:gd name="connsiteX36" fmla="*/ 4412844 w 4481517"/>
              <a:gd name="connsiteY36" fmla="*/ 1649850 h 5513991"/>
              <a:gd name="connsiteX37" fmla="*/ 4411194 w 4481517"/>
              <a:gd name="connsiteY37" fmla="*/ 1661048 h 5513991"/>
              <a:gd name="connsiteX38" fmla="*/ 4411606 w 4481517"/>
              <a:gd name="connsiteY38" fmla="*/ 1664107 h 5513991"/>
              <a:gd name="connsiteX39" fmla="*/ 4413117 w 4481517"/>
              <a:gd name="connsiteY39" fmla="*/ 1681560 h 5513991"/>
              <a:gd name="connsiteX40" fmla="*/ 4401647 w 4481517"/>
              <a:gd name="connsiteY40" fmla="*/ 1716455 h 5513991"/>
              <a:gd name="connsiteX41" fmla="*/ 4399587 w 4481517"/>
              <a:gd name="connsiteY41" fmla="*/ 1716581 h 5513991"/>
              <a:gd name="connsiteX42" fmla="*/ 4391089 w 4481517"/>
              <a:gd name="connsiteY42" fmla="*/ 1868666 h 5513991"/>
              <a:gd name="connsiteX43" fmla="*/ 4399780 w 4481517"/>
              <a:gd name="connsiteY43" fmla="*/ 1892828 h 5513991"/>
              <a:gd name="connsiteX44" fmla="*/ 4402058 w 4481517"/>
              <a:gd name="connsiteY44" fmla="*/ 1943047 h 5513991"/>
              <a:gd name="connsiteX45" fmla="*/ 4401177 w 4481517"/>
              <a:gd name="connsiteY45" fmla="*/ 1976676 h 5513991"/>
              <a:gd name="connsiteX46" fmla="*/ 4400715 w 4481517"/>
              <a:gd name="connsiteY46" fmla="*/ 1981536 h 5513991"/>
              <a:gd name="connsiteX47" fmla="*/ 4391595 w 4481517"/>
              <a:gd name="connsiteY47" fmla="*/ 2021434 h 5513991"/>
              <a:gd name="connsiteX48" fmla="*/ 4394860 w 4481517"/>
              <a:gd name="connsiteY48" fmla="*/ 2025379 h 5513991"/>
              <a:gd name="connsiteX49" fmla="*/ 4397701 w 4481517"/>
              <a:gd name="connsiteY49" fmla="*/ 2038196 h 5513991"/>
              <a:gd name="connsiteX50" fmla="*/ 4392960 w 4481517"/>
              <a:gd name="connsiteY50" fmla="*/ 2048781 h 5513991"/>
              <a:gd name="connsiteX51" fmla="*/ 4382776 w 4481517"/>
              <a:gd name="connsiteY51" fmla="*/ 2099011 h 5513991"/>
              <a:gd name="connsiteX52" fmla="*/ 4375445 w 4481517"/>
              <a:gd name="connsiteY52" fmla="*/ 2148592 h 5513991"/>
              <a:gd name="connsiteX53" fmla="*/ 4243956 w 4481517"/>
              <a:gd name="connsiteY53" fmla="*/ 5036659 h 5513991"/>
              <a:gd name="connsiteX54" fmla="*/ 4242847 w 4481517"/>
              <a:gd name="connsiteY54" fmla="*/ 5242987 h 5513991"/>
              <a:gd name="connsiteX55" fmla="*/ 4187554 w 4481517"/>
              <a:gd name="connsiteY55" fmla="*/ 5513970 h 5513991"/>
              <a:gd name="connsiteX56" fmla="*/ 298746 w 4481517"/>
              <a:gd name="connsiteY56" fmla="*/ 5249166 h 5513991"/>
              <a:gd name="connsiteX57" fmla="*/ 1462 w 4481517"/>
              <a:gd name="connsiteY57" fmla="*/ 5237777 h 5513991"/>
              <a:gd name="connsiteX58" fmla="*/ 7874 w 4481517"/>
              <a:gd name="connsiteY58" fmla="*/ 4977753 h 5513991"/>
              <a:gd name="connsiteX59" fmla="*/ 20715 w 4481517"/>
              <a:gd name="connsiteY59" fmla="*/ 4752822 h 5513991"/>
              <a:gd name="connsiteX60" fmla="*/ 222466 w 4481517"/>
              <a:gd name="connsiteY60"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73342 w 4482645"/>
              <a:gd name="connsiteY6" fmla="*/ 396781 h 5513991"/>
              <a:gd name="connsiteX7" fmla="*/ 4468237 w 4482645"/>
              <a:gd name="connsiteY7" fmla="*/ 488120 h 5513991"/>
              <a:gd name="connsiteX8" fmla="*/ 4467587 w 4482645"/>
              <a:gd name="connsiteY8" fmla="*/ 534537 h 5513991"/>
              <a:gd name="connsiteX9" fmla="*/ 4464488 w 4482645"/>
              <a:gd name="connsiteY9" fmla="*/ 563001 h 5513991"/>
              <a:gd name="connsiteX10" fmla="*/ 4463819 w 4482645"/>
              <a:gd name="connsiteY10" fmla="*/ 567182 h 5513991"/>
              <a:gd name="connsiteX11" fmla="*/ 4450882 w 4482645"/>
              <a:gd name="connsiteY11" fmla="*/ 798696 h 5513991"/>
              <a:gd name="connsiteX12" fmla="*/ 4452595 w 4482645"/>
              <a:gd name="connsiteY12" fmla="*/ 803530 h 5513991"/>
              <a:gd name="connsiteX13" fmla="*/ 4450444 w 4482645"/>
              <a:gd name="connsiteY13" fmla="*/ 827361 h 5513991"/>
              <a:gd name="connsiteX14" fmla="*/ 4448844 w 4482645"/>
              <a:gd name="connsiteY14" fmla="*/ 835146 h 5513991"/>
              <a:gd name="connsiteX15" fmla="*/ 4442606 w 4482645"/>
              <a:gd name="connsiteY15" fmla="*/ 946777 h 5513991"/>
              <a:gd name="connsiteX16" fmla="*/ 4444683 w 4482645"/>
              <a:gd name="connsiteY16" fmla="*/ 947677 h 5513991"/>
              <a:gd name="connsiteX17" fmla="*/ 4448802 w 4482645"/>
              <a:gd name="connsiteY17" fmla="*/ 983859 h 5513991"/>
              <a:gd name="connsiteX18" fmla="*/ 4444004 w 4482645"/>
              <a:gd name="connsiteY18" fmla="*/ 1082386 h 5513991"/>
              <a:gd name="connsiteX19" fmla="*/ 4443899 w 4482645"/>
              <a:gd name="connsiteY19" fmla="*/ 1140681 h 5513991"/>
              <a:gd name="connsiteX20" fmla="*/ 4448202 w 4482645"/>
              <a:gd name="connsiteY20" fmla="*/ 1161797 h 5513991"/>
              <a:gd name="connsiteX21" fmla="*/ 4451292 w 4482645"/>
              <a:gd name="connsiteY21" fmla="*/ 1191979 h 5513991"/>
              <a:gd name="connsiteX22" fmla="*/ 4460109 w 4482645"/>
              <a:gd name="connsiteY22" fmla="*/ 1244449 h 5513991"/>
              <a:gd name="connsiteX23" fmla="*/ 4462386 w 4482645"/>
              <a:gd name="connsiteY23" fmla="*/ 1294666 h 5513991"/>
              <a:gd name="connsiteX24" fmla="*/ 4461506 w 4482645"/>
              <a:gd name="connsiteY24" fmla="*/ 1328296 h 5513991"/>
              <a:gd name="connsiteX25" fmla="*/ 4461043 w 4482645"/>
              <a:gd name="connsiteY25" fmla="*/ 1333156 h 5513991"/>
              <a:gd name="connsiteX26" fmla="*/ 4451924 w 4482645"/>
              <a:gd name="connsiteY26" fmla="*/ 1373054 h 5513991"/>
              <a:gd name="connsiteX27" fmla="*/ 4455188 w 4482645"/>
              <a:gd name="connsiteY27" fmla="*/ 1376999 h 5513991"/>
              <a:gd name="connsiteX28" fmla="*/ 4458030 w 4482645"/>
              <a:gd name="connsiteY28" fmla="*/ 1389816 h 5513991"/>
              <a:gd name="connsiteX29" fmla="*/ 4453289 w 4482645"/>
              <a:gd name="connsiteY29" fmla="*/ 1400401 h 5513991"/>
              <a:gd name="connsiteX30" fmla="*/ 4443105 w 4482645"/>
              <a:gd name="connsiteY30" fmla="*/ 1450629 h 5513991"/>
              <a:gd name="connsiteX31" fmla="*/ 4432208 w 4482645"/>
              <a:gd name="connsiteY31" fmla="*/ 1524330 h 5513991"/>
              <a:gd name="connsiteX32" fmla="*/ 4427327 w 4482645"/>
              <a:gd name="connsiteY32" fmla="*/ 1535289 h 5513991"/>
              <a:gd name="connsiteX33" fmla="*/ 4412899 w 4482645"/>
              <a:gd name="connsiteY33" fmla="*/ 1607363 h 5513991"/>
              <a:gd name="connsiteX34" fmla="*/ 4409184 w 4482645"/>
              <a:gd name="connsiteY34" fmla="*/ 1645395 h 5513991"/>
              <a:gd name="connsiteX35" fmla="*/ 4412844 w 4482645"/>
              <a:gd name="connsiteY35" fmla="*/ 1649850 h 5513991"/>
              <a:gd name="connsiteX36" fmla="*/ 4411194 w 4482645"/>
              <a:gd name="connsiteY36" fmla="*/ 1661048 h 5513991"/>
              <a:gd name="connsiteX37" fmla="*/ 4411606 w 4482645"/>
              <a:gd name="connsiteY37" fmla="*/ 1664107 h 5513991"/>
              <a:gd name="connsiteX38" fmla="*/ 4413117 w 4482645"/>
              <a:gd name="connsiteY38" fmla="*/ 1681560 h 5513991"/>
              <a:gd name="connsiteX39" fmla="*/ 4401647 w 4482645"/>
              <a:gd name="connsiteY39" fmla="*/ 1716455 h 5513991"/>
              <a:gd name="connsiteX40" fmla="*/ 4399587 w 4482645"/>
              <a:gd name="connsiteY40" fmla="*/ 1716581 h 5513991"/>
              <a:gd name="connsiteX41" fmla="*/ 4391089 w 4482645"/>
              <a:gd name="connsiteY41" fmla="*/ 1868666 h 5513991"/>
              <a:gd name="connsiteX42" fmla="*/ 4399780 w 4482645"/>
              <a:gd name="connsiteY42" fmla="*/ 1892828 h 5513991"/>
              <a:gd name="connsiteX43" fmla="*/ 4402058 w 4482645"/>
              <a:gd name="connsiteY43" fmla="*/ 1943047 h 5513991"/>
              <a:gd name="connsiteX44" fmla="*/ 4401177 w 4482645"/>
              <a:gd name="connsiteY44" fmla="*/ 1976676 h 5513991"/>
              <a:gd name="connsiteX45" fmla="*/ 4400715 w 4482645"/>
              <a:gd name="connsiteY45" fmla="*/ 1981536 h 5513991"/>
              <a:gd name="connsiteX46" fmla="*/ 4391595 w 4482645"/>
              <a:gd name="connsiteY46" fmla="*/ 2021434 h 5513991"/>
              <a:gd name="connsiteX47" fmla="*/ 4394860 w 4482645"/>
              <a:gd name="connsiteY47" fmla="*/ 2025379 h 5513991"/>
              <a:gd name="connsiteX48" fmla="*/ 4397701 w 4482645"/>
              <a:gd name="connsiteY48" fmla="*/ 2038196 h 5513991"/>
              <a:gd name="connsiteX49" fmla="*/ 4392960 w 4482645"/>
              <a:gd name="connsiteY49" fmla="*/ 2048781 h 5513991"/>
              <a:gd name="connsiteX50" fmla="*/ 4382776 w 4482645"/>
              <a:gd name="connsiteY50" fmla="*/ 2099011 h 5513991"/>
              <a:gd name="connsiteX51" fmla="*/ 4375445 w 4482645"/>
              <a:gd name="connsiteY51" fmla="*/ 2148592 h 5513991"/>
              <a:gd name="connsiteX52" fmla="*/ 4243956 w 4482645"/>
              <a:gd name="connsiteY52" fmla="*/ 5036659 h 5513991"/>
              <a:gd name="connsiteX53" fmla="*/ 4242847 w 4482645"/>
              <a:gd name="connsiteY53" fmla="*/ 5242987 h 5513991"/>
              <a:gd name="connsiteX54" fmla="*/ 4187554 w 4482645"/>
              <a:gd name="connsiteY54" fmla="*/ 5513970 h 5513991"/>
              <a:gd name="connsiteX55" fmla="*/ 298746 w 4482645"/>
              <a:gd name="connsiteY55" fmla="*/ 5249166 h 5513991"/>
              <a:gd name="connsiteX56" fmla="*/ 1462 w 4482645"/>
              <a:gd name="connsiteY56" fmla="*/ 5237777 h 5513991"/>
              <a:gd name="connsiteX57" fmla="*/ 7874 w 4482645"/>
              <a:gd name="connsiteY57" fmla="*/ 4977753 h 5513991"/>
              <a:gd name="connsiteX58" fmla="*/ 20715 w 4482645"/>
              <a:gd name="connsiteY58" fmla="*/ 4752822 h 5513991"/>
              <a:gd name="connsiteX59" fmla="*/ 222466 w 4482645"/>
              <a:gd name="connsiteY59"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64488 w 4482645"/>
              <a:gd name="connsiteY8" fmla="*/ 563001 h 5513991"/>
              <a:gd name="connsiteX9" fmla="*/ 4463819 w 4482645"/>
              <a:gd name="connsiteY9" fmla="*/ 567182 h 5513991"/>
              <a:gd name="connsiteX10" fmla="*/ 4450882 w 4482645"/>
              <a:gd name="connsiteY10" fmla="*/ 798696 h 5513991"/>
              <a:gd name="connsiteX11" fmla="*/ 4452595 w 4482645"/>
              <a:gd name="connsiteY11" fmla="*/ 803530 h 5513991"/>
              <a:gd name="connsiteX12" fmla="*/ 4450444 w 4482645"/>
              <a:gd name="connsiteY12" fmla="*/ 827361 h 5513991"/>
              <a:gd name="connsiteX13" fmla="*/ 4448844 w 4482645"/>
              <a:gd name="connsiteY13" fmla="*/ 835146 h 5513991"/>
              <a:gd name="connsiteX14" fmla="*/ 4442606 w 4482645"/>
              <a:gd name="connsiteY14" fmla="*/ 946777 h 5513991"/>
              <a:gd name="connsiteX15" fmla="*/ 4444683 w 4482645"/>
              <a:gd name="connsiteY15" fmla="*/ 947677 h 5513991"/>
              <a:gd name="connsiteX16" fmla="*/ 4448802 w 4482645"/>
              <a:gd name="connsiteY16" fmla="*/ 983859 h 5513991"/>
              <a:gd name="connsiteX17" fmla="*/ 4444004 w 4482645"/>
              <a:gd name="connsiteY17" fmla="*/ 1082386 h 5513991"/>
              <a:gd name="connsiteX18" fmla="*/ 4443899 w 4482645"/>
              <a:gd name="connsiteY18" fmla="*/ 1140681 h 5513991"/>
              <a:gd name="connsiteX19" fmla="*/ 4448202 w 4482645"/>
              <a:gd name="connsiteY19" fmla="*/ 1161797 h 5513991"/>
              <a:gd name="connsiteX20" fmla="*/ 4451292 w 4482645"/>
              <a:gd name="connsiteY20" fmla="*/ 1191979 h 5513991"/>
              <a:gd name="connsiteX21" fmla="*/ 4460109 w 4482645"/>
              <a:gd name="connsiteY21" fmla="*/ 1244449 h 5513991"/>
              <a:gd name="connsiteX22" fmla="*/ 4462386 w 4482645"/>
              <a:gd name="connsiteY22" fmla="*/ 1294666 h 5513991"/>
              <a:gd name="connsiteX23" fmla="*/ 4461506 w 4482645"/>
              <a:gd name="connsiteY23" fmla="*/ 1328296 h 5513991"/>
              <a:gd name="connsiteX24" fmla="*/ 4461043 w 4482645"/>
              <a:gd name="connsiteY24" fmla="*/ 1333156 h 5513991"/>
              <a:gd name="connsiteX25" fmla="*/ 4451924 w 4482645"/>
              <a:gd name="connsiteY25" fmla="*/ 1373054 h 5513991"/>
              <a:gd name="connsiteX26" fmla="*/ 4455188 w 4482645"/>
              <a:gd name="connsiteY26" fmla="*/ 1376999 h 5513991"/>
              <a:gd name="connsiteX27" fmla="*/ 4458030 w 4482645"/>
              <a:gd name="connsiteY27" fmla="*/ 1389816 h 5513991"/>
              <a:gd name="connsiteX28" fmla="*/ 4453289 w 4482645"/>
              <a:gd name="connsiteY28" fmla="*/ 1400401 h 5513991"/>
              <a:gd name="connsiteX29" fmla="*/ 4443105 w 4482645"/>
              <a:gd name="connsiteY29" fmla="*/ 1450629 h 5513991"/>
              <a:gd name="connsiteX30" fmla="*/ 4432208 w 4482645"/>
              <a:gd name="connsiteY30" fmla="*/ 1524330 h 5513991"/>
              <a:gd name="connsiteX31" fmla="*/ 4427327 w 4482645"/>
              <a:gd name="connsiteY31" fmla="*/ 1535289 h 5513991"/>
              <a:gd name="connsiteX32" fmla="*/ 4412899 w 4482645"/>
              <a:gd name="connsiteY32" fmla="*/ 1607363 h 5513991"/>
              <a:gd name="connsiteX33" fmla="*/ 4409184 w 4482645"/>
              <a:gd name="connsiteY33" fmla="*/ 1645395 h 5513991"/>
              <a:gd name="connsiteX34" fmla="*/ 4412844 w 4482645"/>
              <a:gd name="connsiteY34" fmla="*/ 1649850 h 5513991"/>
              <a:gd name="connsiteX35" fmla="*/ 4411194 w 4482645"/>
              <a:gd name="connsiteY35" fmla="*/ 1661048 h 5513991"/>
              <a:gd name="connsiteX36" fmla="*/ 4411606 w 4482645"/>
              <a:gd name="connsiteY36" fmla="*/ 1664107 h 5513991"/>
              <a:gd name="connsiteX37" fmla="*/ 4413117 w 4482645"/>
              <a:gd name="connsiteY37" fmla="*/ 1681560 h 5513991"/>
              <a:gd name="connsiteX38" fmla="*/ 4401647 w 4482645"/>
              <a:gd name="connsiteY38" fmla="*/ 1716455 h 5513991"/>
              <a:gd name="connsiteX39" fmla="*/ 4399587 w 4482645"/>
              <a:gd name="connsiteY39" fmla="*/ 1716581 h 5513991"/>
              <a:gd name="connsiteX40" fmla="*/ 4391089 w 4482645"/>
              <a:gd name="connsiteY40" fmla="*/ 1868666 h 5513991"/>
              <a:gd name="connsiteX41" fmla="*/ 4399780 w 4482645"/>
              <a:gd name="connsiteY41" fmla="*/ 1892828 h 5513991"/>
              <a:gd name="connsiteX42" fmla="*/ 4402058 w 4482645"/>
              <a:gd name="connsiteY42" fmla="*/ 1943047 h 5513991"/>
              <a:gd name="connsiteX43" fmla="*/ 4401177 w 4482645"/>
              <a:gd name="connsiteY43" fmla="*/ 1976676 h 5513991"/>
              <a:gd name="connsiteX44" fmla="*/ 4400715 w 4482645"/>
              <a:gd name="connsiteY44" fmla="*/ 1981536 h 5513991"/>
              <a:gd name="connsiteX45" fmla="*/ 4391595 w 4482645"/>
              <a:gd name="connsiteY45" fmla="*/ 2021434 h 5513991"/>
              <a:gd name="connsiteX46" fmla="*/ 4394860 w 4482645"/>
              <a:gd name="connsiteY46" fmla="*/ 2025379 h 5513991"/>
              <a:gd name="connsiteX47" fmla="*/ 4397701 w 4482645"/>
              <a:gd name="connsiteY47" fmla="*/ 2038196 h 5513991"/>
              <a:gd name="connsiteX48" fmla="*/ 4392960 w 4482645"/>
              <a:gd name="connsiteY48" fmla="*/ 2048781 h 5513991"/>
              <a:gd name="connsiteX49" fmla="*/ 4382776 w 4482645"/>
              <a:gd name="connsiteY49" fmla="*/ 2099011 h 5513991"/>
              <a:gd name="connsiteX50" fmla="*/ 4375445 w 4482645"/>
              <a:gd name="connsiteY50" fmla="*/ 2148592 h 5513991"/>
              <a:gd name="connsiteX51" fmla="*/ 4243956 w 4482645"/>
              <a:gd name="connsiteY51" fmla="*/ 5036659 h 5513991"/>
              <a:gd name="connsiteX52" fmla="*/ 4242847 w 4482645"/>
              <a:gd name="connsiteY52" fmla="*/ 5242987 h 5513991"/>
              <a:gd name="connsiteX53" fmla="*/ 4187554 w 4482645"/>
              <a:gd name="connsiteY53" fmla="*/ 5513970 h 5513991"/>
              <a:gd name="connsiteX54" fmla="*/ 298746 w 4482645"/>
              <a:gd name="connsiteY54" fmla="*/ 5249166 h 5513991"/>
              <a:gd name="connsiteX55" fmla="*/ 1462 w 4482645"/>
              <a:gd name="connsiteY55" fmla="*/ 5237777 h 5513991"/>
              <a:gd name="connsiteX56" fmla="*/ 7874 w 4482645"/>
              <a:gd name="connsiteY56" fmla="*/ 4977753 h 5513991"/>
              <a:gd name="connsiteX57" fmla="*/ 20715 w 4482645"/>
              <a:gd name="connsiteY57" fmla="*/ 4752822 h 5513991"/>
              <a:gd name="connsiteX58" fmla="*/ 222466 w 4482645"/>
              <a:gd name="connsiteY58"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64488 w 4482645"/>
              <a:gd name="connsiteY8" fmla="*/ 563001 h 5513991"/>
              <a:gd name="connsiteX9" fmla="*/ 4450882 w 4482645"/>
              <a:gd name="connsiteY9" fmla="*/ 798696 h 5513991"/>
              <a:gd name="connsiteX10" fmla="*/ 4452595 w 4482645"/>
              <a:gd name="connsiteY10" fmla="*/ 803530 h 5513991"/>
              <a:gd name="connsiteX11" fmla="*/ 4450444 w 4482645"/>
              <a:gd name="connsiteY11" fmla="*/ 827361 h 5513991"/>
              <a:gd name="connsiteX12" fmla="*/ 4448844 w 4482645"/>
              <a:gd name="connsiteY12" fmla="*/ 835146 h 5513991"/>
              <a:gd name="connsiteX13" fmla="*/ 4442606 w 4482645"/>
              <a:gd name="connsiteY13" fmla="*/ 946777 h 5513991"/>
              <a:gd name="connsiteX14" fmla="*/ 4444683 w 4482645"/>
              <a:gd name="connsiteY14" fmla="*/ 947677 h 5513991"/>
              <a:gd name="connsiteX15" fmla="*/ 4448802 w 4482645"/>
              <a:gd name="connsiteY15" fmla="*/ 983859 h 5513991"/>
              <a:gd name="connsiteX16" fmla="*/ 4444004 w 4482645"/>
              <a:gd name="connsiteY16" fmla="*/ 1082386 h 5513991"/>
              <a:gd name="connsiteX17" fmla="*/ 4443899 w 4482645"/>
              <a:gd name="connsiteY17" fmla="*/ 1140681 h 5513991"/>
              <a:gd name="connsiteX18" fmla="*/ 4448202 w 4482645"/>
              <a:gd name="connsiteY18" fmla="*/ 1161797 h 5513991"/>
              <a:gd name="connsiteX19" fmla="*/ 4451292 w 4482645"/>
              <a:gd name="connsiteY19" fmla="*/ 1191979 h 5513991"/>
              <a:gd name="connsiteX20" fmla="*/ 4460109 w 4482645"/>
              <a:gd name="connsiteY20" fmla="*/ 1244449 h 5513991"/>
              <a:gd name="connsiteX21" fmla="*/ 4462386 w 4482645"/>
              <a:gd name="connsiteY21" fmla="*/ 1294666 h 5513991"/>
              <a:gd name="connsiteX22" fmla="*/ 4461506 w 4482645"/>
              <a:gd name="connsiteY22" fmla="*/ 1328296 h 5513991"/>
              <a:gd name="connsiteX23" fmla="*/ 4461043 w 4482645"/>
              <a:gd name="connsiteY23" fmla="*/ 1333156 h 5513991"/>
              <a:gd name="connsiteX24" fmla="*/ 4451924 w 4482645"/>
              <a:gd name="connsiteY24" fmla="*/ 1373054 h 5513991"/>
              <a:gd name="connsiteX25" fmla="*/ 4455188 w 4482645"/>
              <a:gd name="connsiteY25" fmla="*/ 1376999 h 5513991"/>
              <a:gd name="connsiteX26" fmla="*/ 4458030 w 4482645"/>
              <a:gd name="connsiteY26" fmla="*/ 1389816 h 5513991"/>
              <a:gd name="connsiteX27" fmla="*/ 4453289 w 4482645"/>
              <a:gd name="connsiteY27" fmla="*/ 1400401 h 5513991"/>
              <a:gd name="connsiteX28" fmla="*/ 4443105 w 4482645"/>
              <a:gd name="connsiteY28" fmla="*/ 1450629 h 5513991"/>
              <a:gd name="connsiteX29" fmla="*/ 4432208 w 4482645"/>
              <a:gd name="connsiteY29" fmla="*/ 1524330 h 5513991"/>
              <a:gd name="connsiteX30" fmla="*/ 4427327 w 4482645"/>
              <a:gd name="connsiteY30" fmla="*/ 1535289 h 5513991"/>
              <a:gd name="connsiteX31" fmla="*/ 4412899 w 4482645"/>
              <a:gd name="connsiteY31" fmla="*/ 1607363 h 5513991"/>
              <a:gd name="connsiteX32" fmla="*/ 4409184 w 4482645"/>
              <a:gd name="connsiteY32" fmla="*/ 1645395 h 5513991"/>
              <a:gd name="connsiteX33" fmla="*/ 4412844 w 4482645"/>
              <a:gd name="connsiteY33" fmla="*/ 1649850 h 5513991"/>
              <a:gd name="connsiteX34" fmla="*/ 4411194 w 4482645"/>
              <a:gd name="connsiteY34" fmla="*/ 1661048 h 5513991"/>
              <a:gd name="connsiteX35" fmla="*/ 4411606 w 4482645"/>
              <a:gd name="connsiteY35" fmla="*/ 1664107 h 5513991"/>
              <a:gd name="connsiteX36" fmla="*/ 4413117 w 4482645"/>
              <a:gd name="connsiteY36" fmla="*/ 1681560 h 5513991"/>
              <a:gd name="connsiteX37" fmla="*/ 4401647 w 4482645"/>
              <a:gd name="connsiteY37" fmla="*/ 1716455 h 5513991"/>
              <a:gd name="connsiteX38" fmla="*/ 4399587 w 4482645"/>
              <a:gd name="connsiteY38" fmla="*/ 1716581 h 5513991"/>
              <a:gd name="connsiteX39" fmla="*/ 4391089 w 4482645"/>
              <a:gd name="connsiteY39" fmla="*/ 1868666 h 5513991"/>
              <a:gd name="connsiteX40" fmla="*/ 4399780 w 4482645"/>
              <a:gd name="connsiteY40" fmla="*/ 1892828 h 5513991"/>
              <a:gd name="connsiteX41" fmla="*/ 4402058 w 4482645"/>
              <a:gd name="connsiteY41" fmla="*/ 1943047 h 5513991"/>
              <a:gd name="connsiteX42" fmla="*/ 4401177 w 4482645"/>
              <a:gd name="connsiteY42" fmla="*/ 1976676 h 5513991"/>
              <a:gd name="connsiteX43" fmla="*/ 4400715 w 4482645"/>
              <a:gd name="connsiteY43" fmla="*/ 1981536 h 5513991"/>
              <a:gd name="connsiteX44" fmla="*/ 4391595 w 4482645"/>
              <a:gd name="connsiteY44" fmla="*/ 2021434 h 5513991"/>
              <a:gd name="connsiteX45" fmla="*/ 4394860 w 4482645"/>
              <a:gd name="connsiteY45" fmla="*/ 2025379 h 5513991"/>
              <a:gd name="connsiteX46" fmla="*/ 4397701 w 4482645"/>
              <a:gd name="connsiteY46" fmla="*/ 2038196 h 5513991"/>
              <a:gd name="connsiteX47" fmla="*/ 4392960 w 4482645"/>
              <a:gd name="connsiteY47" fmla="*/ 2048781 h 5513991"/>
              <a:gd name="connsiteX48" fmla="*/ 4382776 w 4482645"/>
              <a:gd name="connsiteY48" fmla="*/ 2099011 h 5513991"/>
              <a:gd name="connsiteX49" fmla="*/ 4375445 w 4482645"/>
              <a:gd name="connsiteY49" fmla="*/ 2148592 h 5513991"/>
              <a:gd name="connsiteX50" fmla="*/ 4243956 w 4482645"/>
              <a:gd name="connsiteY50" fmla="*/ 5036659 h 5513991"/>
              <a:gd name="connsiteX51" fmla="*/ 4242847 w 4482645"/>
              <a:gd name="connsiteY51" fmla="*/ 5242987 h 5513991"/>
              <a:gd name="connsiteX52" fmla="*/ 4187554 w 4482645"/>
              <a:gd name="connsiteY52" fmla="*/ 5513970 h 5513991"/>
              <a:gd name="connsiteX53" fmla="*/ 298746 w 4482645"/>
              <a:gd name="connsiteY53" fmla="*/ 5249166 h 5513991"/>
              <a:gd name="connsiteX54" fmla="*/ 1462 w 4482645"/>
              <a:gd name="connsiteY54" fmla="*/ 5237777 h 5513991"/>
              <a:gd name="connsiteX55" fmla="*/ 7874 w 4482645"/>
              <a:gd name="connsiteY55" fmla="*/ 4977753 h 5513991"/>
              <a:gd name="connsiteX56" fmla="*/ 20715 w 4482645"/>
              <a:gd name="connsiteY56" fmla="*/ 4752822 h 5513991"/>
              <a:gd name="connsiteX57" fmla="*/ 222466 w 4482645"/>
              <a:gd name="connsiteY57"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64488 w 4482645"/>
              <a:gd name="connsiteY8" fmla="*/ 563001 h 5513991"/>
              <a:gd name="connsiteX9" fmla="*/ 4450882 w 4482645"/>
              <a:gd name="connsiteY9" fmla="*/ 798696 h 5513991"/>
              <a:gd name="connsiteX10" fmla="*/ 4452595 w 4482645"/>
              <a:gd name="connsiteY10" fmla="*/ 803530 h 5513991"/>
              <a:gd name="connsiteX11" fmla="*/ 4450444 w 4482645"/>
              <a:gd name="connsiteY11" fmla="*/ 827361 h 5513991"/>
              <a:gd name="connsiteX12" fmla="*/ 4448844 w 4482645"/>
              <a:gd name="connsiteY12" fmla="*/ 835146 h 5513991"/>
              <a:gd name="connsiteX13" fmla="*/ 4442606 w 4482645"/>
              <a:gd name="connsiteY13" fmla="*/ 946777 h 5513991"/>
              <a:gd name="connsiteX14" fmla="*/ 4444683 w 4482645"/>
              <a:gd name="connsiteY14" fmla="*/ 947677 h 5513991"/>
              <a:gd name="connsiteX15" fmla="*/ 4448802 w 4482645"/>
              <a:gd name="connsiteY15" fmla="*/ 983859 h 5513991"/>
              <a:gd name="connsiteX16" fmla="*/ 4444004 w 4482645"/>
              <a:gd name="connsiteY16" fmla="*/ 1082386 h 5513991"/>
              <a:gd name="connsiteX17" fmla="*/ 4443899 w 4482645"/>
              <a:gd name="connsiteY17" fmla="*/ 1140681 h 5513991"/>
              <a:gd name="connsiteX18" fmla="*/ 4448202 w 4482645"/>
              <a:gd name="connsiteY18" fmla="*/ 1161797 h 5513991"/>
              <a:gd name="connsiteX19" fmla="*/ 4460109 w 4482645"/>
              <a:gd name="connsiteY19" fmla="*/ 1244449 h 5513991"/>
              <a:gd name="connsiteX20" fmla="*/ 4462386 w 4482645"/>
              <a:gd name="connsiteY20" fmla="*/ 1294666 h 5513991"/>
              <a:gd name="connsiteX21" fmla="*/ 4461506 w 4482645"/>
              <a:gd name="connsiteY21" fmla="*/ 1328296 h 5513991"/>
              <a:gd name="connsiteX22" fmla="*/ 4461043 w 4482645"/>
              <a:gd name="connsiteY22" fmla="*/ 1333156 h 5513991"/>
              <a:gd name="connsiteX23" fmla="*/ 4451924 w 4482645"/>
              <a:gd name="connsiteY23" fmla="*/ 1373054 h 5513991"/>
              <a:gd name="connsiteX24" fmla="*/ 4455188 w 4482645"/>
              <a:gd name="connsiteY24" fmla="*/ 1376999 h 5513991"/>
              <a:gd name="connsiteX25" fmla="*/ 4458030 w 4482645"/>
              <a:gd name="connsiteY25" fmla="*/ 1389816 h 5513991"/>
              <a:gd name="connsiteX26" fmla="*/ 4453289 w 4482645"/>
              <a:gd name="connsiteY26" fmla="*/ 1400401 h 5513991"/>
              <a:gd name="connsiteX27" fmla="*/ 4443105 w 4482645"/>
              <a:gd name="connsiteY27" fmla="*/ 1450629 h 5513991"/>
              <a:gd name="connsiteX28" fmla="*/ 4432208 w 4482645"/>
              <a:gd name="connsiteY28" fmla="*/ 1524330 h 5513991"/>
              <a:gd name="connsiteX29" fmla="*/ 4427327 w 4482645"/>
              <a:gd name="connsiteY29" fmla="*/ 1535289 h 5513991"/>
              <a:gd name="connsiteX30" fmla="*/ 4412899 w 4482645"/>
              <a:gd name="connsiteY30" fmla="*/ 1607363 h 5513991"/>
              <a:gd name="connsiteX31" fmla="*/ 4409184 w 4482645"/>
              <a:gd name="connsiteY31" fmla="*/ 1645395 h 5513991"/>
              <a:gd name="connsiteX32" fmla="*/ 4412844 w 4482645"/>
              <a:gd name="connsiteY32" fmla="*/ 1649850 h 5513991"/>
              <a:gd name="connsiteX33" fmla="*/ 4411194 w 4482645"/>
              <a:gd name="connsiteY33" fmla="*/ 1661048 h 5513991"/>
              <a:gd name="connsiteX34" fmla="*/ 4411606 w 4482645"/>
              <a:gd name="connsiteY34" fmla="*/ 1664107 h 5513991"/>
              <a:gd name="connsiteX35" fmla="*/ 4413117 w 4482645"/>
              <a:gd name="connsiteY35" fmla="*/ 1681560 h 5513991"/>
              <a:gd name="connsiteX36" fmla="*/ 4401647 w 4482645"/>
              <a:gd name="connsiteY36" fmla="*/ 1716455 h 5513991"/>
              <a:gd name="connsiteX37" fmla="*/ 4399587 w 4482645"/>
              <a:gd name="connsiteY37" fmla="*/ 1716581 h 5513991"/>
              <a:gd name="connsiteX38" fmla="*/ 4391089 w 4482645"/>
              <a:gd name="connsiteY38" fmla="*/ 1868666 h 5513991"/>
              <a:gd name="connsiteX39" fmla="*/ 4399780 w 4482645"/>
              <a:gd name="connsiteY39" fmla="*/ 1892828 h 5513991"/>
              <a:gd name="connsiteX40" fmla="*/ 4402058 w 4482645"/>
              <a:gd name="connsiteY40" fmla="*/ 1943047 h 5513991"/>
              <a:gd name="connsiteX41" fmla="*/ 4401177 w 4482645"/>
              <a:gd name="connsiteY41" fmla="*/ 1976676 h 5513991"/>
              <a:gd name="connsiteX42" fmla="*/ 4400715 w 4482645"/>
              <a:gd name="connsiteY42" fmla="*/ 1981536 h 5513991"/>
              <a:gd name="connsiteX43" fmla="*/ 4391595 w 4482645"/>
              <a:gd name="connsiteY43" fmla="*/ 2021434 h 5513991"/>
              <a:gd name="connsiteX44" fmla="*/ 4394860 w 4482645"/>
              <a:gd name="connsiteY44" fmla="*/ 2025379 h 5513991"/>
              <a:gd name="connsiteX45" fmla="*/ 4397701 w 4482645"/>
              <a:gd name="connsiteY45" fmla="*/ 2038196 h 5513991"/>
              <a:gd name="connsiteX46" fmla="*/ 4392960 w 4482645"/>
              <a:gd name="connsiteY46" fmla="*/ 2048781 h 5513991"/>
              <a:gd name="connsiteX47" fmla="*/ 4382776 w 4482645"/>
              <a:gd name="connsiteY47" fmla="*/ 2099011 h 5513991"/>
              <a:gd name="connsiteX48" fmla="*/ 4375445 w 4482645"/>
              <a:gd name="connsiteY48" fmla="*/ 2148592 h 5513991"/>
              <a:gd name="connsiteX49" fmla="*/ 4243956 w 4482645"/>
              <a:gd name="connsiteY49" fmla="*/ 5036659 h 5513991"/>
              <a:gd name="connsiteX50" fmla="*/ 4242847 w 4482645"/>
              <a:gd name="connsiteY50" fmla="*/ 5242987 h 5513991"/>
              <a:gd name="connsiteX51" fmla="*/ 4187554 w 4482645"/>
              <a:gd name="connsiteY51" fmla="*/ 5513970 h 5513991"/>
              <a:gd name="connsiteX52" fmla="*/ 298746 w 4482645"/>
              <a:gd name="connsiteY52" fmla="*/ 5249166 h 5513991"/>
              <a:gd name="connsiteX53" fmla="*/ 1462 w 4482645"/>
              <a:gd name="connsiteY53" fmla="*/ 5237777 h 5513991"/>
              <a:gd name="connsiteX54" fmla="*/ 7874 w 4482645"/>
              <a:gd name="connsiteY54" fmla="*/ 4977753 h 5513991"/>
              <a:gd name="connsiteX55" fmla="*/ 20715 w 4482645"/>
              <a:gd name="connsiteY55" fmla="*/ 4752822 h 5513991"/>
              <a:gd name="connsiteX56" fmla="*/ 222466 w 4482645"/>
              <a:gd name="connsiteY56"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64488 w 4482645"/>
              <a:gd name="connsiteY8" fmla="*/ 563001 h 5513991"/>
              <a:gd name="connsiteX9" fmla="*/ 4450882 w 4482645"/>
              <a:gd name="connsiteY9" fmla="*/ 798696 h 5513991"/>
              <a:gd name="connsiteX10" fmla="*/ 4452595 w 4482645"/>
              <a:gd name="connsiteY10" fmla="*/ 803530 h 5513991"/>
              <a:gd name="connsiteX11" fmla="*/ 4450444 w 4482645"/>
              <a:gd name="connsiteY11" fmla="*/ 827361 h 5513991"/>
              <a:gd name="connsiteX12" fmla="*/ 4448844 w 4482645"/>
              <a:gd name="connsiteY12" fmla="*/ 835146 h 5513991"/>
              <a:gd name="connsiteX13" fmla="*/ 4442606 w 4482645"/>
              <a:gd name="connsiteY13" fmla="*/ 946777 h 5513991"/>
              <a:gd name="connsiteX14" fmla="*/ 4444683 w 4482645"/>
              <a:gd name="connsiteY14" fmla="*/ 947677 h 5513991"/>
              <a:gd name="connsiteX15" fmla="*/ 4448802 w 4482645"/>
              <a:gd name="connsiteY15" fmla="*/ 983859 h 5513991"/>
              <a:gd name="connsiteX16" fmla="*/ 4444004 w 4482645"/>
              <a:gd name="connsiteY16" fmla="*/ 1082386 h 5513991"/>
              <a:gd name="connsiteX17" fmla="*/ 4443899 w 4482645"/>
              <a:gd name="connsiteY17" fmla="*/ 1140681 h 5513991"/>
              <a:gd name="connsiteX18" fmla="*/ 4448202 w 4482645"/>
              <a:gd name="connsiteY18" fmla="*/ 1161797 h 5513991"/>
              <a:gd name="connsiteX19" fmla="*/ 4460109 w 4482645"/>
              <a:gd name="connsiteY19" fmla="*/ 1244449 h 5513991"/>
              <a:gd name="connsiteX20" fmla="*/ 4462386 w 4482645"/>
              <a:gd name="connsiteY20" fmla="*/ 1294666 h 5513991"/>
              <a:gd name="connsiteX21" fmla="*/ 4461506 w 4482645"/>
              <a:gd name="connsiteY21" fmla="*/ 1328296 h 5513991"/>
              <a:gd name="connsiteX22" fmla="*/ 4451924 w 4482645"/>
              <a:gd name="connsiteY22" fmla="*/ 1373054 h 5513991"/>
              <a:gd name="connsiteX23" fmla="*/ 4455188 w 4482645"/>
              <a:gd name="connsiteY23" fmla="*/ 1376999 h 5513991"/>
              <a:gd name="connsiteX24" fmla="*/ 4458030 w 4482645"/>
              <a:gd name="connsiteY24" fmla="*/ 1389816 h 5513991"/>
              <a:gd name="connsiteX25" fmla="*/ 4453289 w 4482645"/>
              <a:gd name="connsiteY25" fmla="*/ 1400401 h 5513991"/>
              <a:gd name="connsiteX26" fmla="*/ 4443105 w 4482645"/>
              <a:gd name="connsiteY26" fmla="*/ 1450629 h 5513991"/>
              <a:gd name="connsiteX27" fmla="*/ 4432208 w 4482645"/>
              <a:gd name="connsiteY27" fmla="*/ 1524330 h 5513991"/>
              <a:gd name="connsiteX28" fmla="*/ 4427327 w 4482645"/>
              <a:gd name="connsiteY28" fmla="*/ 1535289 h 5513991"/>
              <a:gd name="connsiteX29" fmla="*/ 4412899 w 4482645"/>
              <a:gd name="connsiteY29" fmla="*/ 1607363 h 5513991"/>
              <a:gd name="connsiteX30" fmla="*/ 4409184 w 4482645"/>
              <a:gd name="connsiteY30" fmla="*/ 1645395 h 5513991"/>
              <a:gd name="connsiteX31" fmla="*/ 4412844 w 4482645"/>
              <a:gd name="connsiteY31" fmla="*/ 1649850 h 5513991"/>
              <a:gd name="connsiteX32" fmla="*/ 4411194 w 4482645"/>
              <a:gd name="connsiteY32" fmla="*/ 1661048 h 5513991"/>
              <a:gd name="connsiteX33" fmla="*/ 4411606 w 4482645"/>
              <a:gd name="connsiteY33" fmla="*/ 1664107 h 5513991"/>
              <a:gd name="connsiteX34" fmla="*/ 4413117 w 4482645"/>
              <a:gd name="connsiteY34" fmla="*/ 1681560 h 5513991"/>
              <a:gd name="connsiteX35" fmla="*/ 4401647 w 4482645"/>
              <a:gd name="connsiteY35" fmla="*/ 1716455 h 5513991"/>
              <a:gd name="connsiteX36" fmla="*/ 4399587 w 4482645"/>
              <a:gd name="connsiteY36" fmla="*/ 1716581 h 5513991"/>
              <a:gd name="connsiteX37" fmla="*/ 4391089 w 4482645"/>
              <a:gd name="connsiteY37" fmla="*/ 1868666 h 5513991"/>
              <a:gd name="connsiteX38" fmla="*/ 4399780 w 4482645"/>
              <a:gd name="connsiteY38" fmla="*/ 1892828 h 5513991"/>
              <a:gd name="connsiteX39" fmla="*/ 4402058 w 4482645"/>
              <a:gd name="connsiteY39" fmla="*/ 1943047 h 5513991"/>
              <a:gd name="connsiteX40" fmla="*/ 4401177 w 4482645"/>
              <a:gd name="connsiteY40" fmla="*/ 1976676 h 5513991"/>
              <a:gd name="connsiteX41" fmla="*/ 4400715 w 4482645"/>
              <a:gd name="connsiteY41" fmla="*/ 1981536 h 5513991"/>
              <a:gd name="connsiteX42" fmla="*/ 4391595 w 4482645"/>
              <a:gd name="connsiteY42" fmla="*/ 2021434 h 5513991"/>
              <a:gd name="connsiteX43" fmla="*/ 4394860 w 4482645"/>
              <a:gd name="connsiteY43" fmla="*/ 2025379 h 5513991"/>
              <a:gd name="connsiteX44" fmla="*/ 4397701 w 4482645"/>
              <a:gd name="connsiteY44" fmla="*/ 2038196 h 5513991"/>
              <a:gd name="connsiteX45" fmla="*/ 4392960 w 4482645"/>
              <a:gd name="connsiteY45" fmla="*/ 2048781 h 5513991"/>
              <a:gd name="connsiteX46" fmla="*/ 4382776 w 4482645"/>
              <a:gd name="connsiteY46" fmla="*/ 2099011 h 5513991"/>
              <a:gd name="connsiteX47" fmla="*/ 4375445 w 4482645"/>
              <a:gd name="connsiteY47" fmla="*/ 2148592 h 5513991"/>
              <a:gd name="connsiteX48" fmla="*/ 4243956 w 4482645"/>
              <a:gd name="connsiteY48" fmla="*/ 5036659 h 5513991"/>
              <a:gd name="connsiteX49" fmla="*/ 4242847 w 4482645"/>
              <a:gd name="connsiteY49" fmla="*/ 5242987 h 5513991"/>
              <a:gd name="connsiteX50" fmla="*/ 4187554 w 4482645"/>
              <a:gd name="connsiteY50" fmla="*/ 5513970 h 5513991"/>
              <a:gd name="connsiteX51" fmla="*/ 298746 w 4482645"/>
              <a:gd name="connsiteY51" fmla="*/ 5249166 h 5513991"/>
              <a:gd name="connsiteX52" fmla="*/ 1462 w 4482645"/>
              <a:gd name="connsiteY52" fmla="*/ 5237777 h 5513991"/>
              <a:gd name="connsiteX53" fmla="*/ 7874 w 4482645"/>
              <a:gd name="connsiteY53" fmla="*/ 4977753 h 5513991"/>
              <a:gd name="connsiteX54" fmla="*/ 20715 w 4482645"/>
              <a:gd name="connsiteY54" fmla="*/ 4752822 h 5513991"/>
              <a:gd name="connsiteX55" fmla="*/ 222466 w 4482645"/>
              <a:gd name="connsiteY55"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64488 w 4482645"/>
              <a:gd name="connsiteY8" fmla="*/ 563001 h 5513991"/>
              <a:gd name="connsiteX9" fmla="*/ 4450882 w 4482645"/>
              <a:gd name="connsiteY9" fmla="*/ 798696 h 5513991"/>
              <a:gd name="connsiteX10" fmla="*/ 4452595 w 4482645"/>
              <a:gd name="connsiteY10" fmla="*/ 803530 h 5513991"/>
              <a:gd name="connsiteX11" fmla="*/ 4450444 w 4482645"/>
              <a:gd name="connsiteY11" fmla="*/ 827361 h 5513991"/>
              <a:gd name="connsiteX12" fmla="*/ 4448844 w 4482645"/>
              <a:gd name="connsiteY12" fmla="*/ 835146 h 5513991"/>
              <a:gd name="connsiteX13" fmla="*/ 4442606 w 4482645"/>
              <a:gd name="connsiteY13" fmla="*/ 946777 h 5513991"/>
              <a:gd name="connsiteX14" fmla="*/ 4444683 w 4482645"/>
              <a:gd name="connsiteY14" fmla="*/ 947677 h 5513991"/>
              <a:gd name="connsiteX15" fmla="*/ 4448802 w 4482645"/>
              <a:gd name="connsiteY15" fmla="*/ 983859 h 5513991"/>
              <a:gd name="connsiteX16" fmla="*/ 4444004 w 4482645"/>
              <a:gd name="connsiteY16" fmla="*/ 1082386 h 5513991"/>
              <a:gd name="connsiteX17" fmla="*/ 4443899 w 4482645"/>
              <a:gd name="connsiteY17" fmla="*/ 1140681 h 5513991"/>
              <a:gd name="connsiteX18" fmla="*/ 4448202 w 4482645"/>
              <a:gd name="connsiteY18" fmla="*/ 1161797 h 5513991"/>
              <a:gd name="connsiteX19" fmla="*/ 4460109 w 4482645"/>
              <a:gd name="connsiteY19" fmla="*/ 1244449 h 5513991"/>
              <a:gd name="connsiteX20" fmla="*/ 4462386 w 4482645"/>
              <a:gd name="connsiteY20" fmla="*/ 1294666 h 5513991"/>
              <a:gd name="connsiteX21" fmla="*/ 4461506 w 4482645"/>
              <a:gd name="connsiteY21" fmla="*/ 1328296 h 5513991"/>
              <a:gd name="connsiteX22" fmla="*/ 4451924 w 4482645"/>
              <a:gd name="connsiteY22" fmla="*/ 1373054 h 5513991"/>
              <a:gd name="connsiteX23" fmla="*/ 4455188 w 4482645"/>
              <a:gd name="connsiteY23" fmla="*/ 1376999 h 5513991"/>
              <a:gd name="connsiteX24" fmla="*/ 4458030 w 4482645"/>
              <a:gd name="connsiteY24" fmla="*/ 1389816 h 5513991"/>
              <a:gd name="connsiteX25" fmla="*/ 4453289 w 4482645"/>
              <a:gd name="connsiteY25" fmla="*/ 1400401 h 5513991"/>
              <a:gd name="connsiteX26" fmla="*/ 4443105 w 4482645"/>
              <a:gd name="connsiteY26" fmla="*/ 1450629 h 5513991"/>
              <a:gd name="connsiteX27" fmla="*/ 4432208 w 4482645"/>
              <a:gd name="connsiteY27" fmla="*/ 1524330 h 5513991"/>
              <a:gd name="connsiteX28" fmla="*/ 4427327 w 4482645"/>
              <a:gd name="connsiteY28" fmla="*/ 1535289 h 5513991"/>
              <a:gd name="connsiteX29" fmla="*/ 4412899 w 4482645"/>
              <a:gd name="connsiteY29" fmla="*/ 1607363 h 5513991"/>
              <a:gd name="connsiteX30" fmla="*/ 4409184 w 4482645"/>
              <a:gd name="connsiteY30" fmla="*/ 1645395 h 5513991"/>
              <a:gd name="connsiteX31" fmla="*/ 4412844 w 4482645"/>
              <a:gd name="connsiteY31" fmla="*/ 1649850 h 5513991"/>
              <a:gd name="connsiteX32" fmla="*/ 4411194 w 4482645"/>
              <a:gd name="connsiteY32" fmla="*/ 1661048 h 5513991"/>
              <a:gd name="connsiteX33" fmla="*/ 4413117 w 4482645"/>
              <a:gd name="connsiteY33" fmla="*/ 1681560 h 5513991"/>
              <a:gd name="connsiteX34" fmla="*/ 4401647 w 4482645"/>
              <a:gd name="connsiteY34" fmla="*/ 1716455 h 5513991"/>
              <a:gd name="connsiteX35" fmla="*/ 4399587 w 4482645"/>
              <a:gd name="connsiteY35" fmla="*/ 1716581 h 5513991"/>
              <a:gd name="connsiteX36" fmla="*/ 4391089 w 4482645"/>
              <a:gd name="connsiteY36" fmla="*/ 1868666 h 5513991"/>
              <a:gd name="connsiteX37" fmla="*/ 4399780 w 4482645"/>
              <a:gd name="connsiteY37" fmla="*/ 1892828 h 5513991"/>
              <a:gd name="connsiteX38" fmla="*/ 4402058 w 4482645"/>
              <a:gd name="connsiteY38" fmla="*/ 1943047 h 5513991"/>
              <a:gd name="connsiteX39" fmla="*/ 4401177 w 4482645"/>
              <a:gd name="connsiteY39" fmla="*/ 1976676 h 5513991"/>
              <a:gd name="connsiteX40" fmla="*/ 4400715 w 4482645"/>
              <a:gd name="connsiteY40" fmla="*/ 1981536 h 5513991"/>
              <a:gd name="connsiteX41" fmla="*/ 4391595 w 4482645"/>
              <a:gd name="connsiteY41" fmla="*/ 2021434 h 5513991"/>
              <a:gd name="connsiteX42" fmla="*/ 4394860 w 4482645"/>
              <a:gd name="connsiteY42" fmla="*/ 2025379 h 5513991"/>
              <a:gd name="connsiteX43" fmla="*/ 4397701 w 4482645"/>
              <a:gd name="connsiteY43" fmla="*/ 2038196 h 5513991"/>
              <a:gd name="connsiteX44" fmla="*/ 4392960 w 4482645"/>
              <a:gd name="connsiteY44" fmla="*/ 2048781 h 5513991"/>
              <a:gd name="connsiteX45" fmla="*/ 4382776 w 4482645"/>
              <a:gd name="connsiteY45" fmla="*/ 2099011 h 5513991"/>
              <a:gd name="connsiteX46" fmla="*/ 4375445 w 4482645"/>
              <a:gd name="connsiteY46" fmla="*/ 2148592 h 5513991"/>
              <a:gd name="connsiteX47" fmla="*/ 4243956 w 4482645"/>
              <a:gd name="connsiteY47" fmla="*/ 5036659 h 5513991"/>
              <a:gd name="connsiteX48" fmla="*/ 4242847 w 4482645"/>
              <a:gd name="connsiteY48" fmla="*/ 5242987 h 5513991"/>
              <a:gd name="connsiteX49" fmla="*/ 4187554 w 4482645"/>
              <a:gd name="connsiteY49" fmla="*/ 5513970 h 5513991"/>
              <a:gd name="connsiteX50" fmla="*/ 298746 w 4482645"/>
              <a:gd name="connsiteY50" fmla="*/ 5249166 h 5513991"/>
              <a:gd name="connsiteX51" fmla="*/ 1462 w 4482645"/>
              <a:gd name="connsiteY51" fmla="*/ 5237777 h 5513991"/>
              <a:gd name="connsiteX52" fmla="*/ 7874 w 4482645"/>
              <a:gd name="connsiteY52" fmla="*/ 4977753 h 5513991"/>
              <a:gd name="connsiteX53" fmla="*/ 20715 w 4482645"/>
              <a:gd name="connsiteY53" fmla="*/ 4752822 h 5513991"/>
              <a:gd name="connsiteX54" fmla="*/ 222466 w 4482645"/>
              <a:gd name="connsiteY54"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64488 w 4482645"/>
              <a:gd name="connsiteY8" fmla="*/ 563001 h 5513991"/>
              <a:gd name="connsiteX9" fmla="*/ 4450882 w 4482645"/>
              <a:gd name="connsiteY9" fmla="*/ 798696 h 5513991"/>
              <a:gd name="connsiteX10" fmla="*/ 4452595 w 4482645"/>
              <a:gd name="connsiteY10" fmla="*/ 803530 h 5513991"/>
              <a:gd name="connsiteX11" fmla="*/ 4450444 w 4482645"/>
              <a:gd name="connsiteY11" fmla="*/ 827361 h 5513991"/>
              <a:gd name="connsiteX12" fmla="*/ 4448844 w 4482645"/>
              <a:gd name="connsiteY12" fmla="*/ 835146 h 5513991"/>
              <a:gd name="connsiteX13" fmla="*/ 4442606 w 4482645"/>
              <a:gd name="connsiteY13" fmla="*/ 946777 h 5513991"/>
              <a:gd name="connsiteX14" fmla="*/ 4444683 w 4482645"/>
              <a:gd name="connsiteY14" fmla="*/ 947677 h 5513991"/>
              <a:gd name="connsiteX15" fmla="*/ 4448802 w 4482645"/>
              <a:gd name="connsiteY15" fmla="*/ 983859 h 5513991"/>
              <a:gd name="connsiteX16" fmla="*/ 4444004 w 4482645"/>
              <a:gd name="connsiteY16" fmla="*/ 1082386 h 5513991"/>
              <a:gd name="connsiteX17" fmla="*/ 4443899 w 4482645"/>
              <a:gd name="connsiteY17" fmla="*/ 1140681 h 5513991"/>
              <a:gd name="connsiteX18" fmla="*/ 4448202 w 4482645"/>
              <a:gd name="connsiteY18" fmla="*/ 1161797 h 5513991"/>
              <a:gd name="connsiteX19" fmla="*/ 4460109 w 4482645"/>
              <a:gd name="connsiteY19" fmla="*/ 1244449 h 5513991"/>
              <a:gd name="connsiteX20" fmla="*/ 4462386 w 4482645"/>
              <a:gd name="connsiteY20" fmla="*/ 1294666 h 5513991"/>
              <a:gd name="connsiteX21" fmla="*/ 4461506 w 4482645"/>
              <a:gd name="connsiteY21" fmla="*/ 1328296 h 5513991"/>
              <a:gd name="connsiteX22" fmla="*/ 4451924 w 4482645"/>
              <a:gd name="connsiteY22" fmla="*/ 1373054 h 5513991"/>
              <a:gd name="connsiteX23" fmla="*/ 4455188 w 4482645"/>
              <a:gd name="connsiteY23" fmla="*/ 1376999 h 5513991"/>
              <a:gd name="connsiteX24" fmla="*/ 4458030 w 4482645"/>
              <a:gd name="connsiteY24" fmla="*/ 1389816 h 5513991"/>
              <a:gd name="connsiteX25" fmla="*/ 4453289 w 4482645"/>
              <a:gd name="connsiteY25" fmla="*/ 1400401 h 5513991"/>
              <a:gd name="connsiteX26" fmla="*/ 4443105 w 4482645"/>
              <a:gd name="connsiteY26" fmla="*/ 1450629 h 5513991"/>
              <a:gd name="connsiteX27" fmla="*/ 4432208 w 4482645"/>
              <a:gd name="connsiteY27" fmla="*/ 1524330 h 5513991"/>
              <a:gd name="connsiteX28" fmla="*/ 4427327 w 4482645"/>
              <a:gd name="connsiteY28" fmla="*/ 1535289 h 5513991"/>
              <a:gd name="connsiteX29" fmla="*/ 4412899 w 4482645"/>
              <a:gd name="connsiteY29" fmla="*/ 1607363 h 5513991"/>
              <a:gd name="connsiteX30" fmla="*/ 4409184 w 4482645"/>
              <a:gd name="connsiteY30" fmla="*/ 1645395 h 5513991"/>
              <a:gd name="connsiteX31" fmla="*/ 4412844 w 4482645"/>
              <a:gd name="connsiteY31" fmla="*/ 1649850 h 5513991"/>
              <a:gd name="connsiteX32" fmla="*/ 4411194 w 4482645"/>
              <a:gd name="connsiteY32" fmla="*/ 1661048 h 5513991"/>
              <a:gd name="connsiteX33" fmla="*/ 4413117 w 4482645"/>
              <a:gd name="connsiteY33" fmla="*/ 1681560 h 5513991"/>
              <a:gd name="connsiteX34" fmla="*/ 4401647 w 4482645"/>
              <a:gd name="connsiteY34" fmla="*/ 1716455 h 5513991"/>
              <a:gd name="connsiteX35" fmla="*/ 4391089 w 4482645"/>
              <a:gd name="connsiteY35" fmla="*/ 1868666 h 5513991"/>
              <a:gd name="connsiteX36" fmla="*/ 4399780 w 4482645"/>
              <a:gd name="connsiteY36" fmla="*/ 1892828 h 5513991"/>
              <a:gd name="connsiteX37" fmla="*/ 4402058 w 4482645"/>
              <a:gd name="connsiteY37" fmla="*/ 1943047 h 5513991"/>
              <a:gd name="connsiteX38" fmla="*/ 4401177 w 4482645"/>
              <a:gd name="connsiteY38" fmla="*/ 1976676 h 5513991"/>
              <a:gd name="connsiteX39" fmla="*/ 4400715 w 4482645"/>
              <a:gd name="connsiteY39" fmla="*/ 1981536 h 5513991"/>
              <a:gd name="connsiteX40" fmla="*/ 4391595 w 4482645"/>
              <a:gd name="connsiteY40" fmla="*/ 2021434 h 5513991"/>
              <a:gd name="connsiteX41" fmla="*/ 4394860 w 4482645"/>
              <a:gd name="connsiteY41" fmla="*/ 2025379 h 5513991"/>
              <a:gd name="connsiteX42" fmla="*/ 4397701 w 4482645"/>
              <a:gd name="connsiteY42" fmla="*/ 2038196 h 5513991"/>
              <a:gd name="connsiteX43" fmla="*/ 4392960 w 4482645"/>
              <a:gd name="connsiteY43" fmla="*/ 2048781 h 5513991"/>
              <a:gd name="connsiteX44" fmla="*/ 4382776 w 4482645"/>
              <a:gd name="connsiteY44" fmla="*/ 2099011 h 5513991"/>
              <a:gd name="connsiteX45" fmla="*/ 4375445 w 4482645"/>
              <a:gd name="connsiteY45" fmla="*/ 2148592 h 5513991"/>
              <a:gd name="connsiteX46" fmla="*/ 4243956 w 4482645"/>
              <a:gd name="connsiteY46" fmla="*/ 5036659 h 5513991"/>
              <a:gd name="connsiteX47" fmla="*/ 4242847 w 4482645"/>
              <a:gd name="connsiteY47" fmla="*/ 5242987 h 5513991"/>
              <a:gd name="connsiteX48" fmla="*/ 4187554 w 4482645"/>
              <a:gd name="connsiteY48" fmla="*/ 5513970 h 5513991"/>
              <a:gd name="connsiteX49" fmla="*/ 298746 w 4482645"/>
              <a:gd name="connsiteY49" fmla="*/ 5249166 h 5513991"/>
              <a:gd name="connsiteX50" fmla="*/ 1462 w 4482645"/>
              <a:gd name="connsiteY50" fmla="*/ 5237777 h 5513991"/>
              <a:gd name="connsiteX51" fmla="*/ 7874 w 4482645"/>
              <a:gd name="connsiteY51" fmla="*/ 4977753 h 5513991"/>
              <a:gd name="connsiteX52" fmla="*/ 20715 w 4482645"/>
              <a:gd name="connsiteY52" fmla="*/ 4752822 h 5513991"/>
              <a:gd name="connsiteX53" fmla="*/ 222466 w 4482645"/>
              <a:gd name="connsiteY53"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64488 w 4482645"/>
              <a:gd name="connsiteY8" fmla="*/ 563001 h 5513991"/>
              <a:gd name="connsiteX9" fmla="*/ 4450882 w 4482645"/>
              <a:gd name="connsiteY9" fmla="*/ 798696 h 5513991"/>
              <a:gd name="connsiteX10" fmla="*/ 4452595 w 4482645"/>
              <a:gd name="connsiteY10" fmla="*/ 803530 h 5513991"/>
              <a:gd name="connsiteX11" fmla="*/ 4450444 w 4482645"/>
              <a:gd name="connsiteY11" fmla="*/ 827361 h 5513991"/>
              <a:gd name="connsiteX12" fmla="*/ 4448844 w 4482645"/>
              <a:gd name="connsiteY12" fmla="*/ 835146 h 5513991"/>
              <a:gd name="connsiteX13" fmla="*/ 4442606 w 4482645"/>
              <a:gd name="connsiteY13" fmla="*/ 946777 h 5513991"/>
              <a:gd name="connsiteX14" fmla="*/ 4444683 w 4482645"/>
              <a:gd name="connsiteY14" fmla="*/ 947677 h 5513991"/>
              <a:gd name="connsiteX15" fmla="*/ 4448802 w 4482645"/>
              <a:gd name="connsiteY15" fmla="*/ 983859 h 5513991"/>
              <a:gd name="connsiteX16" fmla="*/ 4444004 w 4482645"/>
              <a:gd name="connsiteY16" fmla="*/ 1082386 h 5513991"/>
              <a:gd name="connsiteX17" fmla="*/ 4443899 w 4482645"/>
              <a:gd name="connsiteY17" fmla="*/ 1140681 h 5513991"/>
              <a:gd name="connsiteX18" fmla="*/ 4448202 w 4482645"/>
              <a:gd name="connsiteY18" fmla="*/ 1161797 h 5513991"/>
              <a:gd name="connsiteX19" fmla="*/ 4460109 w 4482645"/>
              <a:gd name="connsiteY19" fmla="*/ 1244449 h 5513991"/>
              <a:gd name="connsiteX20" fmla="*/ 4462386 w 4482645"/>
              <a:gd name="connsiteY20" fmla="*/ 1294666 h 5513991"/>
              <a:gd name="connsiteX21" fmla="*/ 4461506 w 4482645"/>
              <a:gd name="connsiteY21" fmla="*/ 1328296 h 5513991"/>
              <a:gd name="connsiteX22" fmla="*/ 4451924 w 4482645"/>
              <a:gd name="connsiteY22" fmla="*/ 1373054 h 5513991"/>
              <a:gd name="connsiteX23" fmla="*/ 4455188 w 4482645"/>
              <a:gd name="connsiteY23" fmla="*/ 1376999 h 5513991"/>
              <a:gd name="connsiteX24" fmla="*/ 4458030 w 4482645"/>
              <a:gd name="connsiteY24" fmla="*/ 1389816 h 5513991"/>
              <a:gd name="connsiteX25" fmla="*/ 4443105 w 4482645"/>
              <a:gd name="connsiteY25" fmla="*/ 1450629 h 5513991"/>
              <a:gd name="connsiteX26" fmla="*/ 4432208 w 4482645"/>
              <a:gd name="connsiteY26" fmla="*/ 1524330 h 5513991"/>
              <a:gd name="connsiteX27" fmla="*/ 4427327 w 4482645"/>
              <a:gd name="connsiteY27" fmla="*/ 1535289 h 5513991"/>
              <a:gd name="connsiteX28" fmla="*/ 4412899 w 4482645"/>
              <a:gd name="connsiteY28" fmla="*/ 1607363 h 5513991"/>
              <a:gd name="connsiteX29" fmla="*/ 4409184 w 4482645"/>
              <a:gd name="connsiteY29" fmla="*/ 1645395 h 5513991"/>
              <a:gd name="connsiteX30" fmla="*/ 4412844 w 4482645"/>
              <a:gd name="connsiteY30" fmla="*/ 1649850 h 5513991"/>
              <a:gd name="connsiteX31" fmla="*/ 4411194 w 4482645"/>
              <a:gd name="connsiteY31" fmla="*/ 1661048 h 5513991"/>
              <a:gd name="connsiteX32" fmla="*/ 4413117 w 4482645"/>
              <a:gd name="connsiteY32" fmla="*/ 1681560 h 5513991"/>
              <a:gd name="connsiteX33" fmla="*/ 4401647 w 4482645"/>
              <a:gd name="connsiteY33" fmla="*/ 1716455 h 5513991"/>
              <a:gd name="connsiteX34" fmla="*/ 4391089 w 4482645"/>
              <a:gd name="connsiteY34" fmla="*/ 1868666 h 5513991"/>
              <a:gd name="connsiteX35" fmla="*/ 4399780 w 4482645"/>
              <a:gd name="connsiteY35" fmla="*/ 1892828 h 5513991"/>
              <a:gd name="connsiteX36" fmla="*/ 4402058 w 4482645"/>
              <a:gd name="connsiteY36" fmla="*/ 1943047 h 5513991"/>
              <a:gd name="connsiteX37" fmla="*/ 4401177 w 4482645"/>
              <a:gd name="connsiteY37" fmla="*/ 1976676 h 5513991"/>
              <a:gd name="connsiteX38" fmla="*/ 4400715 w 4482645"/>
              <a:gd name="connsiteY38" fmla="*/ 1981536 h 5513991"/>
              <a:gd name="connsiteX39" fmla="*/ 4391595 w 4482645"/>
              <a:gd name="connsiteY39" fmla="*/ 2021434 h 5513991"/>
              <a:gd name="connsiteX40" fmla="*/ 4394860 w 4482645"/>
              <a:gd name="connsiteY40" fmla="*/ 2025379 h 5513991"/>
              <a:gd name="connsiteX41" fmla="*/ 4397701 w 4482645"/>
              <a:gd name="connsiteY41" fmla="*/ 2038196 h 5513991"/>
              <a:gd name="connsiteX42" fmla="*/ 4392960 w 4482645"/>
              <a:gd name="connsiteY42" fmla="*/ 2048781 h 5513991"/>
              <a:gd name="connsiteX43" fmla="*/ 4382776 w 4482645"/>
              <a:gd name="connsiteY43" fmla="*/ 2099011 h 5513991"/>
              <a:gd name="connsiteX44" fmla="*/ 4375445 w 4482645"/>
              <a:gd name="connsiteY44" fmla="*/ 2148592 h 5513991"/>
              <a:gd name="connsiteX45" fmla="*/ 4243956 w 4482645"/>
              <a:gd name="connsiteY45" fmla="*/ 5036659 h 5513991"/>
              <a:gd name="connsiteX46" fmla="*/ 4242847 w 4482645"/>
              <a:gd name="connsiteY46" fmla="*/ 5242987 h 5513991"/>
              <a:gd name="connsiteX47" fmla="*/ 4187554 w 4482645"/>
              <a:gd name="connsiteY47" fmla="*/ 5513970 h 5513991"/>
              <a:gd name="connsiteX48" fmla="*/ 298746 w 4482645"/>
              <a:gd name="connsiteY48" fmla="*/ 5249166 h 5513991"/>
              <a:gd name="connsiteX49" fmla="*/ 1462 w 4482645"/>
              <a:gd name="connsiteY49" fmla="*/ 5237777 h 5513991"/>
              <a:gd name="connsiteX50" fmla="*/ 7874 w 4482645"/>
              <a:gd name="connsiteY50" fmla="*/ 4977753 h 5513991"/>
              <a:gd name="connsiteX51" fmla="*/ 20715 w 4482645"/>
              <a:gd name="connsiteY51" fmla="*/ 4752822 h 5513991"/>
              <a:gd name="connsiteX52" fmla="*/ 222466 w 4482645"/>
              <a:gd name="connsiteY52"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64488 w 4482645"/>
              <a:gd name="connsiteY8" fmla="*/ 563001 h 5513991"/>
              <a:gd name="connsiteX9" fmla="*/ 4450882 w 4482645"/>
              <a:gd name="connsiteY9" fmla="*/ 798696 h 5513991"/>
              <a:gd name="connsiteX10" fmla="*/ 4452595 w 4482645"/>
              <a:gd name="connsiteY10" fmla="*/ 803530 h 5513991"/>
              <a:gd name="connsiteX11" fmla="*/ 4450444 w 4482645"/>
              <a:gd name="connsiteY11" fmla="*/ 827361 h 5513991"/>
              <a:gd name="connsiteX12" fmla="*/ 4448844 w 4482645"/>
              <a:gd name="connsiteY12" fmla="*/ 835146 h 5513991"/>
              <a:gd name="connsiteX13" fmla="*/ 4442606 w 4482645"/>
              <a:gd name="connsiteY13" fmla="*/ 946777 h 5513991"/>
              <a:gd name="connsiteX14" fmla="*/ 4444683 w 4482645"/>
              <a:gd name="connsiteY14" fmla="*/ 947677 h 5513991"/>
              <a:gd name="connsiteX15" fmla="*/ 4448802 w 4482645"/>
              <a:gd name="connsiteY15" fmla="*/ 983859 h 5513991"/>
              <a:gd name="connsiteX16" fmla="*/ 4444004 w 4482645"/>
              <a:gd name="connsiteY16" fmla="*/ 1082386 h 5513991"/>
              <a:gd name="connsiteX17" fmla="*/ 4443899 w 4482645"/>
              <a:gd name="connsiteY17" fmla="*/ 1140681 h 5513991"/>
              <a:gd name="connsiteX18" fmla="*/ 4448202 w 4482645"/>
              <a:gd name="connsiteY18" fmla="*/ 1161797 h 5513991"/>
              <a:gd name="connsiteX19" fmla="*/ 4460109 w 4482645"/>
              <a:gd name="connsiteY19" fmla="*/ 1244449 h 5513991"/>
              <a:gd name="connsiteX20" fmla="*/ 4462386 w 4482645"/>
              <a:gd name="connsiteY20" fmla="*/ 1294666 h 5513991"/>
              <a:gd name="connsiteX21" fmla="*/ 4451924 w 4482645"/>
              <a:gd name="connsiteY21" fmla="*/ 1373054 h 5513991"/>
              <a:gd name="connsiteX22" fmla="*/ 4455188 w 4482645"/>
              <a:gd name="connsiteY22" fmla="*/ 1376999 h 5513991"/>
              <a:gd name="connsiteX23" fmla="*/ 4458030 w 4482645"/>
              <a:gd name="connsiteY23" fmla="*/ 1389816 h 5513991"/>
              <a:gd name="connsiteX24" fmla="*/ 4443105 w 4482645"/>
              <a:gd name="connsiteY24" fmla="*/ 1450629 h 5513991"/>
              <a:gd name="connsiteX25" fmla="*/ 4432208 w 4482645"/>
              <a:gd name="connsiteY25" fmla="*/ 1524330 h 5513991"/>
              <a:gd name="connsiteX26" fmla="*/ 4427327 w 4482645"/>
              <a:gd name="connsiteY26" fmla="*/ 1535289 h 5513991"/>
              <a:gd name="connsiteX27" fmla="*/ 4412899 w 4482645"/>
              <a:gd name="connsiteY27" fmla="*/ 1607363 h 5513991"/>
              <a:gd name="connsiteX28" fmla="*/ 4409184 w 4482645"/>
              <a:gd name="connsiteY28" fmla="*/ 1645395 h 5513991"/>
              <a:gd name="connsiteX29" fmla="*/ 4412844 w 4482645"/>
              <a:gd name="connsiteY29" fmla="*/ 1649850 h 5513991"/>
              <a:gd name="connsiteX30" fmla="*/ 4411194 w 4482645"/>
              <a:gd name="connsiteY30" fmla="*/ 1661048 h 5513991"/>
              <a:gd name="connsiteX31" fmla="*/ 4413117 w 4482645"/>
              <a:gd name="connsiteY31" fmla="*/ 1681560 h 5513991"/>
              <a:gd name="connsiteX32" fmla="*/ 4401647 w 4482645"/>
              <a:gd name="connsiteY32" fmla="*/ 1716455 h 5513991"/>
              <a:gd name="connsiteX33" fmla="*/ 4391089 w 4482645"/>
              <a:gd name="connsiteY33" fmla="*/ 1868666 h 5513991"/>
              <a:gd name="connsiteX34" fmla="*/ 4399780 w 4482645"/>
              <a:gd name="connsiteY34" fmla="*/ 1892828 h 5513991"/>
              <a:gd name="connsiteX35" fmla="*/ 4402058 w 4482645"/>
              <a:gd name="connsiteY35" fmla="*/ 1943047 h 5513991"/>
              <a:gd name="connsiteX36" fmla="*/ 4401177 w 4482645"/>
              <a:gd name="connsiteY36" fmla="*/ 1976676 h 5513991"/>
              <a:gd name="connsiteX37" fmla="*/ 4400715 w 4482645"/>
              <a:gd name="connsiteY37" fmla="*/ 1981536 h 5513991"/>
              <a:gd name="connsiteX38" fmla="*/ 4391595 w 4482645"/>
              <a:gd name="connsiteY38" fmla="*/ 2021434 h 5513991"/>
              <a:gd name="connsiteX39" fmla="*/ 4394860 w 4482645"/>
              <a:gd name="connsiteY39" fmla="*/ 2025379 h 5513991"/>
              <a:gd name="connsiteX40" fmla="*/ 4397701 w 4482645"/>
              <a:gd name="connsiteY40" fmla="*/ 2038196 h 5513991"/>
              <a:gd name="connsiteX41" fmla="*/ 4392960 w 4482645"/>
              <a:gd name="connsiteY41" fmla="*/ 2048781 h 5513991"/>
              <a:gd name="connsiteX42" fmla="*/ 4382776 w 4482645"/>
              <a:gd name="connsiteY42" fmla="*/ 2099011 h 5513991"/>
              <a:gd name="connsiteX43" fmla="*/ 4375445 w 4482645"/>
              <a:gd name="connsiteY43" fmla="*/ 2148592 h 5513991"/>
              <a:gd name="connsiteX44" fmla="*/ 4243956 w 4482645"/>
              <a:gd name="connsiteY44" fmla="*/ 5036659 h 5513991"/>
              <a:gd name="connsiteX45" fmla="*/ 4242847 w 4482645"/>
              <a:gd name="connsiteY45" fmla="*/ 5242987 h 5513991"/>
              <a:gd name="connsiteX46" fmla="*/ 4187554 w 4482645"/>
              <a:gd name="connsiteY46" fmla="*/ 5513970 h 5513991"/>
              <a:gd name="connsiteX47" fmla="*/ 298746 w 4482645"/>
              <a:gd name="connsiteY47" fmla="*/ 5249166 h 5513991"/>
              <a:gd name="connsiteX48" fmla="*/ 1462 w 4482645"/>
              <a:gd name="connsiteY48" fmla="*/ 5237777 h 5513991"/>
              <a:gd name="connsiteX49" fmla="*/ 7874 w 4482645"/>
              <a:gd name="connsiteY49" fmla="*/ 4977753 h 5513991"/>
              <a:gd name="connsiteX50" fmla="*/ 20715 w 4482645"/>
              <a:gd name="connsiteY50" fmla="*/ 4752822 h 5513991"/>
              <a:gd name="connsiteX51" fmla="*/ 222466 w 4482645"/>
              <a:gd name="connsiteY51"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64488 w 4482645"/>
              <a:gd name="connsiteY8" fmla="*/ 563001 h 5513991"/>
              <a:gd name="connsiteX9" fmla="*/ 4450882 w 4482645"/>
              <a:gd name="connsiteY9" fmla="*/ 798696 h 5513991"/>
              <a:gd name="connsiteX10" fmla="*/ 4452595 w 4482645"/>
              <a:gd name="connsiteY10" fmla="*/ 803530 h 5513991"/>
              <a:gd name="connsiteX11" fmla="*/ 4450444 w 4482645"/>
              <a:gd name="connsiteY11" fmla="*/ 827361 h 5513991"/>
              <a:gd name="connsiteX12" fmla="*/ 4448844 w 4482645"/>
              <a:gd name="connsiteY12" fmla="*/ 835146 h 5513991"/>
              <a:gd name="connsiteX13" fmla="*/ 4442606 w 4482645"/>
              <a:gd name="connsiteY13" fmla="*/ 946777 h 5513991"/>
              <a:gd name="connsiteX14" fmla="*/ 4444683 w 4482645"/>
              <a:gd name="connsiteY14" fmla="*/ 947677 h 5513991"/>
              <a:gd name="connsiteX15" fmla="*/ 4448802 w 4482645"/>
              <a:gd name="connsiteY15" fmla="*/ 983859 h 5513991"/>
              <a:gd name="connsiteX16" fmla="*/ 4444004 w 4482645"/>
              <a:gd name="connsiteY16" fmla="*/ 1082386 h 5513991"/>
              <a:gd name="connsiteX17" fmla="*/ 4443899 w 4482645"/>
              <a:gd name="connsiteY17" fmla="*/ 1140681 h 5513991"/>
              <a:gd name="connsiteX18" fmla="*/ 4448202 w 4482645"/>
              <a:gd name="connsiteY18" fmla="*/ 1161797 h 5513991"/>
              <a:gd name="connsiteX19" fmla="*/ 4460109 w 4482645"/>
              <a:gd name="connsiteY19" fmla="*/ 1244449 h 5513991"/>
              <a:gd name="connsiteX20" fmla="*/ 4451924 w 4482645"/>
              <a:gd name="connsiteY20" fmla="*/ 1373054 h 5513991"/>
              <a:gd name="connsiteX21" fmla="*/ 4455188 w 4482645"/>
              <a:gd name="connsiteY21" fmla="*/ 1376999 h 5513991"/>
              <a:gd name="connsiteX22" fmla="*/ 4458030 w 4482645"/>
              <a:gd name="connsiteY22" fmla="*/ 1389816 h 5513991"/>
              <a:gd name="connsiteX23" fmla="*/ 4443105 w 4482645"/>
              <a:gd name="connsiteY23" fmla="*/ 1450629 h 5513991"/>
              <a:gd name="connsiteX24" fmla="*/ 4432208 w 4482645"/>
              <a:gd name="connsiteY24" fmla="*/ 1524330 h 5513991"/>
              <a:gd name="connsiteX25" fmla="*/ 4427327 w 4482645"/>
              <a:gd name="connsiteY25" fmla="*/ 1535289 h 5513991"/>
              <a:gd name="connsiteX26" fmla="*/ 4412899 w 4482645"/>
              <a:gd name="connsiteY26" fmla="*/ 1607363 h 5513991"/>
              <a:gd name="connsiteX27" fmla="*/ 4409184 w 4482645"/>
              <a:gd name="connsiteY27" fmla="*/ 1645395 h 5513991"/>
              <a:gd name="connsiteX28" fmla="*/ 4412844 w 4482645"/>
              <a:gd name="connsiteY28" fmla="*/ 1649850 h 5513991"/>
              <a:gd name="connsiteX29" fmla="*/ 4411194 w 4482645"/>
              <a:gd name="connsiteY29" fmla="*/ 1661048 h 5513991"/>
              <a:gd name="connsiteX30" fmla="*/ 4413117 w 4482645"/>
              <a:gd name="connsiteY30" fmla="*/ 1681560 h 5513991"/>
              <a:gd name="connsiteX31" fmla="*/ 4401647 w 4482645"/>
              <a:gd name="connsiteY31" fmla="*/ 1716455 h 5513991"/>
              <a:gd name="connsiteX32" fmla="*/ 4391089 w 4482645"/>
              <a:gd name="connsiteY32" fmla="*/ 1868666 h 5513991"/>
              <a:gd name="connsiteX33" fmla="*/ 4399780 w 4482645"/>
              <a:gd name="connsiteY33" fmla="*/ 1892828 h 5513991"/>
              <a:gd name="connsiteX34" fmla="*/ 4402058 w 4482645"/>
              <a:gd name="connsiteY34" fmla="*/ 1943047 h 5513991"/>
              <a:gd name="connsiteX35" fmla="*/ 4401177 w 4482645"/>
              <a:gd name="connsiteY35" fmla="*/ 1976676 h 5513991"/>
              <a:gd name="connsiteX36" fmla="*/ 4400715 w 4482645"/>
              <a:gd name="connsiteY36" fmla="*/ 1981536 h 5513991"/>
              <a:gd name="connsiteX37" fmla="*/ 4391595 w 4482645"/>
              <a:gd name="connsiteY37" fmla="*/ 2021434 h 5513991"/>
              <a:gd name="connsiteX38" fmla="*/ 4394860 w 4482645"/>
              <a:gd name="connsiteY38" fmla="*/ 2025379 h 5513991"/>
              <a:gd name="connsiteX39" fmla="*/ 4397701 w 4482645"/>
              <a:gd name="connsiteY39" fmla="*/ 2038196 h 5513991"/>
              <a:gd name="connsiteX40" fmla="*/ 4392960 w 4482645"/>
              <a:gd name="connsiteY40" fmla="*/ 2048781 h 5513991"/>
              <a:gd name="connsiteX41" fmla="*/ 4382776 w 4482645"/>
              <a:gd name="connsiteY41" fmla="*/ 2099011 h 5513991"/>
              <a:gd name="connsiteX42" fmla="*/ 4375445 w 4482645"/>
              <a:gd name="connsiteY42" fmla="*/ 2148592 h 5513991"/>
              <a:gd name="connsiteX43" fmla="*/ 4243956 w 4482645"/>
              <a:gd name="connsiteY43" fmla="*/ 5036659 h 5513991"/>
              <a:gd name="connsiteX44" fmla="*/ 4242847 w 4482645"/>
              <a:gd name="connsiteY44" fmla="*/ 5242987 h 5513991"/>
              <a:gd name="connsiteX45" fmla="*/ 4187554 w 4482645"/>
              <a:gd name="connsiteY45" fmla="*/ 5513970 h 5513991"/>
              <a:gd name="connsiteX46" fmla="*/ 298746 w 4482645"/>
              <a:gd name="connsiteY46" fmla="*/ 5249166 h 5513991"/>
              <a:gd name="connsiteX47" fmla="*/ 1462 w 4482645"/>
              <a:gd name="connsiteY47" fmla="*/ 5237777 h 5513991"/>
              <a:gd name="connsiteX48" fmla="*/ 7874 w 4482645"/>
              <a:gd name="connsiteY48" fmla="*/ 4977753 h 5513991"/>
              <a:gd name="connsiteX49" fmla="*/ 20715 w 4482645"/>
              <a:gd name="connsiteY49" fmla="*/ 4752822 h 5513991"/>
              <a:gd name="connsiteX50" fmla="*/ 222466 w 4482645"/>
              <a:gd name="connsiteY50"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64488 w 4482645"/>
              <a:gd name="connsiteY8" fmla="*/ 563001 h 5513991"/>
              <a:gd name="connsiteX9" fmla="*/ 4450882 w 4482645"/>
              <a:gd name="connsiteY9" fmla="*/ 798696 h 5513991"/>
              <a:gd name="connsiteX10" fmla="*/ 4452595 w 4482645"/>
              <a:gd name="connsiteY10" fmla="*/ 803530 h 5513991"/>
              <a:gd name="connsiteX11" fmla="*/ 4450444 w 4482645"/>
              <a:gd name="connsiteY11" fmla="*/ 827361 h 5513991"/>
              <a:gd name="connsiteX12" fmla="*/ 4448844 w 4482645"/>
              <a:gd name="connsiteY12" fmla="*/ 835146 h 5513991"/>
              <a:gd name="connsiteX13" fmla="*/ 4442606 w 4482645"/>
              <a:gd name="connsiteY13" fmla="*/ 946777 h 5513991"/>
              <a:gd name="connsiteX14" fmla="*/ 4444683 w 4482645"/>
              <a:gd name="connsiteY14" fmla="*/ 947677 h 5513991"/>
              <a:gd name="connsiteX15" fmla="*/ 4448802 w 4482645"/>
              <a:gd name="connsiteY15" fmla="*/ 983859 h 5513991"/>
              <a:gd name="connsiteX16" fmla="*/ 4444004 w 4482645"/>
              <a:gd name="connsiteY16" fmla="*/ 1082386 h 5513991"/>
              <a:gd name="connsiteX17" fmla="*/ 4443899 w 4482645"/>
              <a:gd name="connsiteY17" fmla="*/ 1140681 h 5513991"/>
              <a:gd name="connsiteX18" fmla="*/ 4448202 w 4482645"/>
              <a:gd name="connsiteY18" fmla="*/ 1161797 h 5513991"/>
              <a:gd name="connsiteX19" fmla="*/ 4451924 w 4482645"/>
              <a:gd name="connsiteY19" fmla="*/ 1373054 h 5513991"/>
              <a:gd name="connsiteX20" fmla="*/ 4455188 w 4482645"/>
              <a:gd name="connsiteY20" fmla="*/ 1376999 h 5513991"/>
              <a:gd name="connsiteX21" fmla="*/ 4458030 w 4482645"/>
              <a:gd name="connsiteY21" fmla="*/ 1389816 h 5513991"/>
              <a:gd name="connsiteX22" fmla="*/ 4443105 w 4482645"/>
              <a:gd name="connsiteY22" fmla="*/ 1450629 h 5513991"/>
              <a:gd name="connsiteX23" fmla="*/ 4432208 w 4482645"/>
              <a:gd name="connsiteY23" fmla="*/ 1524330 h 5513991"/>
              <a:gd name="connsiteX24" fmla="*/ 4427327 w 4482645"/>
              <a:gd name="connsiteY24" fmla="*/ 1535289 h 5513991"/>
              <a:gd name="connsiteX25" fmla="*/ 4412899 w 4482645"/>
              <a:gd name="connsiteY25" fmla="*/ 1607363 h 5513991"/>
              <a:gd name="connsiteX26" fmla="*/ 4409184 w 4482645"/>
              <a:gd name="connsiteY26" fmla="*/ 1645395 h 5513991"/>
              <a:gd name="connsiteX27" fmla="*/ 4412844 w 4482645"/>
              <a:gd name="connsiteY27" fmla="*/ 1649850 h 5513991"/>
              <a:gd name="connsiteX28" fmla="*/ 4411194 w 4482645"/>
              <a:gd name="connsiteY28" fmla="*/ 1661048 h 5513991"/>
              <a:gd name="connsiteX29" fmla="*/ 4413117 w 4482645"/>
              <a:gd name="connsiteY29" fmla="*/ 1681560 h 5513991"/>
              <a:gd name="connsiteX30" fmla="*/ 4401647 w 4482645"/>
              <a:gd name="connsiteY30" fmla="*/ 1716455 h 5513991"/>
              <a:gd name="connsiteX31" fmla="*/ 4391089 w 4482645"/>
              <a:gd name="connsiteY31" fmla="*/ 1868666 h 5513991"/>
              <a:gd name="connsiteX32" fmla="*/ 4399780 w 4482645"/>
              <a:gd name="connsiteY32" fmla="*/ 1892828 h 5513991"/>
              <a:gd name="connsiteX33" fmla="*/ 4402058 w 4482645"/>
              <a:gd name="connsiteY33" fmla="*/ 1943047 h 5513991"/>
              <a:gd name="connsiteX34" fmla="*/ 4401177 w 4482645"/>
              <a:gd name="connsiteY34" fmla="*/ 1976676 h 5513991"/>
              <a:gd name="connsiteX35" fmla="*/ 4400715 w 4482645"/>
              <a:gd name="connsiteY35" fmla="*/ 1981536 h 5513991"/>
              <a:gd name="connsiteX36" fmla="*/ 4391595 w 4482645"/>
              <a:gd name="connsiteY36" fmla="*/ 2021434 h 5513991"/>
              <a:gd name="connsiteX37" fmla="*/ 4394860 w 4482645"/>
              <a:gd name="connsiteY37" fmla="*/ 2025379 h 5513991"/>
              <a:gd name="connsiteX38" fmla="*/ 4397701 w 4482645"/>
              <a:gd name="connsiteY38" fmla="*/ 2038196 h 5513991"/>
              <a:gd name="connsiteX39" fmla="*/ 4392960 w 4482645"/>
              <a:gd name="connsiteY39" fmla="*/ 2048781 h 5513991"/>
              <a:gd name="connsiteX40" fmla="*/ 4382776 w 4482645"/>
              <a:gd name="connsiteY40" fmla="*/ 2099011 h 5513991"/>
              <a:gd name="connsiteX41" fmla="*/ 4375445 w 4482645"/>
              <a:gd name="connsiteY41" fmla="*/ 2148592 h 5513991"/>
              <a:gd name="connsiteX42" fmla="*/ 4243956 w 4482645"/>
              <a:gd name="connsiteY42" fmla="*/ 5036659 h 5513991"/>
              <a:gd name="connsiteX43" fmla="*/ 4242847 w 4482645"/>
              <a:gd name="connsiteY43" fmla="*/ 5242987 h 5513991"/>
              <a:gd name="connsiteX44" fmla="*/ 4187554 w 4482645"/>
              <a:gd name="connsiteY44" fmla="*/ 5513970 h 5513991"/>
              <a:gd name="connsiteX45" fmla="*/ 298746 w 4482645"/>
              <a:gd name="connsiteY45" fmla="*/ 5249166 h 5513991"/>
              <a:gd name="connsiteX46" fmla="*/ 1462 w 4482645"/>
              <a:gd name="connsiteY46" fmla="*/ 5237777 h 5513991"/>
              <a:gd name="connsiteX47" fmla="*/ 7874 w 4482645"/>
              <a:gd name="connsiteY47" fmla="*/ 4977753 h 5513991"/>
              <a:gd name="connsiteX48" fmla="*/ 20715 w 4482645"/>
              <a:gd name="connsiteY48" fmla="*/ 4752822 h 5513991"/>
              <a:gd name="connsiteX49" fmla="*/ 222466 w 4482645"/>
              <a:gd name="connsiteY49"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64488 w 4482645"/>
              <a:gd name="connsiteY8" fmla="*/ 563001 h 5513991"/>
              <a:gd name="connsiteX9" fmla="*/ 4450882 w 4482645"/>
              <a:gd name="connsiteY9" fmla="*/ 798696 h 5513991"/>
              <a:gd name="connsiteX10" fmla="*/ 4452595 w 4482645"/>
              <a:gd name="connsiteY10" fmla="*/ 803530 h 5513991"/>
              <a:gd name="connsiteX11" fmla="*/ 4450444 w 4482645"/>
              <a:gd name="connsiteY11" fmla="*/ 827361 h 5513991"/>
              <a:gd name="connsiteX12" fmla="*/ 4448844 w 4482645"/>
              <a:gd name="connsiteY12" fmla="*/ 835146 h 5513991"/>
              <a:gd name="connsiteX13" fmla="*/ 4442606 w 4482645"/>
              <a:gd name="connsiteY13" fmla="*/ 946777 h 5513991"/>
              <a:gd name="connsiteX14" fmla="*/ 4444683 w 4482645"/>
              <a:gd name="connsiteY14" fmla="*/ 947677 h 5513991"/>
              <a:gd name="connsiteX15" fmla="*/ 4444004 w 4482645"/>
              <a:gd name="connsiteY15" fmla="*/ 1082386 h 5513991"/>
              <a:gd name="connsiteX16" fmla="*/ 4443899 w 4482645"/>
              <a:gd name="connsiteY16" fmla="*/ 1140681 h 5513991"/>
              <a:gd name="connsiteX17" fmla="*/ 4448202 w 4482645"/>
              <a:gd name="connsiteY17" fmla="*/ 1161797 h 5513991"/>
              <a:gd name="connsiteX18" fmla="*/ 4451924 w 4482645"/>
              <a:gd name="connsiteY18" fmla="*/ 1373054 h 5513991"/>
              <a:gd name="connsiteX19" fmla="*/ 4455188 w 4482645"/>
              <a:gd name="connsiteY19" fmla="*/ 1376999 h 5513991"/>
              <a:gd name="connsiteX20" fmla="*/ 4458030 w 4482645"/>
              <a:gd name="connsiteY20" fmla="*/ 1389816 h 5513991"/>
              <a:gd name="connsiteX21" fmla="*/ 4443105 w 4482645"/>
              <a:gd name="connsiteY21" fmla="*/ 1450629 h 5513991"/>
              <a:gd name="connsiteX22" fmla="*/ 4432208 w 4482645"/>
              <a:gd name="connsiteY22" fmla="*/ 1524330 h 5513991"/>
              <a:gd name="connsiteX23" fmla="*/ 4427327 w 4482645"/>
              <a:gd name="connsiteY23" fmla="*/ 1535289 h 5513991"/>
              <a:gd name="connsiteX24" fmla="*/ 4412899 w 4482645"/>
              <a:gd name="connsiteY24" fmla="*/ 1607363 h 5513991"/>
              <a:gd name="connsiteX25" fmla="*/ 4409184 w 4482645"/>
              <a:gd name="connsiteY25" fmla="*/ 1645395 h 5513991"/>
              <a:gd name="connsiteX26" fmla="*/ 4412844 w 4482645"/>
              <a:gd name="connsiteY26" fmla="*/ 1649850 h 5513991"/>
              <a:gd name="connsiteX27" fmla="*/ 4411194 w 4482645"/>
              <a:gd name="connsiteY27" fmla="*/ 1661048 h 5513991"/>
              <a:gd name="connsiteX28" fmla="*/ 4413117 w 4482645"/>
              <a:gd name="connsiteY28" fmla="*/ 1681560 h 5513991"/>
              <a:gd name="connsiteX29" fmla="*/ 4401647 w 4482645"/>
              <a:gd name="connsiteY29" fmla="*/ 1716455 h 5513991"/>
              <a:gd name="connsiteX30" fmla="*/ 4391089 w 4482645"/>
              <a:gd name="connsiteY30" fmla="*/ 1868666 h 5513991"/>
              <a:gd name="connsiteX31" fmla="*/ 4399780 w 4482645"/>
              <a:gd name="connsiteY31" fmla="*/ 1892828 h 5513991"/>
              <a:gd name="connsiteX32" fmla="*/ 4402058 w 4482645"/>
              <a:gd name="connsiteY32" fmla="*/ 1943047 h 5513991"/>
              <a:gd name="connsiteX33" fmla="*/ 4401177 w 4482645"/>
              <a:gd name="connsiteY33" fmla="*/ 1976676 h 5513991"/>
              <a:gd name="connsiteX34" fmla="*/ 4400715 w 4482645"/>
              <a:gd name="connsiteY34" fmla="*/ 1981536 h 5513991"/>
              <a:gd name="connsiteX35" fmla="*/ 4391595 w 4482645"/>
              <a:gd name="connsiteY35" fmla="*/ 2021434 h 5513991"/>
              <a:gd name="connsiteX36" fmla="*/ 4394860 w 4482645"/>
              <a:gd name="connsiteY36" fmla="*/ 2025379 h 5513991"/>
              <a:gd name="connsiteX37" fmla="*/ 4397701 w 4482645"/>
              <a:gd name="connsiteY37" fmla="*/ 2038196 h 5513991"/>
              <a:gd name="connsiteX38" fmla="*/ 4392960 w 4482645"/>
              <a:gd name="connsiteY38" fmla="*/ 2048781 h 5513991"/>
              <a:gd name="connsiteX39" fmla="*/ 4382776 w 4482645"/>
              <a:gd name="connsiteY39" fmla="*/ 2099011 h 5513991"/>
              <a:gd name="connsiteX40" fmla="*/ 4375445 w 4482645"/>
              <a:gd name="connsiteY40" fmla="*/ 2148592 h 5513991"/>
              <a:gd name="connsiteX41" fmla="*/ 4243956 w 4482645"/>
              <a:gd name="connsiteY41" fmla="*/ 5036659 h 5513991"/>
              <a:gd name="connsiteX42" fmla="*/ 4242847 w 4482645"/>
              <a:gd name="connsiteY42" fmla="*/ 5242987 h 5513991"/>
              <a:gd name="connsiteX43" fmla="*/ 4187554 w 4482645"/>
              <a:gd name="connsiteY43" fmla="*/ 5513970 h 5513991"/>
              <a:gd name="connsiteX44" fmla="*/ 298746 w 4482645"/>
              <a:gd name="connsiteY44" fmla="*/ 5249166 h 5513991"/>
              <a:gd name="connsiteX45" fmla="*/ 1462 w 4482645"/>
              <a:gd name="connsiteY45" fmla="*/ 5237777 h 5513991"/>
              <a:gd name="connsiteX46" fmla="*/ 7874 w 4482645"/>
              <a:gd name="connsiteY46" fmla="*/ 4977753 h 5513991"/>
              <a:gd name="connsiteX47" fmla="*/ 20715 w 4482645"/>
              <a:gd name="connsiteY47" fmla="*/ 4752822 h 5513991"/>
              <a:gd name="connsiteX48" fmla="*/ 222466 w 4482645"/>
              <a:gd name="connsiteY48"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50882 w 4482645"/>
              <a:gd name="connsiteY8" fmla="*/ 798696 h 5513991"/>
              <a:gd name="connsiteX9" fmla="*/ 4452595 w 4482645"/>
              <a:gd name="connsiteY9" fmla="*/ 803530 h 5513991"/>
              <a:gd name="connsiteX10" fmla="*/ 4450444 w 4482645"/>
              <a:gd name="connsiteY10" fmla="*/ 827361 h 5513991"/>
              <a:gd name="connsiteX11" fmla="*/ 4448844 w 4482645"/>
              <a:gd name="connsiteY11" fmla="*/ 835146 h 5513991"/>
              <a:gd name="connsiteX12" fmla="*/ 4442606 w 4482645"/>
              <a:gd name="connsiteY12" fmla="*/ 946777 h 5513991"/>
              <a:gd name="connsiteX13" fmla="*/ 4444683 w 4482645"/>
              <a:gd name="connsiteY13" fmla="*/ 947677 h 5513991"/>
              <a:gd name="connsiteX14" fmla="*/ 4444004 w 4482645"/>
              <a:gd name="connsiteY14" fmla="*/ 1082386 h 5513991"/>
              <a:gd name="connsiteX15" fmla="*/ 4443899 w 4482645"/>
              <a:gd name="connsiteY15" fmla="*/ 1140681 h 5513991"/>
              <a:gd name="connsiteX16" fmla="*/ 4448202 w 4482645"/>
              <a:gd name="connsiteY16" fmla="*/ 1161797 h 5513991"/>
              <a:gd name="connsiteX17" fmla="*/ 4451924 w 4482645"/>
              <a:gd name="connsiteY17" fmla="*/ 1373054 h 5513991"/>
              <a:gd name="connsiteX18" fmla="*/ 4455188 w 4482645"/>
              <a:gd name="connsiteY18" fmla="*/ 1376999 h 5513991"/>
              <a:gd name="connsiteX19" fmla="*/ 4458030 w 4482645"/>
              <a:gd name="connsiteY19" fmla="*/ 1389816 h 5513991"/>
              <a:gd name="connsiteX20" fmla="*/ 4443105 w 4482645"/>
              <a:gd name="connsiteY20" fmla="*/ 1450629 h 5513991"/>
              <a:gd name="connsiteX21" fmla="*/ 4432208 w 4482645"/>
              <a:gd name="connsiteY21" fmla="*/ 1524330 h 5513991"/>
              <a:gd name="connsiteX22" fmla="*/ 4427327 w 4482645"/>
              <a:gd name="connsiteY22" fmla="*/ 1535289 h 5513991"/>
              <a:gd name="connsiteX23" fmla="*/ 4412899 w 4482645"/>
              <a:gd name="connsiteY23" fmla="*/ 1607363 h 5513991"/>
              <a:gd name="connsiteX24" fmla="*/ 4409184 w 4482645"/>
              <a:gd name="connsiteY24" fmla="*/ 1645395 h 5513991"/>
              <a:gd name="connsiteX25" fmla="*/ 4412844 w 4482645"/>
              <a:gd name="connsiteY25" fmla="*/ 1649850 h 5513991"/>
              <a:gd name="connsiteX26" fmla="*/ 4411194 w 4482645"/>
              <a:gd name="connsiteY26" fmla="*/ 1661048 h 5513991"/>
              <a:gd name="connsiteX27" fmla="*/ 4413117 w 4482645"/>
              <a:gd name="connsiteY27" fmla="*/ 1681560 h 5513991"/>
              <a:gd name="connsiteX28" fmla="*/ 4401647 w 4482645"/>
              <a:gd name="connsiteY28" fmla="*/ 1716455 h 5513991"/>
              <a:gd name="connsiteX29" fmla="*/ 4391089 w 4482645"/>
              <a:gd name="connsiteY29" fmla="*/ 1868666 h 5513991"/>
              <a:gd name="connsiteX30" fmla="*/ 4399780 w 4482645"/>
              <a:gd name="connsiteY30" fmla="*/ 1892828 h 5513991"/>
              <a:gd name="connsiteX31" fmla="*/ 4402058 w 4482645"/>
              <a:gd name="connsiteY31" fmla="*/ 1943047 h 5513991"/>
              <a:gd name="connsiteX32" fmla="*/ 4401177 w 4482645"/>
              <a:gd name="connsiteY32" fmla="*/ 1976676 h 5513991"/>
              <a:gd name="connsiteX33" fmla="*/ 4400715 w 4482645"/>
              <a:gd name="connsiteY33" fmla="*/ 1981536 h 5513991"/>
              <a:gd name="connsiteX34" fmla="*/ 4391595 w 4482645"/>
              <a:gd name="connsiteY34" fmla="*/ 2021434 h 5513991"/>
              <a:gd name="connsiteX35" fmla="*/ 4394860 w 4482645"/>
              <a:gd name="connsiteY35" fmla="*/ 2025379 h 5513991"/>
              <a:gd name="connsiteX36" fmla="*/ 4397701 w 4482645"/>
              <a:gd name="connsiteY36" fmla="*/ 2038196 h 5513991"/>
              <a:gd name="connsiteX37" fmla="*/ 4392960 w 4482645"/>
              <a:gd name="connsiteY37" fmla="*/ 2048781 h 5513991"/>
              <a:gd name="connsiteX38" fmla="*/ 4382776 w 4482645"/>
              <a:gd name="connsiteY38" fmla="*/ 2099011 h 5513991"/>
              <a:gd name="connsiteX39" fmla="*/ 4375445 w 4482645"/>
              <a:gd name="connsiteY39" fmla="*/ 2148592 h 5513991"/>
              <a:gd name="connsiteX40" fmla="*/ 4243956 w 4482645"/>
              <a:gd name="connsiteY40" fmla="*/ 5036659 h 5513991"/>
              <a:gd name="connsiteX41" fmla="*/ 4242847 w 4482645"/>
              <a:gd name="connsiteY41" fmla="*/ 5242987 h 5513991"/>
              <a:gd name="connsiteX42" fmla="*/ 4187554 w 4482645"/>
              <a:gd name="connsiteY42" fmla="*/ 5513970 h 5513991"/>
              <a:gd name="connsiteX43" fmla="*/ 298746 w 4482645"/>
              <a:gd name="connsiteY43" fmla="*/ 5249166 h 5513991"/>
              <a:gd name="connsiteX44" fmla="*/ 1462 w 4482645"/>
              <a:gd name="connsiteY44" fmla="*/ 5237777 h 5513991"/>
              <a:gd name="connsiteX45" fmla="*/ 7874 w 4482645"/>
              <a:gd name="connsiteY45" fmla="*/ 4977753 h 5513991"/>
              <a:gd name="connsiteX46" fmla="*/ 20715 w 4482645"/>
              <a:gd name="connsiteY46" fmla="*/ 4752822 h 5513991"/>
              <a:gd name="connsiteX47" fmla="*/ 222466 w 4482645"/>
              <a:gd name="connsiteY47"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50882 w 4482645"/>
              <a:gd name="connsiteY8" fmla="*/ 798696 h 5513991"/>
              <a:gd name="connsiteX9" fmla="*/ 4452595 w 4482645"/>
              <a:gd name="connsiteY9" fmla="*/ 803530 h 5513991"/>
              <a:gd name="connsiteX10" fmla="*/ 4450444 w 4482645"/>
              <a:gd name="connsiteY10" fmla="*/ 827361 h 5513991"/>
              <a:gd name="connsiteX11" fmla="*/ 4448844 w 4482645"/>
              <a:gd name="connsiteY11" fmla="*/ 835146 h 5513991"/>
              <a:gd name="connsiteX12" fmla="*/ 4442606 w 4482645"/>
              <a:gd name="connsiteY12" fmla="*/ 946777 h 5513991"/>
              <a:gd name="connsiteX13" fmla="*/ 4444683 w 4482645"/>
              <a:gd name="connsiteY13" fmla="*/ 947677 h 5513991"/>
              <a:gd name="connsiteX14" fmla="*/ 4444004 w 4482645"/>
              <a:gd name="connsiteY14" fmla="*/ 1082386 h 5513991"/>
              <a:gd name="connsiteX15" fmla="*/ 4443899 w 4482645"/>
              <a:gd name="connsiteY15" fmla="*/ 1140681 h 5513991"/>
              <a:gd name="connsiteX16" fmla="*/ 4448202 w 4482645"/>
              <a:gd name="connsiteY16" fmla="*/ 1161797 h 5513991"/>
              <a:gd name="connsiteX17" fmla="*/ 4451924 w 4482645"/>
              <a:gd name="connsiteY17" fmla="*/ 1373054 h 5513991"/>
              <a:gd name="connsiteX18" fmla="*/ 4455188 w 4482645"/>
              <a:gd name="connsiteY18" fmla="*/ 1376999 h 5513991"/>
              <a:gd name="connsiteX19" fmla="*/ 4458030 w 4482645"/>
              <a:gd name="connsiteY19" fmla="*/ 1389816 h 5513991"/>
              <a:gd name="connsiteX20" fmla="*/ 4443105 w 4482645"/>
              <a:gd name="connsiteY20" fmla="*/ 1450629 h 5513991"/>
              <a:gd name="connsiteX21" fmla="*/ 4432208 w 4482645"/>
              <a:gd name="connsiteY21" fmla="*/ 1524330 h 5513991"/>
              <a:gd name="connsiteX22" fmla="*/ 4427327 w 4482645"/>
              <a:gd name="connsiteY22" fmla="*/ 1535289 h 5513991"/>
              <a:gd name="connsiteX23" fmla="*/ 4412899 w 4482645"/>
              <a:gd name="connsiteY23" fmla="*/ 1607363 h 5513991"/>
              <a:gd name="connsiteX24" fmla="*/ 4409184 w 4482645"/>
              <a:gd name="connsiteY24" fmla="*/ 1645395 h 5513991"/>
              <a:gd name="connsiteX25" fmla="*/ 4412844 w 4482645"/>
              <a:gd name="connsiteY25" fmla="*/ 1649850 h 5513991"/>
              <a:gd name="connsiteX26" fmla="*/ 4411194 w 4482645"/>
              <a:gd name="connsiteY26" fmla="*/ 1661048 h 5513991"/>
              <a:gd name="connsiteX27" fmla="*/ 4413117 w 4482645"/>
              <a:gd name="connsiteY27" fmla="*/ 1681560 h 5513991"/>
              <a:gd name="connsiteX28" fmla="*/ 4401647 w 4482645"/>
              <a:gd name="connsiteY28" fmla="*/ 1716455 h 5513991"/>
              <a:gd name="connsiteX29" fmla="*/ 4391089 w 4482645"/>
              <a:gd name="connsiteY29" fmla="*/ 1868666 h 5513991"/>
              <a:gd name="connsiteX30" fmla="*/ 4399780 w 4482645"/>
              <a:gd name="connsiteY30" fmla="*/ 1892828 h 5513991"/>
              <a:gd name="connsiteX31" fmla="*/ 4402058 w 4482645"/>
              <a:gd name="connsiteY31" fmla="*/ 1943047 h 5513991"/>
              <a:gd name="connsiteX32" fmla="*/ 4401177 w 4482645"/>
              <a:gd name="connsiteY32" fmla="*/ 1976676 h 5513991"/>
              <a:gd name="connsiteX33" fmla="*/ 4400715 w 4482645"/>
              <a:gd name="connsiteY33" fmla="*/ 1981536 h 5513991"/>
              <a:gd name="connsiteX34" fmla="*/ 4394860 w 4482645"/>
              <a:gd name="connsiteY34" fmla="*/ 2025379 h 5513991"/>
              <a:gd name="connsiteX35" fmla="*/ 4397701 w 4482645"/>
              <a:gd name="connsiteY35" fmla="*/ 2038196 h 5513991"/>
              <a:gd name="connsiteX36" fmla="*/ 4392960 w 4482645"/>
              <a:gd name="connsiteY36" fmla="*/ 2048781 h 5513991"/>
              <a:gd name="connsiteX37" fmla="*/ 4382776 w 4482645"/>
              <a:gd name="connsiteY37" fmla="*/ 2099011 h 5513991"/>
              <a:gd name="connsiteX38" fmla="*/ 4375445 w 4482645"/>
              <a:gd name="connsiteY38" fmla="*/ 2148592 h 5513991"/>
              <a:gd name="connsiteX39" fmla="*/ 4243956 w 4482645"/>
              <a:gd name="connsiteY39" fmla="*/ 5036659 h 5513991"/>
              <a:gd name="connsiteX40" fmla="*/ 4242847 w 4482645"/>
              <a:gd name="connsiteY40" fmla="*/ 5242987 h 5513991"/>
              <a:gd name="connsiteX41" fmla="*/ 4187554 w 4482645"/>
              <a:gd name="connsiteY41" fmla="*/ 5513970 h 5513991"/>
              <a:gd name="connsiteX42" fmla="*/ 298746 w 4482645"/>
              <a:gd name="connsiteY42" fmla="*/ 5249166 h 5513991"/>
              <a:gd name="connsiteX43" fmla="*/ 1462 w 4482645"/>
              <a:gd name="connsiteY43" fmla="*/ 5237777 h 5513991"/>
              <a:gd name="connsiteX44" fmla="*/ 7874 w 4482645"/>
              <a:gd name="connsiteY44" fmla="*/ 4977753 h 5513991"/>
              <a:gd name="connsiteX45" fmla="*/ 20715 w 4482645"/>
              <a:gd name="connsiteY45" fmla="*/ 4752822 h 5513991"/>
              <a:gd name="connsiteX46" fmla="*/ 222466 w 4482645"/>
              <a:gd name="connsiteY46"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50882 w 4482645"/>
              <a:gd name="connsiteY8" fmla="*/ 798696 h 5513991"/>
              <a:gd name="connsiteX9" fmla="*/ 4452595 w 4482645"/>
              <a:gd name="connsiteY9" fmla="*/ 803530 h 5513991"/>
              <a:gd name="connsiteX10" fmla="*/ 4450444 w 4482645"/>
              <a:gd name="connsiteY10" fmla="*/ 827361 h 5513991"/>
              <a:gd name="connsiteX11" fmla="*/ 4448844 w 4482645"/>
              <a:gd name="connsiteY11" fmla="*/ 835146 h 5513991"/>
              <a:gd name="connsiteX12" fmla="*/ 4442606 w 4482645"/>
              <a:gd name="connsiteY12" fmla="*/ 946777 h 5513991"/>
              <a:gd name="connsiteX13" fmla="*/ 4444683 w 4482645"/>
              <a:gd name="connsiteY13" fmla="*/ 947677 h 5513991"/>
              <a:gd name="connsiteX14" fmla="*/ 4444004 w 4482645"/>
              <a:gd name="connsiteY14" fmla="*/ 1082386 h 5513991"/>
              <a:gd name="connsiteX15" fmla="*/ 4443899 w 4482645"/>
              <a:gd name="connsiteY15" fmla="*/ 1140681 h 5513991"/>
              <a:gd name="connsiteX16" fmla="*/ 4448202 w 4482645"/>
              <a:gd name="connsiteY16" fmla="*/ 1161797 h 5513991"/>
              <a:gd name="connsiteX17" fmla="*/ 4451924 w 4482645"/>
              <a:gd name="connsiteY17" fmla="*/ 1373054 h 5513991"/>
              <a:gd name="connsiteX18" fmla="*/ 4455188 w 4482645"/>
              <a:gd name="connsiteY18" fmla="*/ 1376999 h 5513991"/>
              <a:gd name="connsiteX19" fmla="*/ 4458030 w 4482645"/>
              <a:gd name="connsiteY19" fmla="*/ 1389816 h 5513991"/>
              <a:gd name="connsiteX20" fmla="*/ 4443105 w 4482645"/>
              <a:gd name="connsiteY20" fmla="*/ 1450629 h 5513991"/>
              <a:gd name="connsiteX21" fmla="*/ 4432208 w 4482645"/>
              <a:gd name="connsiteY21" fmla="*/ 1524330 h 5513991"/>
              <a:gd name="connsiteX22" fmla="*/ 4427327 w 4482645"/>
              <a:gd name="connsiteY22" fmla="*/ 1535289 h 5513991"/>
              <a:gd name="connsiteX23" fmla="*/ 4412899 w 4482645"/>
              <a:gd name="connsiteY23" fmla="*/ 1607363 h 5513991"/>
              <a:gd name="connsiteX24" fmla="*/ 4409184 w 4482645"/>
              <a:gd name="connsiteY24" fmla="*/ 1645395 h 5513991"/>
              <a:gd name="connsiteX25" fmla="*/ 4412844 w 4482645"/>
              <a:gd name="connsiteY25" fmla="*/ 1649850 h 5513991"/>
              <a:gd name="connsiteX26" fmla="*/ 4411194 w 4482645"/>
              <a:gd name="connsiteY26" fmla="*/ 1661048 h 5513991"/>
              <a:gd name="connsiteX27" fmla="*/ 4413117 w 4482645"/>
              <a:gd name="connsiteY27" fmla="*/ 1681560 h 5513991"/>
              <a:gd name="connsiteX28" fmla="*/ 4401647 w 4482645"/>
              <a:gd name="connsiteY28" fmla="*/ 1716455 h 5513991"/>
              <a:gd name="connsiteX29" fmla="*/ 4391089 w 4482645"/>
              <a:gd name="connsiteY29" fmla="*/ 1868666 h 5513991"/>
              <a:gd name="connsiteX30" fmla="*/ 4399780 w 4482645"/>
              <a:gd name="connsiteY30" fmla="*/ 1892828 h 5513991"/>
              <a:gd name="connsiteX31" fmla="*/ 4402058 w 4482645"/>
              <a:gd name="connsiteY31" fmla="*/ 1943047 h 5513991"/>
              <a:gd name="connsiteX32" fmla="*/ 4401177 w 4482645"/>
              <a:gd name="connsiteY32" fmla="*/ 1976676 h 5513991"/>
              <a:gd name="connsiteX33" fmla="*/ 4394860 w 4482645"/>
              <a:gd name="connsiteY33" fmla="*/ 2025379 h 5513991"/>
              <a:gd name="connsiteX34" fmla="*/ 4397701 w 4482645"/>
              <a:gd name="connsiteY34" fmla="*/ 2038196 h 5513991"/>
              <a:gd name="connsiteX35" fmla="*/ 4392960 w 4482645"/>
              <a:gd name="connsiteY35" fmla="*/ 2048781 h 5513991"/>
              <a:gd name="connsiteX36" fmla="*/ 4382776 w 4482645"/>
              <a:gd name="connsiteY36" fmla="*/ 2099011 h 5513991"/>
              <a:gd name="connsiteX37" fmla="*/ 4375445 w 4482645"/>
              <a:gd name="connsiteY37" fmla="*/ 2148592 h 5513991"/>
              <a:gd name="connsiteX38" fmla="*/ 4243956 w 4482645"/>
              <a:gd name="connsiteY38" fmla="*/ 5036659 h 5513991"/>
              <a:gd name="connsiteX39" fmla="*/ 4242847 w 4482645"/>
              <a:gd name="connsiteY39" fmla="*/ 5242987 h 5513991"/>
              <a:gd name="connsiteX40" fmla="*/ 4187554 w 4482645"/>
              <a:gd name="connsiteY40" fmla="*/ 5513970 h 5513991"/>
              <a:gd name="connsiteX41" fmla="*/ 298746 w 4482645"/>
              <a:gd name="connsiteY41" fmla="*/ 5249166 h 5513991"/>
              <a:gd name="connsiteX42" fmla="*/ 1462 w 4482645"/>
              <a:gd name="connsiteY42" fmla="*/ 5237777 h 5513991"/>
              <a:gd name="connsiteX43" fmla="*/ 7874 w 4482645"/>
              <a:gd name="connsiteY43" fmla="*/ 4977753 h 5513991"/>
              <a:gd name="connsiteX44" fmla="*/ 20715 w 4482645"/>
              <a:gd name="connsiteY44" fmla="*/ 4752822 h 5513991"/>
              <a:gd name="connsiteX45" fmla="*/ 222466 w 4482645"/>
              <a:gd name="connsiteY45"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50882 w 4482645"/>
              <a:gd name="connsiteY8" fmla="*/ 798696 h 5513991"/>
              <a:gd name="connsiteX9" fmla="*/ 4452595 w 4482645"/>
              <a:gd name="connsiteY9" fmla="*/ 803530 h 5513991"/>
              <a:gd name="connsiteX10" fmla="*/ 4450444 w 4482645"/>
              <a:gd name="connsiteY10" fmla="*/ 827361 h 5513991"/>
              <a:gd name="connsiteX11" fmla="*/ 4448844 w 4482645"/>
              <a:gd name="connsiteY11" fmla="*/ 835146 h 5513991"/>
              <a:gd name="connsiteX12" fmla="*/ 4442606 w 4482645"/>
              <a:gd name="connsiteY12" fmla="*/ 946777 h 5513991"/>
              <a:gd name="connsiteX13" fmla="*/ 4444683 w 4482645"/>
              <a:gd name="connsiteY13" fmla="*/ 947677 h 5513991"/>
              <a:gd name="connsiteX14" fmla="*/ 4444004 w 4482645"/>
              <a:gd name="connsiteY14" fmla="*/ 1082386 h 5513991"/>
              <a:gd name="connsiteX15" fmla="*/ 4443899 w 4482645"/>
              <a:gd name="connsiteY15" fmla="*/ 1140681 h 5513991"/>
              <a:gd name="connsiteX16" fmla="*/ 4448202 w 4482645"/>
              <a:gd name="connsiteY16" fmla="*/ 1161797 h 5513991"/>
              <a:gd name="connsiteX17" fmla="*/ 4451924 w 4482645"/>
              <a:gd name="connsiteY17" fmla="*/ 1373054 h 5513991"/>
              <a:gd name="connsiteX18" fmla="*/ 4455188 w 4482645"/>
              <a:gd name="connsiteY18" fmla="*/ 1376999 h 5513991"/>
              <a:gd name="connsiteX19" fmla="*/ 4458030 w 4482645"/>
              <a:gd name="connsiteY19" fmla="*/ 1389816 h 5513991"/>
              <a:gd name="connsiteX20" fmla="*/ 4443105 w 4482645"/>
              <a:gd name="connsiteY20" fmla="*/ 1450629 h 5513991"/>
              <a:gd name="connsiteX21" fmla="*/ 4432208 w 4482645"/>
              <a:gd name="connsiteY21" fmla="*/ 1524330 h 5513991"/>
              <a:gd name="connsiteX22" fmla="*/ 4427327 w 4482645"/>
              <a:gd name="connsiteY22" fmla="*/ 1535289 h 5513991"/>
              <a:gd name="connsiteX23" fmla="*/ 4412899 w 4482645"/>
              <a:gd name="connsiteY23" fmla="*/ 1607363 h 5513991"/>
              <a:gd name="connsiteX24" fmla="*/ 4409184 w 4482645"/>
              <a:gd name="connsiteY24" fmla="*/ 1645395 h 5513991"/>
              <a:gd name="connsiteX25" fmla="*/ 4412844 w 4482645"/>
              <a:gd name="connsiteY25" fmla="*/ 1649850 h 5513991"/>
              <a:gd name="connsiteX26" fmla="*/ 4411194 w 4482645"/>
              <a:gd name="connsiteY26" fmla="*/ 1661048 h 5513991"/>
              <a:gd name="connsiteX27" fmla="*/ 4413117 w 4482645"/>
              <a:gd name="connsiteY27" fmla="*/ 1681560 h 5513991"/>
              <a:gd name="connsiteX28" fmla="*/ 4401647 w 4482645"/>
              <a:gd name="connsiteY28" fmla="*/ 1716455 h 5513991"/>
              <a:gd name="connsiteX29" fmla="*/ 4391089 w 4482645"/>
              <a:gd name="connsiteY29" fmla="*/ 1868666 h 5513991"/>
              <a:gd name="connsiteX30" fmla="*/ 4399780 w 4482645"/>
              <a:gd name="connsiteY30" fmla="*/ 1892828 h 5513991"/>
              <a:gd name="connsiteX31" fmla="*/ 4402058 w 4482645"/>
              <a:gd name="connsiteY31" fmla="*/ 1943047 h 5513991"/>
              <a:gd name="connsiteX32" fmla="*/ 4401177 w 4482645"/>
              <a:gd name="connsiteY32" fmla="*/ 1976676 h 5513991"/>
              <a:gd name="connsiteX33" fmla="*/ 4394860 w 4482645"/>
              <a:gd name="connsiteY33" fmla="*/ 2025379 h 5513991"/>
              <a:gd name="connsiteX34" fmla="*/ 4397701 w 4482645"/>
              <a:gd name="connsiteY34" fmla="*/ 2038196 h 5513991"/>
              <a:gd name="connsiteX35" fmla="*/ 4392960 w 4482645"/>
              <a:gd name="connsiteY35" fmla="*/ 2048781 h 5513991"/>
              <a:gd name="connsiteX36" fmla="*/ 4375445 w 4482645"/>
              <a:gd name="connsiteY36" fmla="*/ 2148592 h 5513991"/>
              <a:gd name="connsiteX37" fmla="*/ 4243956 w 4482645"/>
              <a:gd name="connsiteY37" fmla="*/ 5036659 h 5513991"/>
              <a:gd name="connsiteX38" fmla="*/ 4242847 w 4482645"/>
              <a:gd name="connsiteY38" fmla="*/ 5242987 h 5513991"/>
              <a:gd name="connsiteX39" fmla="*/ 4187554 w 4482645"/>
              <a:gd name="connsiteY39" fmla="*/ 5513970 h 5513991"/>
              <a:gd name="connsiteX40" fmla="*/ 298746 w 4482645"/>
              <a:gd name="connsiteY40" fmla="*/ 5249166 h 5513991"/>
              <a:gd name="connsiteX41" fmla="*/ 1462 w 4482645"/>
              <a:gd name="connsiteY41" fmla="*/ 5237777 h 5513991"/>
              <a:gd name="connsiteX42" fmla="*/ 7874 w 4482645"/>
              <a:gd name="connsiteY42" fmla="*/ 4977753 h 5513991"/>
              <a:gd name="connsiteX43" fmla="*/ 20715 w 4482645"/>
              <a:gd name="connsiteY43" fmla="*/ 4752822 h 5513991"/>
              <a:gd name="connsiteX44" fmla="*/ 222466 w 4482645"/>
              <a:gd name="connsiteY44"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50882 w 4482645"/>
              <a:gd name="connsiteY8" fmla="*/ 798696 h 5513991"/>
              <a:gd name="connsiteX9" fmla="*/ 4452595 w 4482645"/>
              <a:gd name="connsiteY9" fmla="*/ 803530 h 5513991"/>
              <a:gd name="connsiteX10" fmla="*/ 4450444 w 4482645"/>
              <a:gd name="connsiteY10" fmla="*/ 827361 h 5513991"/>
              <a:gd name="connsiteX11" fmla="*/ 4448844 w 4482645"/>
              <a:gd name="connsiteY11" fmla="*/ 835146 h 5513991"/>
              <a:gd name="connsiteX12" fmla="*/ 4442606 w 4482645"/>
              <a:gd name="connsiteY12" fmla="*/ 946777 h 5513991"/>
              <a:gd name="connsiteX13" fmla="*/ 4444683 w 4482645"/>
              <a:gd name="connsiteY13" fmla="*/ 947677 h 5513991"/>
              <a:gd name="connsiteX14" fmla="*/ 4444004 w 4482645"/>
              <a:gd name="connsiteY14" fmla="*/ 1082386 h 5513991"/>
              <a:gd name="connsiteX15" fmla="*/ 4443899 w 4482645"/>
              <a:gd name="connsiteY15" fmla="*/ 1140681 h 5513991"/>
              <a:gd name="connsiteX16" fmla="*/ 4448202 w 4482645"/>
              <a:gd name="connsiteY16" fmla="*/ 1161797 h 5513991"/>
              <a:gd name="connsiteX17" fmla="*/ 4451924 w 4482645"/>
              <a:gd name="connsiteY17" fmla="*/ 1373054 h 5513991"/>
              <a:gd name="connsiteX18" fmla="*/ 4455188 w 4482645"/>
              <a:gd name="connsiteY18" fmla="*/ 1376999 h 5513991"/>
              <a:gd name="connsiteX19" fmla="*/ 4458030 w 4482645"/>
              <a:gd name="connsiteY19" fmla="*/ 1389816 h 5513991"/>
              <a:gd name="connsiteX20" fmla="*/ 4443105 w 4482645"/>
              <a:gd name="connsiteY20" fmla="*/ 1450629 h 5513991"/>
              <a:gd name="connsiteX21" fmla="*/ 4432208 w 4482645"/>
              <a:gd name="connsiteY21" fmla="*/ 1524330 h 5513991"/>
              <a:gd name="connsiteX22" fmla="*/ 4427327 w 4482645"/>
              <a:gd name="connsiteY22" fmla="*/ 1535289 h 5513991"/>
              <a:gd name="connsiteX23" fmla="*/ 4412899 w 4482645"/>
              <a:gd name="connsiteY23" fmla="*/ 1607363 h 5513991"/>
              <a:gd name="connsiteX24" fmla="*/ 4409184 w 4482645"/>
              <a:gd name="connsiteY24" fmla="*/ 1645395 h 5513991"/>
              <a:gd name="connsiteX25" fmla="*/ 4412844 w 4482645"/>
              <a:gd name="connsiteY25" fmla="*/ 1649850 h 5513991"/>
              <a:gd name="connsiteX26" fmla="*/ 4411194 w 4482645"/>
              <a:gd name="connsiteY26" fmla="*/ 1661048 h 5513991"/>
              <a:gd name="connsiteX27" fmla="*/ 4413117 w 4482645"/>
              <a:gd name="connsiteY27" fmla="*/ 1681560 h 5513991"/>
              <a:gd name="connsiteX28" fmla="*/ 4401647 w 4482645"/>
              <a:gd name="connsiteY28" fmla="*/ 1716455 h 5513991"/>
              <a:gd name="connsiteX29" fmla="*/ 4391089 w 4482645"/>
              <a:gd name="connsiteY29" fmla="*/ 1868666 h 5513991"/>
              <a:gd name="connsiteX30" fmla="*/ 4399780 w 4482645"/>
              <a:gd name="connsiteY30" fmla="*/ 1892828 h 5513991"/>
              <a:gd name="connsiteX31" fmla="*/ 4402058 w 4482645"/>
              <a:gd name="connsiteY31" fmla="*/ 1943047 h 5513991"/>
              <a:gd name="connsiteX32" fmla="*/ 4394860 w 4482645"/>
              <a:gd name="connsiteY32" fmla="*/ 2025379 h 5513991"/>
              <a:gd name="connsiteX33" fmla="*/ 4397701 w 4482645"/>
              <a:gd name="connsiteY33" fmla="*/ 2038196 h 5513991"/>
              <a:gd name="connsiteX34" fmla="*/ 4392960 w 4482645"/>
              <a:gd name="connsiteY34" fmla="*/ 2048781 h 5513991"/>
              <a:gd name="connsiteX35" fmla="*/ 4375445 w 4482645"/>
              <a:gd name="connsiteY35" fmla="*/ 2148592 h 5513991"/>
              <a:gd name="connsiteX36" fmla="*/ 4243956 w 4482645"/>
              <a:gd name="connsiteY36" fmla="*/ 5036659 h 5513991"/>
              <a:gd name="connsiteX37" fmla="*/ 4242847 w 4482645"/>
              <a:gd name="connsiteY37" fmla="*/ 5242987 h 5513991"/>
              <a:gd name="connsiteX38" fmla="*/ 4187554 w 4482645"/>
              <a:gd name="connsiteY38" fmla="*/ 5513970 h 5513991"/>
              <a:gd name="connsiteX39" fmla="*/ 298746 w 4482645"/>
              <a:gd name="connsiteY39" fmla="*/ 5249166 h 5513991"/>
              <a:gd name="connsiteX40" fmla="*/ 1462 w 4482645"/>
              <a:gd name="connsiteY40" fmla="*/ 5237777 h 5513991"/>
              <a:gd name="connsiteX41" fmla="*/ 7874 w 4482645"/>
              <a:gd name="connsiteY41" fmla="*/ 4977753 h 5513991"/>
              <a:gd name="connsiteX42" fmla="*/ 20715 w 4482645"/>
              <a:gd name="connsiteY42" fmla="*/ 4752822 h 5513991"/>
              <a:gd name="connsiteX43" fmla="*/ 222466 w 4482645"/>
              <a:gd name="connsiteY43"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50882 w 4482645"/>
              <a:gd name="connsiteY8" fmla="*/ 798696 h 5513991"/>
              <a:gd name="connsiteX9" fmla="*/ 4452595 w 4482645"/>
              <a:gd name="connsiteY9" fmla="*/ 803530 h 5513991"/>
              <a:gd name="connsiteX10" fmla="*/ 4450444 w 4482645"/>
              <a:gd name="connsiteY10" fmla="*/ 827361 h 5513991"/>
              <a:gd name="connsiteX11" fmla="*/ 4448844 w 4482645"/>
              <a:gd name="connsiteY11" fmla="*/ 835146 h 5513991"/>
              <a:gd name="connsiteX12" fmla="*/ 4442606 w 4482645"/>
              <a:gd name="connsiteY12" fmla="*/ 946777 h 5513991"/>
              <a:gd name="connsiteX13" fmla="*/ 4444683 w 4482645"/>
              <a:gd name="connsiteY13" fmla="*/ 947677 h 5513991"/>
              <a:gd name="connsiteX14" fmla="*/ 4444004 w 4482645"/>
              <a:gd name="connsiteY14" fmla="*/ 1082386 h 5513991"/>
              <a:gd name="connsiteX15" fmla="*/ 4443899 w 4482645"/>
              <a:gd name="connsiteY15" fmla="*/ 1140681 h 5513991"/>
              <a:gd name="connsiteX16" fmla="*/ 4448202 w 4482645"/>
              <a:gd name="connsiteY16" fmla="*/ 1161797 h 5513991"/>
              <a:gd name="connsiteX17" fmla="*/ 4451924 w 4482645"/>
              <a:gd name="connsiteY17" fmla="*/ 1373054 h 5513991"/>
              <a:gd name="connsiteX18" fmla="*/ 4455188 w 4482645"/>
              <a:gd name="connsiteY18" fmla="*/ 1376999 h 5513991"/>
              <a:gd name="connsiteX19" fmla="*/ 4458030 w 4482645"/>
              <a:gd name="connsiteY19" fmla="*/ 1389816 h 5513991"/>
              <a:gd name="connsiteX20" fmla="*/ 4443105 w 4482645"/>
              <a:gd name="connsiteY20" fmla="*/ 1450629 h 5513991"/>
              <a:gd name="connsiteX21" fmla="*/ 4432208 w 4482645"/>
              <a:gd name="connsiteY21" fmla="*/ 1524330 h 5513991"/>
              <a:gd name="connsiteX22" fmla="*/ 4427327 w 4482645"/>
              <a:gd name="connsiteY22" fmla="*/ 1535289 h 5513991"/>
              <a:gd name="connsiteX23" fmla="*/ 4412899 w 4482645"/>
              <a:gd name="connsiteY23" fmla="*/ 1607363 h 5513991"/>
              <a:gd name="connsiteX24" fmla="*/ 4409184 w 4482645"/>
              <a:gd name="connsiteY24" fmla="*/ 1645395 h 5513991"/>
              <a:gd name="connsiteX25" fmla="*/ 4412844 w 4482645"/>
              <a:gd name="connsiteY25" fmla="*/ 1649850 h 5513991"/>
              <a:gd name="connsiteX26" fmla="*/ 4411194 w 4482645"/>
              <a:gd name="connsiteY26" fmla="*/ 1661048 h 5513991"/>
              <a:gd name="connsiteX27" fmla="*/ 4413117 w 4482645"/>
              <a:gd name="connsiteY27" fmla="*/ 1681560 h 5513991"/>
              <a:gd name="connsiteX28" fmla="*/ 4401647 w 4482645"/>
              <a:gd name="connsiteY28" fmla="*/ 1716455 h 5513991"/>
              <a:gd name="connsiteX29" fmla="*/ 4391089 w 4482645"/>
              <a:gd name="connsiteY29" fmla="*/ 1868666 h 5513991"/>
              <a:gd name="connsiteX30" fmla="*/ 4402058 w 4482645"/>
              <a:gd name="connsiteY30" fmla="*/ 1943047 h 5513991"/>
              <a:gd name="connsiteX31" fmla="*/ 4394860 w 4482645"/>
              <a:gd name="connsiteY31" fmla="*/ 2025379 h 5513991"/>
              <a:gd name="connsiteX32" fmla="*/ 4397701 w 4482645"/>
              <a:gd name="connsiteY32" fmla="*/ 2038196 h 5513991"/>
              <a:gd name="connsiteX33" fmla="*/ 4392960 w 4482645"/>
              <a:gd name="connsiteY33" fmla="*/ 2048781 h 5513991"/>
              <a:gd name="connsiteX34" fmla="*/ 4375445 w 4482645"/>
              <a:gd name="connsiteY34" fmla="*/ 2148592 h 5513991"/>
              <a:gd name="connsiteX35" fmla="*/ 4243956 w 4482645"/>
              <a:gd name="connsiteY35" fmla="*/ 5036659 h 5513991"/>
              <a:gd name="connsiteX36" fmla="*/ 4242847 w 4482645"/>
              <a:gd name="connsiteY36" fmla="*/ 5242987 h 5513991"/>
              <a:gd name="connsiteX37" fmla="*/ 4187554 w 4482645"/>
              <a:gd name="connsiteY37" fmla="*/ 5513970 h 5513991"/>
              <a:gd name="connsiteX38" fmla="*/ 298746 w 4482645"/>
              <a:gd name="connsiteY38" fmla="*/ 5249166 h 5513991"/>
              <a:gd name="connsiteX39" fmla="*/ 1462 w 4482645"/>
              <a:gd name="connsiteY39" fmla="*/ 5237777 h 5513991"/>
              <a:gd name="connsiteX40" fmla="*/ 7874 w 4482645"/>
              <a:gd name="connsiteY40" fmla="*/ 4977753 h 5513991"/>
              <a:gd name="connsiteX41" fmla="*/ 20715 w 4482645"/>
              <a:gd name="connsiteY41" fmla="*/ 4752822 h 5513991"/>
              <a:gd name="connsiteX42" fmla="*/ 222466 w 4482645"/>
              <a:gd name="connsiteY42"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50882 w 4482645"/>
              <a:gd name="connsiteY8" fmla="*/ 798696 h 5513991"/>
              <a:gd name="connsiteX9" fmla="*/ 4452595 w 4482645"/>
              <a:gd name="connsiteY9" fmla="*/ 803530 h 5513991"/>
              <a:gd name="connsiteX10" fmla="*/ 4450444 w 4482645"/>
              <a:gd name="connsiteY10" fmla="*/ 827361 h 5513991"/>
              <a:gd name="connsiteX11" fmla="*/ 4448844 w 4482645"/>
              <a:gd name="connsiteY11" fmla="*/ 835146 h 5513991"/>
              <a:gd name="connsiteX12" fmla="*/ 4442606 w 4482645"/>
              <a:gd name="connsiteY12" fmla="*/ 946777 h 5513991"/>
              <a:gd name="connsiteX13" fmla="*/ 4444683 w 4482645"/>
              <a:gd name="connsiteY13" fmla="*/ 947677 h 5513991"/>
              <a:gd name="connsiteX14" fmla="*/ 4444004 w 4482645"/>
              <a:gd name="connsiteY14" fmla="*/ 1082386 h 5513991"/>
              <a:gd name="connsiteX15" fmla="*/ 4443899 w 4482645"/>
              <a:gd name="connsiteY15" fmla="*/ 1140681 h 5513991"/>
              <a:gd name="connsiteX16" fmla="*/ 4448202 w 4482645"/>
              <a:gd name="connsiteY16" fmla="*/ 1161797 h 5513991"/>
              <a:gd name="connsiteX17" fmla="*/ 4451924 w 4482645"/>
              <a:gd name="connsiteY17" fmla="*/ 1373054 h 5513991"/>
              <a:gd name="connsiteX18" fmla="*/ 4455188 w 4482645"/>
              <a:gd name="connsiteY18" fmla="*/ 1376999 h 5513991"/>
              <a:gd name="connsiteX19" fmla="*/ 4458030 w 4482645"/>
              <a:gd name="connsiteY19" fmla="*/ 1389816 h 5513991"/>
              <a:gd name="connsiteX20" fmla="*/ 4443105 w 4482645"/>
              <a:gd name="connsiteY20" fmla="*/ 1450629 h 5513991"/>
              <a:gd name="connsiteX21" fmla="*/ 4432208 w 4482645"/>
              <a:gd name="connsiteY21" fmla="*/ 1524330 h 5513991"/>
              <a:gd name="connsiteX22" fmla="*/ 4427327 w 4482645"/>
              <a:gd name="connsiteY22" fmla="*/ 1535289 h 5513991"/>
              <a:gd name="connsiteX23" fmla="*/ 4412899 w 4482645"/>
              <a:gd name="connsiteY23" fmla="*/ 1607363 h 5513991"/>
              <a:gd name="connsiteX24" fmla="*/ 4409184 w 4482645"/>
              <a:gd name="connsiteY24" fmla="*/ 1645395 h 5513991"/>
              <a:gd name="connsiteX25" fmla="*/ 4412844 w 4482645"/>
              <a:gd name="connsiteY25" fmla="*/ 1649850 h 5513991"/>
              <a:gd name="connsiteX26" fmla="*/ 4411194 w 4482645"/>
              <a:gd name="connsiteY26" fmla="*/ 1661048 h 5513991"/>
              <a:gd name="connsiteX27" fmla="*/ 4413117 w 4482645"/>
              <a:gd name="connsiteY27" fmla="*/ 1681560 h 5513991"/>
              <a:gd name="connsiteX28" fmla="*/ 4401647 w 4482645"/>
              <a:gd name="connsiteY28" fmla="*/ 1716455 h 5513991"/>
              <a:gd name="connsiteX29" fmla="*/ 4391089 w 4482645"/>
              <a:gd name="connsiteY29" fmla="*/ 1868666 h 5513991"/>
              <a:gd name="connsiteX30" fmla="*/ 4402058 w 4482645"/>
              <a:gd name="connsiteY30" fmla="*/ 1943047 h 5513991"/>
              <a:gd name="connsiteX31" fmla="*/ 4394860 w 4482645"/>
              <a:gd name="connsiteY31" fmla="*/ 2025379 h 5513991"/>
              <a:gd name="connsiteX32" fmla="*/ 4397701 w 4482645"/>
              <a:gd name="connsiteY32" fmla="*/ 2038196 h 5513991"/>
              <a:gd name="connsiteX33" fmla="*/ 4375445 w 4482645"/>
              <a:gd name="connsiteY33" fmla="*/ 2148592 h 5513991"/>
              <a:gd name="connsiteX34" fmla="*/ 4243956 w 4482645"/>
              <a:gd name="connsiteY34" fmla="*/ 5036659 h 5513991"/>
              <a:gd name="connsiteX35" fmla="*/ 4242847 w 4482645"/>
              <a:gd name="connsiteY35" fmla="*/ 5242987 h 5513991"/>
              <a:gd name="connsiteX36" fmla="*/ 4187554 w 4482645"/>
              <a:gd name="connsiteY36" fmla="*/ 5513970 h 5513991"/>
              <a:gd name="connsiteX37" fmla="*/ 298746 w 4482645"/>
              <a:gd name="connsiteY37" fmla="*/ 5249166 h 5513991"/>
              <a:gd name="connsiteX38" fmla="*/ 1462 w 4482645"/>
              <a:gd name="connsiteY38" fmla="*/ 5237777 h 5513991"/>
              <a:gd name="connsiteX39" fmla="*/ 7874 w 4482645"/>
              <a:gd name="connsiteY39" fmla="*/ 4977753 h 5513991"/>
              <a:gd name="connsiteX40" fmla="*/ 20715 w 4482645"/>
              <a:gd name="connsiteY40" fmla="*/ 4752822 h 5513991"/>
              <a:gd name="connsiteX41" fmla="*/ 222466 w 4482645"/>
              <a:gd name="connsiteY41"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50882 w 4482645"/>
              <a:gd name="connsiteY8" fmla="*/ 798696 h 5513991"/>
              <a:gd name="connsiteX9" fmla="*/ 4452595 w 4482645"/>
              <a:gd name="connsiteY9" fmla="*/ 803530 h 5513991"/>
              <a:gd name="connsiteX10" fmla="*/ 4450444 w 4482645"/>
              <a:gd name="connsiteY10" fmla="*/ 827361 h 5513991"/>
              <a:gd name="connsiteX11" fmla="*/ 4448844 w 4482645"/>
              <a:gd name="connsiteY11" fmla="*/ 835146 h 5513991"/>
              <a:gd name="connsiteX12" fmla="*/ 4442606 w 4482645"/>
              <a:gd name="connsiteY12" fmla="*/ 946777 h 5513991"/>
              <a:gd name="connsiteX13" fmla="*/ 4444683 w 4482645"/>
              <a:gd name="connsiteY13" fmla="*/ 947677 h 5513991"/>
              <a:gd name="connsiteX14" fmla="*/ 4444004 w 4482645"/>
              <a:gd name="connsiteY14" fmla="*/ 1082386 h 5513991"/>
              <a:gd name="connsiteX15" fmla="*/ 4443899 w 4482645"/>
              <a:gd name="connsiteY15" fmla="*/ 1140681 h 5513991"/>
              <a:gd name="connsiteX16" fmla="*/ 4448202 w 4482645"/>
              <a:gd name="connsiteY16" fmla="*/ 1161797 h 5513991"/>
              <a:gd name="connsiteX17" fmla="*/ 4451924 w 4482645"/>
              <a:gd name="connsiteY17" fmla="*/ 1373054 h 5513991"/>
              <a:gd name="connsiteX18" fmla="*/ 4455188 w 4482645"/>
              <a:gd name="connsiteY18" fmla="*/ 1376999 h 5513991"/>
              <a:gd name="connsiteX19" fmla="*/ 4458030 w 4482645"/>
              <a:gd name="connsiteY19" fmla="*/ 1389816 h 5513991"/>
              <a:gd name="connsiteX20" fmla="*/ 4443105 w 4482645"/>
              <a:gd name="connsiteY20" fmla="*/ 1450629 h 5513991"/>
              <a:gd name="connsiteX21" fmla="*/ 4432208 w 4482645"/>
              <a:gd name="connsiteY21" fmla="*/ 1524330 h 5513991"/>
              <a:gd name="connsiteX22" fmla="*/ 4427327 w 4482645"/>
              <a:gd name="connsiteY22" fmla="*/ 1535289 h 5513991"/>
              <a:gd name="connsiteX23" fmla="*/ 4412899 w 4482645"/>
              <a:gd name="connsiteY23" fmla="*/ 1607363 h 5513991"/>
              <a:gd name="connsiteX24" fmla="*/ 4409184 w 4482645"/>
              <a:gd name="connsiteY24" fmla="*/ 1645395 h 5513991"/>
              <a:gd name="connsiteX25" fmla="*/ 4412844 w 4482645"/>
              <a:gd name="connsiteY25" fmla="*/ 1649850 h 5513991"/>
              <a:gd name="connsiteX26" fmla="*/ 4411194 w 4482645"/>
              <a:gd name="connsiteY26" fmla="*/ 1661048 h 5513991"/>
              <a:gd name="connsiteX27" fmla="*/ 4401647 w 4482645"/>
              <a:gd name="connsiteY27" fmla="*/ 1716455 h 5513991"/>
              <a:gd name="connsiteX28" fmla="*/ 4391089 w 4482645"/>
              <a:gd name="connsiteY28" fmla="*/ 1868666 h 5513991"/>
              <a:gd name="connsiteX29" fmla="*/ 4402058 w 4482645"/>
              <a:gd name="connsiteY29" fmla="*/ 1943047 h 5513991"/>
              <a:gd name="connsiteX30" fmla="*/ 4394860 w 4482645"/>
              <a:gd name="connsiteY30" fmla="*/ 2025379 h 5513991"/>
              <a:gd name="connsiteX31" fmla="*/ 4397701 w 4482645"/>
              <a:gd name="connsiteY31" fmla="*/ 2038196 h 5513991"/>
              <a:gd name="connsiteX32" fmla="*/ 4375445 w 4482645"/>
              <a:gd name="connsiteY32" fmla="*/ 2148592 h 5513991"/>
              <a:gd name="connsiteX33" fmla="*/ 4243956 w 4482645"/>
              <a:gd name="connsiteY33" fmla="*/ 5036659 h 5513991"/>
              <a:gd name="connsiteX34" fmla="*/ 4242847 w 4482645"/>
              <a:gd name="connsiteY34" fmla="*/ 5242987 h 5513991"/>
              <a:gd name="connsiteX35" fmla="*/ 4187554 w 4482645"/>
              <a:gd name="connsiteY35" fmla="*/ 5513970 h 5513991"/>
              <a:gd name="connsiteX36" fmla="*/ 298746 w 4482645"/>
              <a:gd name="connsiteY36" fmla="*/ 5249166 h 5513991"/>
              <a:gd name="connsiteX37" fmla="*/ 1462 w 4482645"/>
              <a:gd name="connsiteY37" fmla="*/ 5237777 h 5513991"/>
              <a:gd name="connsiteX38" fmla="*/ 7874 w 4482645"/>
              <a:gd name="connsiteY38" fmla="*/ 4977753 h 5513991"/>
              <a:gd name="connsiteX39" fmla="*/ 20715 w 4482645"/>
              <a:gd name="connsiteY39" fmla="*/ 4752822 h 5513991"/>
              <a:gd name="connsiteX40" fmla="*/ 222466 w 4482645"/>
              <a:gd name="connsiteY40"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50882 w 4482645"/>
              <a:gd name="connsiteY8" fmla="*/ 798696 h 5513991"/>
              <a:gd name="connsiteX9" fmla="*/ 4452595 w 4482645"/>
              <a:gd name="connsiteY9" fmla="*/ 803530 h 5513991"/>
              <a:gd name="connsiteX10" fmla="*/ 4450444 w 4482645"/>
              <a:gd name="connsiteY10" fmla="*/ 827361 h 5513991"/>
              <a:gd name="connsiteX11" fmla="*/ 4448844 w 4482645"/>
              <a:gd name="connsiteY11" fmla="*/ 835146 h 5513991"/>
              <a:gd name="connsiteX12" fmla="*/ 4442606 w 4482645"/>
              <a:gd name="connsiteY12" fmla="*/ 946777 h 5513991"/>
              <a:gd name="connsiteX13" fmla="*/ 4444683 w 4482645"/>
              <a:gd name="connsiteY13" fmla="*/ 947677 h 5513991"/>
              <a:gd name="connsiteX14" fmla="*/ 4444004 w 4482645"/>
              <a:gd name="connsiteY14" fmla="*/ 1082386 h 5513991"/>
              <a:gd name="connsiteX15" fmla="*/ 4443899 w 4482645"/>
              <a:gd name="connsiteY15" fmla="*/ 1140681 h 5513991"/>
              <a:gd name="connsiteX16" fmla="*/ 4448202 w 4482645"/>
              <a:gd name="connsiteY16" fmla="*/ 1161797 h 5513991"/>
              <a:gd name="connsiteX17" fmla="*/ 4451924 w 4482645"/>
              <a:gd name="connsiteY17" fmla="*/ 1373054 h 5513991"/>
              <a:gd name="connsiteX18" fmla="*/ 4455188 w 4482645"/>
              <a:gd name="connsiteY18" fmla="*/ 1376999 h 5513991"/>
              <a:gd name="connsiteX19" fmla="*/ 4458030 w 4482645"/>
              <a:gd name="connsiteY19" fmla="*/ 1389816 h 5513991"/>
              <a:gd name="connsiteX20" fmla="*/ 4443105 w 4482645"/>
              <a:gd name="connsiteY20" fmla="*/ 1450629 h 5513991"/>
              <a:gd name="connsiteX21" fmla="*/ 4432208 w 4482645"/>
              <a:gd name="connsiteY21" fmla="*/ 1524330 h 5513991"/>
              <a:gd name="connsiteX22" fmla="*/ 4427327 w 4482645"/>
              <a:gd name="connsiteY22" fmla="*/ 1535289 h 5513991"/>
              <a:gd name="connsiteX23" fmla="*/ 4412899 w 4482645"/>
              <a:gd name="connsiteY23" fmla="*/ 1607363 h 5513991"/>
              <a:gd name="connsiteX24" fmla="*/ 4409184 w 4482645"/>
              <a:gd name="connsiteY24" fmla="*/ 1645395 h 5513991"/>
              <a:gd name="connsiteX25" fmla="*/ 4412844 w 4482645"/>
              <a:gd name="connsiteY25" fmla="*/ 1649850 h 5513991"/>
              <a:gd name="connsiteX26" fmla="*/ 4401647 w 4482645"/>
              <a:gd name="connsiteY26" fmla="*/ 1716455 h 5513991"/>
              <a:gd name="connsiteX27" fmla="*/ 4391089 w 4482645"/>
              <a:gd name="connsiteY27" fmla="*/ 1868666 h 5513991"/>
              <a:gd name="connsiteX28" fmla="*/ 4402058 w 4482645"/>
              <a:gd name="connsiteY28" fmla="*/ 1943047 h 5513991"/>
              <a:gd name="connsiteX29" fmla="*/ 4394860 w 4482645"/>
              <a:gd name="connsiteY29" fmla="*/ 2025379 h 5513991"/>
              <a:gd name="connsiteX30" fmla="*/ 4397701 w 4482645"/>
              <a:gd name="connsiteY30" fmla="*/ 2038196 h 5513991"/>
              <a:gd name="connsiteX31" fmla="*/ 4375445 w 4482645"/>
              <a:gd name="connsiteY31" fmla="*/ 2148592 h 5513991"/>
              <a:gd name="connsiteX32" fmla="*/ 4243956 w 4482645"/>
              <a:gd name="connsiteY32" fmla="*/ 5036659 h 5513991"/>
              <a:gd name="connsiteX33" fmla="*/ 4242847 w 4482645"/>
              <a:gd name="connsiteY33" fmla="*/ 5242987 h 5513991"/>
              <a:gd name="connsiteX34" fmla="*/ 4187554 w 4482645"/>
              <a:gd name="connsiteY34" fmla="*/ 5513970 h 5513991"/>
              <a:gd name="connsiteX35" fmla="*/ 298746 w 4482645"/>
              <a:gd name="connsiteY35" fmla="*/ 5249166 h 5513991"/>
              <a:gd name="connsiteX36" fmla="*/ 1462 w 4482645"/>
              <a:gd name="connsiteY36" fmla="*/ 5237777 h 5513991"/>
              <a:gd name="connsiteX37" fmla="*/ 7874 w 4482645"/>
              <a:gd name="connsiteY37" fmla="*/ 4977753 h 5513991"/>
              <a:gd name="connsiteX38" fmla="*/ 20715 w 4482645"/>
              <a:gd name="connsiteY38" fmla="*/ 4752822 h 5513991"/>
              <a:gd name="connsiteX39" fmla="*/ 222466 w 4482645"/>
              <a:gd name="connsiteY39"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50882 w 4482645"/>
              <a:gd name="connsiteY8" fmla="*/ 798696 h 5513991"/>
              <a:gd name="connsiteX9" fmla="*/ 4452595 w 4482645"/>
              <a:gd name="connsiteY9" fmla="*/ 803530 h 5513991"/>
              <a:gd name="connsiteX10" fmla="*/ 4450444 w 4482645"/>
              <a:gd name="connsiteY10" fmla="*/ 827361 h 5513991"/>
              <a:gd name="connsiteX11" fmla="*/ 4448844 w 4482645"/>
              <a:gd name="connsiteY11" fmla="*/ 835146 h 5513991"/>
              <a:gd name="connsiteX12" fmla="*/ 4442606 w 4482645"/>
              <a:gd name="connsiteY12" fmla="*/ 946777 h 5513991"/>
              <a:gd name="connsiteX13" fmla="*/ 4444683 w 4482645"/>
              <a:gd name="connsiteY13" fmla="*/ 947677 h 5513991"/>
              <a:gd name="connsiteX14" fmla="*/ 4444004 w 4482645"/>
              <a:gd name="connsiteY14" fmla="*/ 1082386 h 5513991"/>
              <a:gd name="connsiteX15" fmla="*/ 4443899 w 4482645"/>
              <a:gd name="connsiteY15" fmla="*/ 1140681 h 5513991"/>
              <a:gd name="connsiteX16" fmla="*/ 4448202 w 4482645"/>
              <a:gd name="connsiteY16" fmla="*/ 1161797 h 5513991"/>
              <a:gd name="connsiteX17" fmla="*/ 4451924 w 4482645"/>
              <a:gd name="connsiteY17" fmla="*/ 1373054 h 5513991"/>
              <a:gd name="connsiteX18" fmla="*/ 4455188 w 4482645"/>
              <a:gd name="connsiteY18" fmla="*/ 1376999 h 5513991"/>
              <a:gd name="connsiteX19" fmla="*/ 4458030 w 4482645"/>
              <a:gd name="connsiteY19" fmla="*/ 1389816 h 5513991"/>
              <a:gd name="connsiteX20" fmla="*/ 4443105 w 4482645"/>
              <a:gd name="connsiteY20" fmla="*/ 1450629 h 5513991"/>
              <a:gd name="connsiteX21" fmla="*/ 4432208 w 4482645"/>
              <a:gd name="connsiteY21" fmla="*/ 1524330 h 5513991"/>
              <a:gd name="connsiteX22" fmla="*/ 4427327 w 4482645"/>
              <a:gd name="connsiteY22" fmla="*/ 1535289 h 5513991"/>
              <a:gd name="connsiteX23" fmla="*/ 4412899 w 4482645"/>
              <a:gd name="connsiteY23" fmla="*/ 1607363 h 5513991"/>
              <a:gd name="connsiteX24" fmla="*/ 4409184 w 4482645"/>
              <a:gd name="connsiteY24" fmla="*/ 1645395 h 5513991"/>
              <a:gd name="connsiteX25" fmla="*/ 4401647 w 4482645"/>
              <a:gd name="connsiteY25" fmla="*/ 1716455 h 5513991"/>
              <a:gd name="connsiteX26" fmla="*/ 4391089 w 4482645"/>
              <a:gd name="connsiteY26" fmla="*/ 1868666 h 5513991"/>
              <a:gd name="connsiteX27" fmla="*/ 4402058 w 4482645"/>
              <a:gd name="connsiteY27" fmla="*/ 1943047 h 5513991"/>
              <a:gd name="connsiteX28" fmla="*/ 4394860 w 4482645"/>
              <a:gd name="connsiteY28" fmla="*/ 2025379 h 5513991"/>
              <a:gd name="connsiteX29" fmla="*/ 4397701 w 4482645"/>
              <a:gd name="connsiteY29" fmla="*/ 2038196 h 5513991"/>
              <a:gd name="connsiteX30" fmla="*/ 4375445 w 4482645"/>
              <a:gd name="connsiteY30" fmla="*/ 2148592 h 5513991"/>
              <a:gd name="connsiteX31" fmla="*/ 4243956 w 4482645"/>
              <a:gd name="connsiteY31" fmla="*/ 5036659 h 5513991"/>
              <a:gd name="connsiteX32" fmla="*/ 4242847 w 4482645"/>
              <a:gd name="connsiteY32" fmla="*/ 5242987 h 5513991"/>
              <a:gd name="connsiteX33" fmla="*/ 4187554 w 4482645"/>
              <a:gd name="connsiteY33" fmla="*/ 5513970 h 5513991"/>
              <a:gd name="connsiteX34" fmla="*/ 298746 w 4482645"/>
              <a:gd name="connsiteY34" fmla="*/ 5249166 h 5513991"/>
              <a:gd name="connsiteX35" fmla="*/ 1462 w 4482645"/>
              <a:gd name="connsiteY35" fmla="*/ 5237777 h 5513991"/>
              <a:gd name="connsiteX36" fmla="*/ 7874 w 4482645"/>
              <a:gd name="connsiteY36" fmla="*/ 4977753 h 5513991"/>
              <a:gd name="connsiteX37" fmla="*/ 20715 w 4482645"/>
              <a:gd name="connsiteY37" fmla="*/ 4752822 h 5513991"/>
              <a:gd name="connsiteX38" fmla="*/ 222466 w 4482645"/>
              <a:gd name="connsiteY38"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50882 w 4482645"/>
              <a:gd name="connsiteY8" fmla="*/ 798696 h 5513991"/>
              <a:gd name="connsiteX9" fmla="*/ 4452595 w 4482645"/>
              <a:gd name="connsiteY9" fmla="*/ 803530 h 5513991"/>
              <a:gd name="connsiteX10" fmla="*/ 4450444 w 4482645"/>
              <a:gd name="connsiteY10" fmla="*/ 827361 h 5513991"/>
              <a:gd name="connsiteX11" fmla="*/ 4448844 w 4482645"/>
              <a:gd name="connsiteY11" fmla="*/ 835146 h 5513991"/>
              <a:gd name="connsiteX12" fmla="*/ 4442606 w 4482645"/>
              <a:gd name="connsiteY12" fmla="*/ 946777 h 5513991"/>
              <a:gd name="connsiteX13" fmla="*/ 4444683 w 4482645"/>
              <a:gd name="connsiteY13" fmla="*/ 947677 h 5513991"/>
              <a:gd name="connsiteX14" fmla="*/ 4444004 w 4482645"/>
              <a:gd name="connsiteY14" fmla="*/ 1082386 h 5513991"/>
              <a:gd name="connsiteX15" fmla="*/ 4443899 w 4482645"/>
              <a:gd name="connsiteY15" fmla="*/ 1140681 h 5513991"/>
              <a:gd name="connsiteX16" fmla="*/ 4448202 w 4482645"/>
              <a:gd name="connsiteY16" fmla="*/ 1161797 h 5513991"/>
              <a:gd name="connsiteX17" fmla="*/ 4451924 w 4482645"/>
              <a:gd name="connsiteY17" fmla="*/ 1373054 h 5513991"/>
              <a:gd name="connsiteX18" fmla="*/ 4455188 w 4482645"/>
              <a:gd name="connsiteY18" fmla="*/ 1376999 h 5513991"/>
              <a:gd name="connsiteX19" fmla="*/ 4458030 w 4482645"/>
              <a:gd name="connsiteY19" fmla="*/ 1389816 h 5513991"/>
              <a:gd name="connsiteX20" fmla="*/ 4443105 w 4482645"/>
              <a:gd name="connsiteY20" fmla="*/ 1450629 h 5513991"/>
              <a:gd name="connsiteX21" fmla="*/ 4432208 w 4482645"/>
              <a:gd name="connsiteY21" fmla="*/ 1524330 h 5513991"/>
              <a:gd name="connsiteX22" fmla="*/ 4427327 w 4482645"/>
              <a:gd name="connsiteY22" fmla="*/ 1535289 h 5513991"/>
              <a:gd name="connsiteX23" fmla="*/ 4412899 w 4482645"/>
              <a:gd name="connsiteY23" fmla="*/ 1607363 h 5513991"/>
              <a:gd name="connsiteX24" fmla="*/ 4401647 w 4482645"/>
              <a:gd name="connsiteY24" fmla="*/ 1716455 h 5513991"/>
              <a:gd name="connsiteX25" fmla="*/ 4391089 w 4482645"/>
              <a:gd name="connsiteY25" fmla="*/ 1868666 h 5513991"/>
              <a:gd name="connsiteX26" fmla="*/ 4402058 w 4482645"/>
              <a:gd name="connsiteY26" fmla="*/ 1943047 h 5513991"/>
              <a:gd name="connsiteX27" fmla="*/ 4394860 w 4482645"/>
              <a:gd name="connsiteY27" fmla="*/ 2025379 h 5513991"/>
              <a:gd name="connsiteX28" fmla="*/ 4397701 w 4482645"/>
              <a:gd name="connsiteY28" fmla="*/ 2038196 h 5513991"/>
              <a:gd name="connsiteX29" fmla="*/ 4375445 w 4482645"/>
              <a:gd name="connsiteY29" fmla="*/ 2148592 h 5513991"/>
              <a:gd name="connsiteX30" fmla="*/ 4243956 w 4482645"/>
              <a:gd name="connsiteY30" fmla="*/ 5036659 h 5513991"/>
              <a:gd name="connsiteX31" fmla="*/ 4242847 w 4482645"/>
              <a:gd name="connsiteY31" fmla="*/ 5242987 h 5513991"/>
              <a:gd name="connsiteX32" fmla="*/ 4187554 w 4482645"/>
              <a:gd name="connsiteY32" fmla="*/ 5513970 h 5513991"/>
              <a:gd name="connsiteX33" fmla="*/ 298746 w 4482645"/>
              <a:gd name="connsiteY33" fmla="*/ 5249166 h 5513991"/>
              <a:gd name="connsiteX34" fmla="*/ 1462 w 4482645"/>
              <a:gd name="connsiteY34" fmla="*/ 5237777 h 5513991"/>
              <a:gd name="connsiteX35" fmla="*/ 7874 w 4482645"/>
              <a:gd name="connsiteY35" fmla="*/ 4977753 h 5513991"/>
              <a:gd name="connsiteX36" fmla="*/ 20715 w 4482645"/>
              <a:gd name="connsiteY36" fmla="*/ 4752822 h 5513991"/>
              <a:gd name="connsiteX37" fmla="*/ 222466 w 4482645"/>
              <a:gd name="connsiteY37"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50882 w 4482645"/>
              <a:gd name="connsiteY8" fmla="*/ 798696 h 5513991"/>
              <a:gd name="connsiteX9" fmla="*/ 4452595 w 4482645"/>
              <a:gd name="connsiteY9" fmla="*/ 803530 h 5513991"/>
              <a:gd name="connsiteX10" fmla="*/ 4450444 w 4482645"/>
              <a:gd name="connsiteY10" fmla="*/ 827361 h 5513991"/>
              <a:gd name="connsiteX11" fmla="*/ 4448844 w 4482645"/>
              <a:gd name="connsiteY11" fmla="*/ 835146 h 5513991"/>
              <a:gd name="connsiteX12" fmla="*/ 4442606 w 4482645"/>
              <a:gd name="connsiteY12" fmla="*/ 946777 h 5513991"/>
              <a:gd name="connsiteX13" fmla="*/ 4444683 w 4482645"/>
              <a:gd name="connsiteY13" fmla="*/ 947677 h 5513991"/>
              <a:gd name="connsiteX14" fmla="*/ 4444004 w 4482645"/>
              <a:gd name="connsiteY14" fmla="*/ 1082386 h 5513991"/>
              <a:gd name="connsiteX15" fmla="*/ 4443899 w 4482645"/>
              <a:gd name="connsiteY15" fmla="*/ 1140681 h 5513991"/>
              <a:gd name="connsiteX16" fmla="*/ 4448202 w 4482645"/>
              <a:gd name="connsiteY16" fmla="*/ 1161797 h 5513991"/>
              <a:gd name="connsiteX17" fmla="*/ 4451924 w 4482645"/>
              <a:gd name="connsiteY17" fmla="*/ 1373054 h 5513991"/>
              <a:gd name="connsiteX18" fmla="*/ 4455188 w 4482645"/>
              <a:gd name="connsiteY18" fmla="*/ 1376999 h 5513991"/>
              <a:gd name="connsiteX19" fmla="*/ 4458030 w 4482645"/>
              <a:gd name="connsiteY19" fmla="*/ 1389816 h 5513991"/>
              <a:gd name="connsiteX20" fmla="*/ 4443105 w 4482645"/>
              <a:gd name="connsiteY20" fmla="*/ 1450629 h 5513991"/>
              <a:gd name="connsiteX21" fmla="*/ 4432208 w 4482645"/>
              <a:gd name="connsiteY21" fmla="*/ 1524330 h 5513991"/>
              <a:gd name="connsiteX22" fmla="*/ 4427327 w 4482645"/>
              <a:gd name="connsiteY22" fmla="*/ 1535289 h 5513991"/>
              <a:gd name="connsiteX23" fmla="*/ 4401647 w 4482645"/>
              <a:gd name="connsiteY23" fmla="*/ 1716455 h 5513991"/>
              <a:gd name="connsiteX24" fmla="*/ 4391089 w 4482645"/>
              <a:gd name="connsiteY24" fmla="*/ 1868666 h 5513991"/>
              <a:gd name="connsiteX25" fmla="*/ 4402058 w 4482645"/>
              <a:gd name="connsiteY25" fmla="*/ 1943047 h 5513991"/>
              <a:gd name="connsiteX26" fmla="*/ 4394860 w 4482645"/>
              <a:gd name="connsiteY26" fmla="*/ 2025379 h 5513991"/>
              <a:gd name="connsiteX27" fmla="*/ 4397701 w 4482645"/>
              <a:gd name="connsiteY27" fmla="*/ 2038196 h 5513991"/>
              <a:gd name="connsiteX28" fmla="*/ 4375445 w 4482645"/>
              <a:gd name="connsiteY28" fmla="*/ 2148592 h 5513991"/>
              <a:gd name="connsiteX29" fmla="*/ 4243956 w 4482645"/>
              <a:gd name="connsiteY29" fmla="*/ 5036659 h 5513991"/>
              <a:gd name="connsiteX30" fmla="*/ 4242847 w 4482645"/>
              <a:gd name="connsiteY30" fmla="*/ 5242987 h 5513991"/>
              <a:gd name="connsiteX31" fmla="*/ 4187554 w 4482645"/>
              <a:gd name="connsiteY31" fmla="*/ 5513970 h 5513991"/>
              <a:gd name="connsiteX32" fmla="*/ 298746 w 4482645"/>
              <a:gd name="connsiteY32" fmla="*/ 5249166 h 5513991"/>
              <a:gd name="connsiteX33" fmla="*/ 1462 w 4482645"/>
              <a:gd name="connsiteY33" fmla="*/ 5237777 h 5513991"/>
              <a:gd name="connsiteX34" fmla="*/ 7874 w 4482645"/>
              <a:gd name="connsiteY34" fmla="*/ 4977753 h 5513991"/>
              <a:gd name="connsiteX35" fmla="*/ 20715 w 4482645"/>
              <a:gd name="connsiteY35" fmla="*/ 4752822 h 5513991"/>
              <a:gd name="connsiteX36" fmla="*/ 222466 w 4482645"/>
              <a:gd name="connsiteY36"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50882 w 4482645"/>
              <a:gd name="connsiteY8" fmla="*/ 798696 h 5513991"/>
              <a:gd name="connsiteX9" fmla="*/ 4452595 w 4482645"/>
              <a:gd name="connsiteY9" fmla="*/ 803530 h 5513991"/>
              <a:gd name="connsiteX10" fmla="*/ 4450444 w 4482645"/>
              <a:gd name="connsiteY10" fmla="*/ 827361 h 5513991"/>
              <a:gd name="connsiteX11" fmla="*/ 4448844 w 4482645"/>
              <a:gd name="connsiteY11" fmla="*/ 835146 h 5513991"/>
              <a:gd name="connsiteX12" fmla="*/ 4442606 w 4482645"/>
              <a:gd name="connsiteY12" fmla="*/ 946777 h 5513991"/>
              <a:gd name="connsiteX13" fmla="*/ 4444683 w 4482645"/>
              <a:gd name="connsiteY13" fmla="*/ 947677 h 5513991"/>
              <a:gd name="connsiteX14" fmla="*/ 4444004 w 4482645"/>
              <a:gd name="connsiteY14" fmla="*/ 1082386 h 5513991"/>
              <a:gd name="connsiteX15" fmla="*/ 4443899 w 4482645"/>
              <a:gd name="connsiteY15" fmla="*/ 1140681 h 5513991"/>
              <a:gd name="connsiteX16" fmla="*/ 4448202 w 4482645"/>
              <a:gd name="connsiteY16" fmla="*/ 1161797 h 5513991"/>
              <a:gd name="connsiteX17" fmla="*/ 4451924 w 4482645"/>
              <a:gd name="connsiteY17" fmla="*/ 1373054 h 5513991"/>
              <a:gd name="connsiteX18" fmla="*/ 4455188 w 4482645"/>
              <a:gd name="connsiteY18" fmla="*/ 1376999 h 5513991"/>
              <a:gd name="connsiteX19" fmla="*/ 4458030 w 4482645"/>
              <a:gd name="connsiteY19" fmla="*/ 1389816 h 5513991"/>
              <a:gd name="connsiteX20" fmla="*/ 4432208 w 4482645"/>
              <a:gd name="connsiteY20" fmla="*/ 1524330 h 5513991"/>
              <a:gd name="connsiteX21" fmla="*/ 4427327 w 4482645"/>
              <a:gd name="connsiteY21" fmla="*/ 1535289 h 5513991"/>
              <a:gd name="connsiteX22" fmla="*/ 4401647 w 4482645"/>
              <a:gd name="connsiteY22" fmla="*/ 1716455 h 5513991"/>
              <a:gd name="connsiteX23" fmla="*/ 4391089 w 4482645"/>
              <a:gd name="connsiteY23" fmla="*/ 1868666 h 5513991"/>
              <a:gd name="connsiteX24" fmla="*/ 4402058 w 4482645"/>
              <a:gd name="connsiteY24" fmla="*/ 1943047 h 5513991"/>
              <a:gd name="connsiteX25" fmla="*/ 4394860 w 4482645"/>
              <a:gd name="connsiteY25" fmla="*/ 2025379 h 5513991"/>
              <a:gd name="connsiteX26" fmla="*/ 4397701 w 4482645"/>
              <a:gd name="connsiteY26" fmla="*/ 2038196 h 5513991"/>
              <a:gd name="connsiteX27" fmla="*/ 4375445 w 4482645"/>
              <a:gd name="connsiteY27" fmla="*/ 2148592 h 5513991"/>
              <a:gd name="connsiteX28" fmla="*/ 4243956 w 4482645"/>
              <a:gd name="connsiteY28" fmla="*/ 5036659 h 5513991"/>
              <a:gd name="connsiteX29" fmla="*/ 4242847 w 4482645"/>
              <a:gd name="connsiteY29" fmla="*/ 5242987 h 5513991"/>
              <a:gd name="connsiteX30" fmla="*/ 4187554 w 4482645"/>
              <a:gd name="connsiteY30" fmla="*/ 5513970 h 5513991"/>
              <a:gd name="connsiteX31" fmla="*/ 298746 w 4482645"/>
              <a:gd name="connsiteY31" fmla="*/ 5249166 h 5513991"/>
              <a:gd name="connsiteX32" fmla="*/ 1462 w 4482645"/>
              <a:gd name="connsiteY32" fmla="*/ 5237777 h 5513991"/>
              <a:gd name="connsiteX33" fmla="*/ 7874 w 4482645"/>
              <a:gd name="connsiteY33" fmla="*/ 4977753 h 5513991"/>
              <a:gd name="connsiteX34" fmla="*/ 20715 w 4482645"/>
              <a:gd name="connsiteY34" fmla="*/ 4752822 h 5513991"/>
              <a:gd name="connsiteX35" fmla="*/ 222466 w 4482645"/>
              <a:gd name="connsiteY35"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50882 w 4482645"/>
              <a:gd name="connsiteY8" fmla="*/ 798696 h 5513991"/>
              <a:gd name="connsiteX9" fmla="*/ 4452595 w 4482645"/>
              <a:gd name="connsiteY9" fmla="*/ 803530 h 5513991"/>
              <a:gd name="connsiteX10" fmla="*/ 4450444 w 4482645"/>
              <a:gd name="connsiteY10" fmla="*/ 827361 h 5513991"/>
              <a:gd name="connsiteX11" fmla="*/ 4448844 w 4482645"/>
              <a:gd name="connsiteY11" fmla="*/ 835146 h 5513991"/>
              <a:gd name="connsiteX12" fmla="*/ 4442606 w 4482645"/>
              <a:gd name="connsiteY12" fmla="*/ 946777 h 5513991"/>
              <a:gd name="connsiteX13" fmla="*/ 4444683 w 4482645"/>
              <a:gd name="connsiteY13" fmla="*/ 947677 h 5513991"/>
              <a:gd name="connsiteX14" fmla="*/ 4444004 w 4482645"/>
              <a:gd name="connsiteY14" fmla="*/ 1082386 h 5513991"/>
              <a:gd name="connsiteX15" fmla="*/ 4443899 w 4482645"/>
              <a:gd name="connsiteY15" fmla="*/ 1140681 h 5513991"/>
              <a:gd name="connsiteX16" fmla="*/ 4448202 w 4482645"/>
              <a:gd name="connsiteY16" fmla="*/ 1161797 h 5513991"/>
              <a:gd name="connsiteX17" fmla="*/ 4451924 w 4482645"/>
              <a:gd name="connsiteY17" fmla="*/ 1373054 h 5513991"/>
              <a:gd name="connsiteX18" fmla="*/ 4455188 w 4482645"/>
              <a:gd name="connsiteY18" fmla="*/ 1376999 h 5513991"/>
              <a:gd name="connsiteX19" fmla="*/ 4458030 w 4482645"/>
              <a:gd name="connsiteY19" fmla="*/ 1389816 h 5513991"/>
              <a:gd name="connsiteX20" fmla="*/ 4432208 w 4482645"/>
              <a:gd name="connsiteY20" fmla="*/ 1524330 h 5513991"/>
              <a:gd name="connsiteX21" fmla="*/ 4427327 w 4482645"/>
              <a:gd name="connsiteY21" fmla="*/ 1535289 h 5513991"/>
              <a:gd name="connsiteX22" fmla="*/ 4391089 w 4482645"/>
              <a:gd name="connsiteY22" fmla="*/ 1868666 h 5513991"/>
              <a:gd name="connsiteX23" fmla="*/ 4402058 w 4482645"/>
              <a:gd name="connsiteY23" fmla="*/ 1943047 h 5513991"/>
              <a:gd name="connsiteX24" fmla="*/ 4394860 w 4482645"/>
              <a:gd name="connsiteY24" fmla="*/ 2025379 h 5513991"/>
              <a:gd name="connsiteX25" fmla="*/ 4397701 w 4482645"/>
              <a:gd name="connsiteY25" fmla="*/ 2038196 h 5513991"/>
              <a:gd name="connsiteX26" fmla="*/ 4375445 w 4482645"/>
              <a:gd name="connsiteY26" fmla="*/ 2148592 h 5513991"/>
              <a:gd name="connsiteX27" fmla="*/ 4243956 w 4482645"/>
              <a:gd name="connsiteY27" fmla="*/ 5036659 h 5513991"/>
              <a:gd name="connsiteX28" fmla="*/ 4242847 w 4482645"/>
              <a:gd name="connsiteY28" fmla="*/ 5242987 h 5513991"/>
              <a:gd name="connsiteX29" fmla="*/ 4187554 w 4482645"/>
              <a:gd name="connsiteY29" fmla="*/ 5513970 h 5513991"/>
              <a:gd name="connsiteX30" fmla="*/ 298746 w 4482645"/>
              <a:gd name="connsiteY30" fmla="*/ 5249166 h 5513991"/>
              <a:gd name="connsiteX31" fmla="*/ 1462 w 4482645"/>
              <a:gd name="connsiteY31" fmla="*/ 5237777 h 5513991"/>
              <a:gd name="connsiteX32" fmla="*/ 7874 w 4482645"/>
              <a:gd name="connsiteY32" fmla="*/ 4977753 h 5513991"/>
              <a:gd name="connsiteX33" fmla="*/ 20715 w 4482645"/>
              <a:gd name="connsiteY33" fmla="*/ 4752822 h 5513991"/>
              <a:gd name="connsiteX34" fmla="*/ 222466 w 4482645"/>
              <a:gd name="connsiteY34"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50882 w 4482645"/>
              <a:gd name="connsiteY8" fmla="*/ 798696 h 5513991"/>
              <a:gd name="connsiteX9" fmla="*/ 4452595 w 4482645"/>
              <a:gd name="connsiteY9" fmla="*/ 803530 h 5513991"/>
              <a:gd name="connsiteX10" fmla="*/ 4450444 w 4482645"/>
              <a:gd name="connsiteY10" fmla="*/ 827361 h 5513991"/>
              <a:gd name="connsiteX11" fmla="*/ 4442606 w 4482645"/>
              <a:gd name="connsiteY11" fmla="*/ 946777 h 5513991"/>
              <a:gd name="connsiteX12" fmla="*/ 4444683 w 4482645"/>
              <a:gd name="connsiteY12" fmla="*/ 947677 h 5513991"/>
              <a:gd name="connsiteX13" fmla="*/ 4444004 w 4482645"/>
              <a:gd name="connsiteY13" fmla="*/ 1082386 h 5513991"/>
              <a:gd name="connsiteX14" fmla="*/ 4443899 w 4482645"/>
              <a:gd name="connsiteY14" fmla="*/ 1140681 h 5513991"/>
              <a:gd name="connsiteX15" fmla="*/ 4448202 w 4482645"/>
              <a:gd name="connsiteY15" fmla="*/ 1161797 h 5513991"/>
              <a:gd name="connsiteX16" fmla="*/ 4451924 w 4482645"/>
              <a:gd name="connsiteY16" fmla="*/ 1373054 h 5513991"/>
              <a:gd name="connsiteX17" fmla="*/ 4455188 w 4482645"/>
              <a:gd name="connsiteY17" fmla="*/ 1376999 h 5513991"/>
              <a:gd name="connsiteX18" fmla="*/ 4458030 w 4482645"/>
              <a:gd name="connsiteY18" fmla="*/ 1389816 h 5513991"/>
              <a:gd name="connsiteX19" fmla="*/ 4432208 w 4482645"/>
              <a:gd name="connsiteY19" fmla="*/ 1524330 h 5513991"/>
              <a:gd name="connsiteX20" fmla="*/ 4427327 w 4482645"/>
              <a:gd name="connsiteY20" fmla="*/ 1535289 h 5513991"/>
              <a:gd name="connsiteX21" fmla="*/ 4391089 w 4482645"/>
              <a:gd name="connsiteY21" fmla="*/ 1868666 h 5513991"/>
              <a:gd name="connsiteX22" fmla="*/ 4402058 w 4482645"/>
              <a:gd name="connsiteY22" fmla="*/ 1943047 h 5513991"/>
              <a:gd name="connsiteX23" fmla="*/ 4394860 w 4482645"/>
              <a:gd name="connsiteY23" fmla="*/ 2025379 h 5513991"/>
              <a:gd name="connsiteX24" fmla="*/ 4397701 w 4482645"/>
              <a:gd name="connsiteY24" fmla="*/ 2038196 h 5513991"/>
              <a:gd name="connsiteX25" fmla="*/ 4375445 w 4482645"/>
              <a:gd name="connsiteY25" fmla="*/ 2148592 h 5513991"/>
              <a:gd name="connsiteX26" fmla="*/ 4243956 w 4482645"/>
              <a:gd name="connsiteY26" fmla="*/ 5036659 h 5513991"/>
              <a:gd name="connsiteX27" fmla="*/ 4242847 w 4482645"/>
              <a:gd name="connsiteY27" fmla="*/ 5242987 h 5513991"/>
              <a:gd name="connsiteX28" fmla="*/ 4187554 w 4482645"/>
              <a:gd name="connsiteY28" fmla="*/ 5513970 h 5513991"/>
              <a:gd name="connsiteX29" fmla="*/ 298746 w 4482645"/>
              <a:gd name="connsiteY29" fmla="*/ 5249166 h 5513991"/>
              <a:gd name="connsiteX30" fmla="*/ 1462 w 4482645"/>
              <a:gd name="connsiteY30" fmla="*/ 5237777 h 5513991"/>
              <a:gd name="connsiteX31" fmla="*/ 7874 w 4482645"/>
              <a:gd name="connsiteY31" fmla="*/ 4977753 h 5513991"/>
              <a:gd name="connsiteX32" fmla="*/ 20715 w 4482645"/>
              <a:gd name="connsiteY32" fmla="*/ 4752822 h 5513991"/>
              <a:gd name="connsiteX33" fmla="*/ 222466 w 4482645"/>
              <a:gd name="connsiteY33"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50882 w 4482645"/>
              <a:gd name="connsiteY8" fmla="*/ 798696 h 5513991"/>
              <a:gd name="connsiteX9" fmla="*/ 4452595 w 4482645"/>
              <a:gd name="connsiteY9" fmla="*/ 803530 h 5513991"/>
              <a:gd name="connsiteX10" fmla="*/ 4442606 w 4482645"/>
              <a:gd name="connsiteY10" fmla="*/ 946777 h 5513991"/>
              <a:gd name="connsiteX11" fmla="*/ 4444683 w 4482645"/>
              <a:gd name="connsiteY11" fmla="*/ 947677 h 5513991"/>
              <a:gd name="connsiteX12" fmla="*/ 4444004 w 4482645"/>
              <a:gd name="connsiteY12" fmla="*/ 1082386 h 5513991"/>
              <a:gd name="connsiteX13" fmla="*/ 4443899 w 4482645"/>
              <a:gd name="connsiteY13" fmla="*/ 1140681 h 5513991"/>
              <a:gd name="connsiteX14" fmla="*/ 4448202 w 4482645"/>
              <a:gd name="connsiteY14" fmla="*/ 1161797 h 5513991"/>
              <a:gd name="connsiteX15" fmla="*/ 4451924 w 4482645"/>
              <a:gd name="connsiteY15" fmla="*/ 1373054 h 5513991"/>
              <a:gd name="connsiteX16" fmla="*/ 4455188 w 4482645"/>
              <a:gd name="connsiteY16" fmla="*/ 1376999 h 5513991"/>
              <a:gd name="connsiteX17" fmla="*/ 4458030 w 4482645"/>
              <a:gd name="connsiteY17" fmla="*/ 1389816 h 5513991"/>
              <a:gd name="connsiteX18" fmla="*/ 4432208 w 4482645"/>
              <a:gd name="connsiteY18" fmla="*/ 1524330 h 5513991"/>
              <a:gd name="connsiteX19" fmla="*/ 4427327 w 4482645"/>
              <a:gd name="connsiteY19" fmla="*/ 1535289 h 5513991"/>
              <a:gd name="connsiteX20" fmla="*/ 4391089 w 4482645"/>
              <a:gd name="connsiteY20" fmla="*/ 1868666 h 5513991"/>
              <a:gd name="connsiteX21" fmla="*/ 4402058 w 4482645"/>
              <a:gd name="connsiteY21" fmla="*/ 1943047 h 5513991"/>
              <a:gd name="connsiteX22" fmla="*/ 4394860 w 4482645"/>
              <a:gd name="connsiteY22" fmla="*/ 2025379 h 5513991"/>
              <a:gd name="connsiteX23" fmla="*/ 4397701 w 4482645"/>
              <a:gd name="connsiteY23" fmla="*/ 2038196 h 5513991"/>
              <a:gd name="connsiteX24" fmla="*/ 4375445 w 4482645"/>
              <a:gd name="connsiteY24" fmla="*/ 2148592 h 5513991"/>
              <a:gd name="connsiteX25" fmla="*/ 4243956 w 4482645"/>
              <a:gd name="connsiteY25" fmla="*/ 5036659 h 5513991"/>
              <a:gd name="connsiteX26" fmla="*/ 4242847 w 4482645"/>
              <a:gd name="connsiteY26" fmla="*/ 5242987 h 5513991"/>
              <a:gd name="connsiteX27" fmla="*/ 4187554 w 4482645"/>
              <a:gd name="connsiteY27" fmla="*/ 5513970 h 5513991"/>
              <a:gd name="connsiteX28" fmla="*/ 298746 w 4482645"/>
              <a:gd name="connsiteY28" fmla="*/ 5249166 h 5513991"/>
              <a:gd name="connsiteX29" fmla="*/ 1462 w 4482645"/>
              <a:gd name="connsiteY29" fmla="*/ 5237777 h 5513991"/>
              <a:gd name="connsiteX30" fmla="*/ 7874 w 4482645"/>
              <a:gd name="connsiteY30" fmla="*/ 4977753 h 5513991"/>
              <a:gd name="connsiteX31" fmla="*/ 20715 w 4482645"/>
              <a:gd name="connsiteY31" fmla="*/ 4752822 h 5513991"/>
              <a:gd name="connsiteX32" fmla="*/ 222466 w 4482645"/>
              <a:gd name="connsiteY32"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50882 w 4482645"/>
              <a:gd name="connsiteY8" fmla="*/ 798696 h 5513991"/>
              <a:gd name="connsiteX9" fmla="*/ 4442606 w 4482645"/>
              <a:gd name="connsiteY9" fmla="*/ 946777 h 5513991"/>
              <a:gd name="connsiteX10" fmla="*/ 4444683 w 4482645"/>
              <a:gd name="connsiteY10" fmla="*/ 947677 h 5513991"/>
              <a:gd name="connsiteX11" fmla="*/ 4444004 w 4482645"/>
              <a:gd name="connsiteY11" fmla="*/ 1082386 h 5513991"/>
              <a:gd name="connsiteX12" fmla="*/ 4443899 w 4482645"/>
              <a:gd name="connsiteY12" fmla="*/ 1140681 h 5513991"/>
              <a:gd name="connsiteX13" fmla="*/ 4448202 w 4482645"/>
              <a:gd name="connsiteY13" fmla="*/ 1161797 h 5513991"/>
              <a:gd name="connsiteX14" fmla="*/ 4451924 w 4482645"/>
              <a:gd name="connsiteY14" fmla="*/ 1373054 h 5513991"/>
              <a:gd name="connsiteX15" fmla="*/ 4455188 w 4482645"/>
              <a:gd name="connsiteY15" fmla="*/ 1376999 h 5513991"/>
              <a:gd name="connsiteX16" fmla="*/ 4458030 w 4482645"/>
              <a:gd name="connsiteY16" fmla="*/ 1389816 h 5513991"/>
              <a:gd name="connsiteX17" fmla="*/ 4432208 w 4482645"/>
              <a:gd name="connsiteY17" fmla="*/ 1524330 h 5513991"/>
              <a:gd name="connsiteX18" fmla="*/ 4427327 w 4482645"/>
              <a:gd name="connsiteY18" fmla="*/ 1535289 h 5513991"/>
              <a:gd name="connsiteX19" fmla="*/ 4391089 w 4482645"/>
              <a:gd name="connsiteY19" fmla="*/ 1868666 h 5513991"/>
              <a:gd name="connsiteX20" fmla="*/ 4402058 w 4482645"/>
              <a:gd name="connsiteY20" fmla="*/ 1943047 h 5513991"/>
              <a:gd name="connsiteX21" fmla="*/ 4394860 w 4482645"/>
              <a:gd name="connsiteY21" fmla="*/ 2025379 h 5513991"/>
              <a:gd name="connsiteX22" fmla="*/ 4397701 w 4482645"/>
              <a:gd name="connsiteY22" fmla="*/ 2038196 h 5513991"/>
              <a:gd name="connsiteX23" fmla="*/ 4375445 w 4482645"/>
              <a:gd name="connsiteY23" fmla="*/ 2148592 h 5513991"/>
              <a:gd name="connsiteX24" fmla="*/ 4243956 w 4482645"/>
              <a:gd name="connsiteY24" fmla="*/ 5036659 h 5513991"/>
              <a:gd name="connsiteX25" fmla="*/ 4242847 w 4482645"/>
              <a:gd name="connsiteY25" fmla="*/ 5242987 h 5513991"/>
              <a:gd name="connsiteX26" fmla="*/ 4187554 w 4482645"/>
              <a:gd name="connsiteY26" fmla="*/ 5513970 h 5513991"/>
              <a:gd name="connsiteX27" fmla="*/ 298746 w 4482645"/>
              <a:gd name="connsiteY27" fmla="*/ 5249166 h 5513991"/>
              <a:gd name="connsiteX28" fmla="*/ 1462 w 4482645"/>
              <a:gd name="connsiteY28" fmla="*/ 5237777 h 5513991"/>
              <a:gd name="connsiteX29" fmla="*/ 7874 w 4482645"/>
              <a:gd name="connsiteY29" fmla="*/ 4977753 h 5513991"/>
              <a:gd name="connsiteX30" fmla="*/ 20715 w 4482645"/>
              <a:gd name="connsiteY30" fmla="*/ 4752822 h 5513991"/>
              <a:gd name="connsiteX31" fmla="*/ 222466 w 4482645"/>
              <a:gd name="connsiteY31"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67587 w 4482645"/>
              <a:gd name="connsiteY7" fmla="*/ 534537 h 5513991"/>
              <a:gd name="connsiteX8" fmla="*/ 4442606 w 4482645"/>
              <a:gd name="connsiteY8" fmla="*/ 946777 h 5513991"/>
              <a:gd name="connsiteX9" fmla="*/ 4444683 w 4482645"/>
              <a:gd name="connsiteY9" fmla="*/ 947677 h 5513991"/>
              <a:gd name="connsiteX10" fmla="*/ 4444004 w 4482645"/>
              <a:gd name="connsiteY10" fmla="*/ 1082386 h 5513991"/>
              <a:gd name="connsiteX11" fmla="*/ 4443899 w 4482645"/>
              <a:gd name="connsiteY11" fmla="*/ 1140681 h 5513991"/>
              <a:gd name="connsiteX12" fmla="*/ 4448202 w 4482645"/>
              <a:gd name="connsiteY12" fmla="*/ 1161797 h 5513991"/>
              <a:gd name="connsiteX13" fmla="*/ 4451924 w 4482645"/>
              <a:gd name="connsiteY13" fmla="*/ 1373054 h 5513991"/>
              <a:gd name="connsiteX14" fmla="*/ 4455188 w 4482645"/>
              <a:gd name="connsiteY14" fmla="*/ 1376999 h 5513991"/>
              <a:gd name="connsiteX15" fmla="*/ 4458030 w 4482645"/>
              <a:gd name="connsiteY15" fmla="*/ 1389816 h 5513991"/>
              <a:gd name="connsiteX16" fmla="*/ 4432208 w 4482645"/>
              <a:gd name="connsiteY16" fmla="*/ 1524330 h 5513991"/>
              <a:gd name="connsiteX17" fmla="*/ 4427327 w 4482645"/>
              <a:gd name="connsiteY17" fmla="*/ 1535289 h 5513991"/>
              <a:gd name="connsiteX18" fmla="*/ 4391089 w 4482645"/>
              <a:gd name="connsiteY18" fmla="*/ 1868666 h 5513991"/>
              <a:gd name="connsiteX19" fmla="*/ 4402058 w 4482645"/>
              <a:gd name="connsiteY19" fmla="*/ 1943047 h 5513991"/>
              <a:gd name="connsiteX20" fmla="*/ 4394860 w 4482645"/>
              <a:gd name="connsiteY20" fmla="*/ 2025379 h 5513991"/>
              <a:gd name="connsiteX21" fmla="*/ 4397701 w 4482645"/>
              <a:gd name="connsiteY21" fmla="*/ 2038196 h 5513991"/>
              <a:gd name="connsiteX22" fmla="*/ 4375445 w 4482645"/>
              <a:gd name="connsiteY22" fmla="*/ 2148592 h 5513991"/>
              <a:gd name="connsiteX23" fmla="*/ 4243956 w 4482645"/>
              <a:gd name="connsiteY23" fmla="*/ 5036659 h 5513991"/>
              <a:gd name="connsiteX24" fmla="*/ 4242847 w 4482645"/>
              <a:gd name="connsiteY24" fmla="*/ 5242987 h 5513991"/>
              <a:gd name="connsiteX25" fmla="*/ 4187554 w 4482645"/>
              <a:gd name="connsiteY25" fmla="*/ 5513970 h 5513991"/>
              <a:gd name="connsiteX26" fmla="*/ 298746 w 4482645"/>
              <a:gd name="connsiteY26" fmla="*/ 5249166 h 5513991"/>
              <a:gd name="connsiteX27" fmla="*/ 1462 w 4482645"/>
              <a:gd name="connsiteY27" fmla="*/ 5237777 h 5513991"/>
              <a:gd name="connsiteX28" fmla="*/ 7874 w 4482645"/>
              <a:gd name="connsiteY28" fmla="*/ 4977753 h 5513991"/>
              <a:gd name="connsiteX29" fmla="*/ 20715 w 4482645"/>
              <a:gd name="connsiteY29" fmla="*/ 4752822 h 5513991"/>
              <a:gd name="connsiteX30" fmla="*/ 222466 w 4482645"/>
              <a:gd name="connsiteY30"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68237 w 4482645"/>
              <a:gd name="connsiteY6" fmla="*/ 488120 h 5513991"/>
              <a:gd name="connsiteX7" fmla="*/ 4442606 w 4482645"/>
              <a:gd name="connsiteY7" fmla="*/ 946777 h 5513991"/>
              <a:gd name="connsiteX8" fmla="*/ 4444683 w 4482645"/>
              <a:gd name="connsiteY8" fmla="*/ 947677 h 5513991"/>
              <a:gd name="connsiteX9" fmla="*/ 4444004 w 4482645"/>
              <a:gd name="connsiteY9" fmla="*/ 1082386 h 5513991"/>
              <a:gd name="connsiteX10" fmla="*/ 4443899 w 4482645"/>
              <a:gd name="connsiteY10" fmla="*/ 1140681 h 5513991"/>
              <a:gd name="connsiteX11" fmla="*/ 4448202 w 4482645"/>
              <a:gd name="connsiteY11" fmla="*/ 1161797 h 5513991"/>
              <a:gd name="connsiteX12" fmla="*/ 4451924 w 4482645"/>
              <a:gd name="connsiteY12" fmla="*/ 1373054 h 5513991"/>
              <a:gd name="connsiteX13" fmla="*/ 4455188 w 4482645"/>
              <a:gd name="connsiteY13" fmla="*/ 1376999 h 5513991"/>
              <a:gd name="connsiteX14" fmla="*/ 4458030 w 4482645"/>
              <a:gd name="connsiteY14" fmla="*/ 1389816 h 5513991"/>
              <a:gd name="connsiteX15" fmla="*/ 4432208 w 4482645"/>
              <a:gd name="connsiteY15" fmla="*/ 1524330 h 5513991"/>
              <a:gd name="connsiteX16" fmla="*/ 4427327 w 4482645"/>
              <a:gd name="connsiteY16" fmla="*/ 1535289 h 5513991"/>
              <a:gd name="connsiteX17" fmla="*/ 4391089 w 4482645"/>
              <a:gd name="connsiteY17" fmla="*/ 1868666 h 5513991"/>
              <a:gd name="connsiteX18" fmla="*/ 4402058 w 4482645"/>
              <a:gd name="connsiteY18" fmla="*/ 1943047 h 5513991"/>
              <a:gd name="connsiteX19" fmla="*/ 4394860 w 4482645"/>
              <a:gd name="connsiteY19" fmla="*/ 2025379 h 5513991"/>
              <a:gd name="connsiteX20" fmla="*/ 4397701 w 4482645"/>
              <a:gd name="connsiteY20" fmla="*/ 2038196 h 5513991"/>
              <a:gd name="connsiteX21" fmla="*/ 4375445 w 4482645"/>
              <a:gd name="connsiteY21" fmla="*/ 2148592 h 5513991"/>
              <a:gd name="connsiteX22" fmla="*/ 4243956 w 4482645"/>
              <a:gd name="connsiteY22" fmla="*/ 5036659 h 5513991"/>
              <a:gd name="connsiteX23" fmla="*/ 4242847 w 4482645"/>
              <a:gd name="connsiteY23" fmla="*/ 5242987 h 5513991"/>
              <a:gd name="connsiteX24" fmla="*/ 4187554 w 4482645"/>
              <a:gd name="connsiteY24" fmla="*/ 5513970 h 5513991"/>
              <a:gd name="connsiteX25" fmla="*/ 298746 w 4482645"/>
              <a:gd name="connsiteY25" fmla="*/ 5249166 h 5513991"/>
              <a:gd name="connsiteX26" fmla="*/ 1462 w 4482645"/>
              <a:gd name="connsiteY26" fmla="*/ 5237777 h 5513991"/>
              <a:gd name="connsiteX27" fmla="*/ 7874 w 4482645"/>
              <a:gd name="connsiteY27" fmla="*/ 4977753 h 5513991"/>
              <a:gd name="connsiteX28" fmla="*/ 20715 w 4482645"/>
              <a:gd name="connsiteY28" fmla="*/ 4752822 h 5513991"/>
              <a:gd name="connsiteX29" fmla="*/ 222466 w 4482645"/>
              <a:gd name="connsiteY29"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42606 w 4482645"/>
              <a:gd name="connsiteY6" fmla="*/ 946777 h 5513991"/>
              <a:gd name="connsiteX7" fmla="*/ 4444683 w 4482645"/>
              <a:gd name="connsiteY7" fmla="*/ 947677 h 5513991"/>
              <a:gd name="connsiteX8" fmla="*/ 4444004 w 4482645"/>
              <a:gd name="connsiteY8" fmla="*/ 1082386 h 5513991"/>
              <a:gd name="connsiteX9" fmla="*/ 4443899 w 4482645"/>
              <a:gd name="connsiteY9" fmla="*/ 1140681 h 5513991"/>
              <a:gd name="connsiteX10" fmla="*/ 4448202 w 4482645"/>
              <a:gd name="connsiteY10" fmla="*/ 1161797 h 5513991"/>
              <a:gd name="connsiteX11" fmla="*/ 4451924 w 4482645"/>
              <a:gd name="connsiteY11" fmla="*/ 1373054 h 5513991"/>
              <a:gd name="connsiteX12" fmla="*/ 4455188 w 4482645"/>
              <a:gd name="connsiteY12" fmla="*/ 1376999 h 5513991"/>
              <a:gd name="connsiteX13" fmla="*/ 4458030 w 4482645"/>
              <a:gd name="connsiteY13" fmla="*/ 1389816 h 5513991"/>
              <a:gd name="connsiteX14" fmla="*/ 4432208 w 4482645"/>
              <a:gd name="connsiteY14" fmla="*/ 1524330 h 5513991"/>
              <a:gd name="connsiteX15" fmla="*/ 4427327 w 4482645"/>
              <a:gd name="connsiteY15" fmla="*/ 1535289 h 5513991"/>
              <a:gd name="connsiteX16" fmla="*/ 4391089 w 4482645"/>
              <a:gd name="connsiteY16" fmla="*/ 1868666 h 5513991"/>
              <a:gd name="connsiteX17" fmla="*/ 4402058 w 4482645"/>
              <a:gd name="connsiteY17" fmla="*/ 1943047 h 5513991"/>
              <a:gd name="connsiteX18" fmla="*/ 4394860 w 4482645"/>
              <a:gd name="connsiteY18" fmla="*/ 2025379 h 5513991"/>
              <a:gd name="connsiteX19" fmla="*/ 4397701 w 4482645"/>
              <a:gd name="connsiteY19" fmla="*/ 2038196 h 5513991"/>
              <a:gd name="connsiteX20" fmla="*/ 4375445 w 4482645"/>
              <a:gd name="connsiteY20" fmla="*/ 2148592 h 5513991"/>
              <a:gd name="connsiteX21" fmla="*/ 4243956 w 4482645"/>
              <a:gd name="connsiteY21" fmla="*/ 5036659 h 5513991"/>
              <a:gd name="connsiteX22" fmla="*/ 4242847 w 4482645"/>
              <a:gd name="connsiteY22" fmla="*/ 5242987 h 5513991"/>
              <a:gd name="connsiteX23" fmla="*/ 4187554 w 4482645"/>
              <a:gd name="connsiteY23" fmla="*/ 5513970 h 5513991"/>
              <a:gd name="connsiteX24" fmla="*/ 298746 w 4482645"/>
              <a:gd name="connsiteY24" fmla="*/ 5249166 h 5513991"/>
              <a:gd name="connsiteX25" fmla="*/ 1462 w 4482645"/>
              <a:gd name="connsiteY25" fmla="*/ 5237777 h 5513991"/>
              <a:gd name="connsiteX26" fmla="*/ 7874 w 4482645"/>
              <a:gd name="connsiteY26" fmla="*/ 4977753 h 5513991"/>
              <a:gd name="connsiteX27" fmla="*/ 20715 w 4482645"/>
              <a:gd name="connsiteY27" fmla="*/ 4752822 h 5513991"/>
              <a:gd name="connsiteX28" fmla="*/ 222466 w 4482645"/>
              <a:gd name="connsiteY28"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42606 w 4482645"/>
              <a:gd name="connsiteY6" fmla="*/ 946777 h 5513991"/>
              <a:gd name="connsiteX7" fmla="*/ 4444683 w 4482645"/>
              <a:gd name="connsiteY7" fmla="*/ 947677 h 5513991"/>
              <a:gd name="connsiteX8" fmla="*/ 4444004 w 4482645"/>
              <a:gd name="connsiteY8" fmla="*/ 1082386 h 5513991"/>
              <a:gd name="connsiteX9" fmla="*/ 4443899 w 4482645"/>
              <a:gd name="connsiteY9" fmla="*/ 1140681 h 5513991"/>
              <a:gd name="connsiteX10" fmla="*/ 4448202 w 4482645"/>
              <a:gd name="connsiteY10" fmla="*/ 1161797 h 5513991"/>
              <a:gd name="connsiteX11" fmla="*/ 4451924 w 4482645"/>
              <a:gd name="connsiteY11" fmla="*/ 1373054 h 5513991"/>
              <a:gd name="connsiteX12" fmla="*/ 4455188 w 4482645"/>
              <a:gd name="connsiteY12" fmla="*/ 1376999 h 5513991"/>
              <a:gd name="connsiteX13" fmla="*/ 4458030 w 4482645"/>
              <a:gd name="connsiteY13" fmla="*/ 1389816 h 5513991"/>
              <a:gd name="connsiteX14" fmla="*/ 4432208 w 4482645"/>
              <a:gd name="connsiteY14" fmla="*/ 1524330 h 5513991"/>
              <a:gd name="connsiteX15" fmla="*/ 4427327 w 4482645"/>
              <a:gd name="connsiteY15" fmla="*/ 1535289 h 5513991"/>
              <a:gd name="connsiteX16" fmla="*/ 4391089 w 4482645"/>
              <a:gd name="connsiteY16" fmla="*/ 1868666 h 5513991"/>
              <a:gd name="connsiteX17" fmla="*/ 4402058 w 4482645"/>
              <a:gd name="connsiteY17" fmla="*/ 1943047 h 5513991"/>
              <a:gd name="connsiteX18" fmla="*/ 4394860 w 4482645"/>
              <a:gd name="connsiteY18" fmla="*/ 2025379 h 5513991"/>
              <a:gd name="connsiteX19" fmla="*/ 4375445 w 4482645"/>
              <a:gd name="connsiteY19" fmla="*/ 2148592 h 5513991"/>
              <a:gd name="connsiteX20" fmla="*/ 4243956 w 4482645"/>
              <a:gd name="connsiteY20" fmla="*/ 5036659 h 5513991"/>
              <a:gd name="connsiteX21" fmla="*/ 4242847 w 4482645"/>
              <a:gd name="connsiteY21" fmla="*/ 5242987 h 5513991"/>
              <a:gd name="connsiteX22" fmla="*/ 4187554 w 4482645"/>
              <a:gd name="connsiteY22" fmla="*/ 5513970 h 5513991"/>
              <a:gd name="connsiteX23" fmla="*/ 298746 w 4482645"/>
              <a:gd name="connsiteY23" fmla="*/ 5249166 h 5513991"/>
              <a:gd name="connsiteX24" fmla="*/ 1462 w 4482645"/>
              <a:gd name="connsiteY24" fmla="*/ 5237777 h 5513991"/>
              <a:gd name="connsiteX25" fmla="*/ 7874 w 4482645"/>
              <a:gd name="connsiteY25" fmla="*/ 4977753 h 5513991"/>
              <a:gd name="connsiteX26" fmla="*/ 20715 w 4482645"/>
              <a:gd name="connsiteY26" fmla="*/ 4752822 h 5513991"/>
              <a:gd name="connsiteX27" fmla="*/ 222466 w 4482645"/>
              <a:gd name="connsiteY27"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42606 w 4482645"/>
              <a:gd name="connsiteY6" fmla="*/ 946777 h 5513991"/>
              <a:gd name="connsiteX7" fmla="*/ 4444683 w 4482645"/>
              <a:gd name="connsiteY7" fmla="*/ 947677 h 5513991"/>
              <a:gd name="connsiteX8" fmla="*/ 4444004 w 4482645"/>
              <a:gd name="connsiteY8" fmla="*/ 1082386 h 5513991"/>
              <a:gd name="connsiteX9" fmla="*/ 4443899 w 4482645"/>
              <a:gd name="connsiteY9" fmla="*/ 1140681 h 5513991"/>
              <a:gd name="connsiteX10" fmla="*/ 4451924 w 4482645"/>
              <a:gd name="connsiteY10" fmla="*/ 1373054 h 5513991"/>
              <a:gd name="connsiteX11" fmla="*/ 4455188 w 4482645"/>
              <a:gd name="connsiteY11" fmla="*/ 1376999 h 5513991"/>
              <a:gd name="connsiteX12" fmla="*/ 4458030 w 4482645"/>
              <a:gd name="connsiteY12" fmla="*/ 1389816 h 5513991"/>
              <a:gd name="connsiteX13" fmla="*/ 4432208 w 4482645"/>
              <a:gd name="connsiteY13" fmla="*/ 1524330 h 5513991"/>
              <a:gd name="connsiteX14" fmla="*/ 4427327 w 4482645"/>
              <a:gd name="connsiteY14" fmla="*/ 1535289 h 5513991"/>
              <a:gd name="connsiteX15" fmla="*/ 4391089 w 4482645"/>
              <a:gd name="connsiteY15" fmla="*/ 1868666 h 5513991"/>
              <a:gd name="connsiteX16" fmla="*/ 4402058 w 4482645"/>
              <a:gd name="connsiteY16" fmla="*/ 1943047 h 5513991"/>
              <a:gd name="connsiteX17" fmla="*/ 4394860 w 4482645"/>
              <a:gd name="connsiteY17" fmla="*/ 2025379 h 5513991"/>
              <a:gd name="connsiteX18" fmla="*/ 4375445 w 4482645"/>
              <a:gd name="connsiteY18" fmla="*/ 2148592 h 5513991"/>
              <a:gd name="connsiteX19" fmla="*/ 4243956 w 4482645"/>
              <a:gd name="connsiteY19" fmla="*/ 5036659 h 5513991"/>
              <a:gd name="connsiteX20" fmla="*/ 4242847 w 4482645"/>
              <a:gd name="connsiteY20" fmla="*/ 5242987 h 5513991"/>
              <a:gd name="connsiteX21" fmla="*/ 4187554 w 4482645"/>
              <a:gd name="connsiteY21" fmla="*/ 5513970 h 5513991"/>
              <a:gd name="connsiteX22" fmla="*/ 298746 w 4482645"/>
              <a:gd name="connsiteY22" fmla="*/ 5249166 h 5513991"/>
              <a:gd name="connsiteX23" fmla="*/ 1462 w 4482645"/>
              <a:gd name="connsiteY23" fmla="*/ 5237777 h 5513991"/>
              <a:gd name="connsiteX24" fmla="*/ 7874 w 4482645"/>
              <a:gd name="connsiteY24" fmla="*/ 4977753 h 5513991"/>
              <a:gd name="connsiteX25" fmla="*/ 20715 w 4482645"/>
              <a:gd name="connsiteY25" fmla="*/ 4752822 h 5513991"/>
              <a:gd name="connsiteX26" fmla="*/ 222466 w 4482645"/>
              <a:gd name="connsiteY26"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42606 w 4482645"/>
              <a:gd name="connsiteY6" fmla="*/ 946777 h 5513991"/>
              <a:gd name="connsiteX7" fmla="*/ 4444683 w 4482645"/>
              <a:gd name="connsiteY7" fmla="*/ 947677 h 5513991"/>
              <a:gd name="connsiteX8" fmla="*/ 4444004 w 4482645"/>
              <a:gd name="connsiteY8" fmla="*/ 1082386 h 5513991"/>
              <a:gd name="connsiteX9" fmla="*/ 4443899 w 4482645"/>
              <a:gd name="connsiteY9" fmla="*/ 1140681 h 5513991"/>
              <a:gd name="connsiteX10" fmla="*/ 4451924 w 4482645"/>
              <a:gd name="connsiteY10" fmla="*/ 1373054 h 5513991"/>
              <a:gd name="connsiteX11" fmla="*/ 4455188 w 4482645"/>
              <a:gd name="connsiteY11" fmla="*/ 1376999 h 5513991"/>
              <a:gd name="connsiteX12" fmla="*/ 4432208 w 4482645"/>
              <a:gd name="connsiteY12" fmla="*/ 1524330 h 5513991"/>
              <a:gd name="connsiteX13" fmla="*/ 4427327 w 4482645"/>
              <a:gd name="connsiteY13" fmla="*/ 1535289 h 5513991"/>
              <a:gd name="connsiteX14" fmla="*/ 4391089 w 4482645"/>
              <a:gd name="connsiteY14" fmla="*/ 1868666 h 5513991"/>
              <a:gd name="connsiteX15" fmla="*/ 4402058 w 4482645"/>
              <a:gd name="connsiteY15" fmla="*/ 1943047 h 5513991"/>
              <a:gd name="connsiteX16" fmla="*/ 4394860 w 4482645"/>
              <a:gd name="connsiteY16" fmla="*/ 2025379 h 5513991"/>
              <a:gd name="connsiteX17" fmla="*/ 4375445 w 4482645"/>
              <a:gd name="connsiteY17" fmla="*/ 2148592 h 5513991"/>
              <a:gd name="connsiteX18" fmla="*/ 4243956 w 4482645"/>
              <a:gd name="connsiteY18" fmla="*/ 5036659 h 5513991"/>
              <a:gd name="connsiteX19" fmla="*/ 4242847 w 4482645"/>
              <a:gd name="connsiteY19" fmla="*/ 5242987 h 5513991"/>
              <a:gd name="connsiteX20" fmla="*/ 4187554 w 4482645"/>
              <a:gd name="connsiteY20" fmla="*/ 5513970 h 5513991"/>
              <a:gd name="connsiteX21" fmla="*/ 298746 w 4482645"/>
              <a:gd name="connsiteY21" fmla="*/ 5249166 h 5513991"/>
              <a:gd name="connsiteX22" fmla="*/ 1462 w 4482645"/>
              <a:gd name="connsiteY22" fmla="*/ 5237777 h 5513991"/>
              <a:gd name="connsiteX23" fmla="*/ 7874 w 4482645"/>
              <a:gd name="connsiteY23" fmla="*/ 4977753 h 5513991"/>
              <a:gd name="connsiteX24" fmla="*/ 20715 w 4482645"/>
              <a:gd name="connsiteY24" fmla="*/ 4752822 h 5513991"/>
              <a:gd name="connsiteX25" fmla="*/ 222466 w 4482645"/>
              <a:gd name="connsiteY25"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42606 w 4482645"/>
              <a:gd name="connsiteY6" fmla="*/ 946777 h 5513991"/>
              <a:gd name="connsiteX7" fmla="*/ 4444683 w 4482645"/>
              <a:gd name="connsiteY7" fmla="*/ 947677 h 5513991"/>
              <a:gd name="connsiteX8" fmla="*/ 4444004 w 4482645"/>
              <a:gd name="connsiteY8" fmla="*/ 1082386 h 5513991"/>
              <a:gd name="connsiteX9" fmla="*/ 4443899 w 4482645"/>
              <a:gd name="connsiteY9" fmla="*/ 1140681 h 5513991"/>
              <a:gd name="connsiteX10" fmla="*/ 4451924 w 4482645"/>
              <a:gd name="connsiteY10" fmla="*/ 1373054 h 5513991"/>
              <a:gd name="connsiteX11" fmla="*/ 4432208 w 4482645"/>
              <a:gd name="connsiteY11" fmla="*/ 1524330 h 5513991"/>
              <a:gd name="connsiteX12" fmla="*/ 4427327 w 4482645"/>
              <a:gd name="connsiteY12" fmla="*/ 1535289 h 5513991"/>
              <a:gd name="connsiteX13" fmla="*/ 4391089 w 4482645"/>
              <a:gd name="connsiteY13" fmla="*/ 1868666 h 5513991"/>
              <a:gd name="connsiteX14" fmla="*/ 4402058 w 4482645"/>
              <a:gd name="connsiteY14" fmla="*/ 1943047 h 5513991"/>
              <a:gd name="connsiteX15" fmla="*/ 4394860 w 4482645"/>
              <a:gd name="connsiteY15" fmla="*/ 2025379 h 5513991"/>
              <a:gd name="connsiteX16" fmla="*/ 4375445 w 4482645"/>
              <a:gd name="connsiteY16" fmla="*/ 2148592 h 5513991"/>
              <a:gd name="connsiteX17" fmla="*/ 4243956 w 4482645"/>
              <a:gd name="connsiteY17" fmla="*/ 5036659 h 5513991"/>
              <a:gd name="connsiteX18" fmla="*/ 4242847 w 4482645"/>
              <a:gd name="connsiteY18" fmla="*/ 5242987 h 5513991"/>
              <a:gd name="connsiteX19" fmla="*/ 4187554 w 4482645"/>
              <a:gd name="connsiteY19" fmla="*/ 5513970 h 5513991"/>
              <a:gd name="connsiteX20" fmla="*/ 298746 w 4482645"/>
              <a:gd name="connsiteY20" fmla="*/ 5249166 h 5513991"/>
              <a:gd name="connsiteX21" fmla="*/ 1462 w 4482645"/>
              <a:gd name="connsiteY21" fmla="*/ 5237777 h 5513991"/>
              <a:gd name="connsiteX22" fmla="*/ 7874 w 4482645"/>
              <a:gd name="connsiteY22" fmla="*/ 4977753 h 5513991"/>
              <a:gd name="connsiteX23" fmla="*/ 20715 w 4482645"/>
              <a:gd name="connsiteY23" fmla="*/ 4752822 h 5513991"/>
              <a:gd name="connsiteX24" fmla="*/ 222466 w 4482645"/>
              <a:gd name="connsiteY24"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42606 w 4482645"/>
              <a:gd name="connsiteY6" fmla="*/ 946777 h 5513991"/>
              <a:gd name="connsiteX7" fmla="*/ 4444683 w 4482645"/>
              <a:gd name="connsiteY7" fmla="*/ 947677 h 5513991"/>
              <a:gd name="connsiteX8" fmla="*/ 4444004 w 4482645"/>
              <a:gd name="connsiteY8" fmla="*/ 1082386 h 5513991"/>
              <a:gd name="connsiteX9" fmla="*/ 4443899 w 4482645"/>
              <a:gd name="connsiteY9" fmla="*/ 1140681 h 5513991"/>
              <a:gd name="connsiteX10" fmla="*/ 4451924 w 4482645"/>
              <a:gd name="connsiteY10" fmla="*/ 1373054 h 5513991"/>
              <a:gd name="connsiteX11" fmla="*/ 4432208 w 4482645"/>
              <a:gd name="connsiteY11" fmla="*/ 1524330 h 5513991"/>
              <a:gd name="connsiteX12" fmla="*/ 4427327 w 4482645"/>
              <a:gd name="connsiteY12" fmla="*/ 1535289 h 5513991"/>
              <a:gd name="connsiteX13" fmla="*/ 4391089 w 4482645"/>
              <a:gd name="connsiteY13" fmla="*/ 1868666 h 5513991"/>
              <a:gd name="connsiteX14" fmla="*/ 4402058 w 4482645"/>
              <a:gd name="connsiteY14" fmla="*/ 1943047 h 5513991"/>
              <a:gd name="connsiteX15" fmla="*/ 4394860 w 4482645"/>
              <a:gd name="connsiteY15" fmla="*/ 2025379 h 5513991"/>
              <a:gd name="connsiteX16" fmla="*/ 4375445 w 4482645"/>
              <a:gd name="connsiteY16" fmla="*/ 2148592 h 5513991"/>
              <a:gd name="connsiteX17" fmla="*/ 4243956 w 4482645"/>
              <a:gd name="connsiteY17" fmla="*/ 5036659 h 5513991"/>
              <a:gd name="connsiteX18" fmla="*/ 4242847 w 4482645"/>
              <a:gd name="connsiteY18" fmla="*/ 5242987 h 5513991"/>
              <a:gd name="connsiteX19" fmla="*/ 4187554 w 4482645"/>
              <a:gd name="connsiteY19" fmla="*/ 5513970 h 5513991"/>
              <a:gd name="connsiteX20" fmla="*/ 298746 w 4482645"/>
              <a:gd name="connsiteY20" fmla="*/ 5249166 h 5513991"/>
              <a:gd name="connsiteX21" fmla="*/ 1462 w 4482645"/>
              <a:gd name="connsiteY21" fmla="*/ 5237777 h 5513991"/>
              <a:gd name="connsiteX22" fmla="*/ 7874 w 4482645"/>
              <a:gd name="connsiteY22" fmla="*/ 4977753 h 5513991"/>
              <a:gd name="connsiteX23" fmla="*/ 20715 w 4482645"/>
              <a:gd name="connsiteY23" fmla="*/ 4752822 h 5513991"/>
              <a:gd name="connsiteX24" fmla="*/ 222466 w 4482645"/>
              <a:gd name="connsiteY24"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53638 w 4482645"/>
              <a:gd name="connsiteY3" fmla="*/ 228666 h 5513991"/>
              <a:gd name="connsiteX4" fmla="*/ 4481517 w 4482645"/>
              <a:gd name="connsiteY4" fmla="*/ 250471 h 5513991"/>
              <a:gd name="connsiteX5" fmla="*/ 4476830 w 4482645"/>
              <a:gd name="connsiteY5" fmla="*/ 373160 h 5513991"/>
              <a:gd name="connsiteX6" fmla="*/ 4442606 w 4482645"/>
              <a:gd name="connsiteY6" fmla="*/ 946777 h 5513991"/>
              <a:gd name="connsiteX7" fmla="*/ 4444683 w 4482645"/>
              <a:gd name="connsiteY7" fmla="*/ 947677 h 5513991"/>
              <a:gd name="connsiteX8" fmla="*/ 4444004 w 4482645"/>
              <a:gd name="connsiteY8" fmla="*/ 1082386 h 5513991"/>
              <a:gd name="connsiteX9" fmla="*/ 4443899 w 4482645"/>
              <a:gd name="connsiteY9" fmla="*/ 1140681 h 5513991"/>
              <a:gd name="connsiteX10" fmla="*/ 4451924 w 4482645"/>
              <a:gd name="connsiteY10" fmla="*/ 1373054 h 5513991"/>
              <a:gd name="connsiteX11" fmla="*/ 4432208 w 4482645"/>
              <a:gd name="connsiteY11" fmla="*/ 1524330 h 5513991"/>
              <a:gd name="connsiteX12" fmla="*/ 4427327 w 4482645"/>
              <a:gd name="connsiteY12" fmla="*/ 1535289 h 5513991"/>
              <a:gd name="connsiteX13" fmla="*/ 4391089 w 4482645"/>
              <a:gd name="connsiteY13" fmla="*/ 1868666 h 5513991"/>
              <a:gd name="connsiteX14" fmla="*/ 4402058 w 4482645"/>
              <a:gd name="connsiteY14" fmla="*/ 1943047 h 5513991"/>
              <a:gd name="connsiteX15" fmla="*/ 4394860 w 4482645"/>
              <a:gd name="connsiteY15" fmla="*/ 2025379 h 5513991"/>
              <a:gd name="connsiteX16" fmla="*/ 4375445 w 4482645"/>
              <a:gd name="connsiteY16" fmla="*/ 2148592 h 5513991"/>
              <a:gd name="connsiteX17" fmla="*/ 4242847 w 4482645"/>
              <a:gd name="connsiteY17" fmla="*/ 5242987 h 5513991"/>
              <a:gd name="connsiteX18" fmla="*/ 4187554 w 4482645"/>
              <a:gd name="connsiteY18" fmla="*/ 5513970 h 5513991"/>
              <a:gd name="connsiteX19" fmla="*/ 298746 w 4482645"/>
              <a:gd name="connsiteY19" fmla="*/ 5249166 h 5513991"/>
              <a:gd name="connsiteX20" fmla="*/ 1462 w 4482645"/>
              <a:gd name="connsiteY20" fmla="*/ 5237777 h 5513991"/>
              <a:gd name="connsiteX21" fmla="*/ 7874 w 4482645"/>
              <a:gd name="connsiteY21" fmla="*/ 4977753 h 5513991"/>
              <a:gd name="connsiteX22" fmla="*/ 20715 w 4482645"/>
              <a:gd name="connsiteY22" fmla="*/ 4752822 h 5513991"/>
              <a:gd name="connsiteX23" fmla="*/ 222466 w 4482645"/>
              <a:gd name="connsiteY23" fmla="*/ 0 h 5513991"/>
              <a:gd name="connsiteX0" fmla="*/ 222466 w 4482645"/>
              <a:gd name="connsiteY0" fmla="*/ 0 h 5513991"/>
              <a:gd name="connsiteX1" fmla="*/ 3251633 w 4482645"/>
              <a:gd name="connsiteY1" fmla="*/ 153134 h 5513991"/>
              <a:gd name="connsiteX2" fmla="*/ 4080444 w 4482645"/>
              <a:gd name="connsiteY2" fmla="*/ 208242 h 5513991"/>
              <a:gd name="connsiteX3" fmla="*/ 4481517 w 4482645"/>
              <a:gd name="connsiteY3" fmla="*/ 250471 h 5513991"/>
              <a:gd name="connsiteX4" fmla="*/ 4476830 w 4482645"/>
              <a:gd name="connsiteY4" fmla="*/ 373160 h 5513991"/>
              <a:gd name="connsiteX5" fmla="*/ 4442606 w 4482645"/>
              <a:gd name="connsiteY5" fmla="*/ 946777 h 5513991"/>
              <a:gd name="connsiteX6" fmla="*/ 4444683 w 4482645"/>
              <a:gd name="connsiteY6" fmla="*/ 947677 h 5513991"/>
              <a:gd name="connsiteX7" fmla="*/ 4444004 w 4482645"/>
              <a:gd name="connsiteY7" fmla="*/ 1082386 h 5513991"/>
              <a:gd name="connsiteX8" fmla="*/ 4443899 w 4482645"/>
              <a:gd name="connsiteY8" fmla="*/ 1140681 h 5513991"/>
              <a:gd name="connsiteX9" fmla="*/ 4451924 w 4482645"/>
              <a:gd name="connsiteY9" fmla="*/ 1373054 h 5513991"/>
              <a:gd name="connsiteX10" fmla="*/ 4432208 w 4482645"/>
              <a:gd name="connsiteY10" fmla="*/ 1524330 h 5513991"/>
              <a:gd name="connsiteX11" fmla="*/ 4427327 w 4482645"/>
              <a:gd name="connsiteY11" fmla="*/ 1535289 h 5513991"/>
              <a:gd name="connsiteX12" fmla="*/ 4391089 w 4482645"/>
              <a:gd name="connsiteY12" fmla="*/ 1868666 h 5513991"/>
              <a:gd name="connsiteX13" fmla="*/ 4402058 w 4482645"/>
              <a:gd name="connsiteY13" fmla="*/ 1943047 h 5513991"/>
              <a:gd name="connsiteX14" fmla="*/ 4394860 w 4482645"/>
              <a:gd name="connsiteY14" fmla="*/ 2025379 h 5513991"/>
              <a:gd name="connsiteX15" fmla="*/ 4375445 w 4482645"/>
              <a:gd name="connsiteY15" fmla="*/ 2148592 h 5513991"/>
              <a:gd name="connsiteX16" fmla="*/ 4242847 w 4482645"/>
              <a:gd name="connsiteY16" fmla="*/ 5242987 h 5513991"/>
              <a:gd name="connsiteX17" fmla="*/ 4187554 w 4482645"/>
              <a:gd name="connsiteY17" fmla="*/ 5513970 h 5513991"/>
              <a:gd name="connsiteX18" fmla="*/ 298746 w 4482645"/>
              <a:gd name="connsiteY18" fmla="*/ 5249166 h 5513991"/>
              <a:gd name="connsiteX19" fmla="*/ 1462 w 4482645"/>
              <a:gd name="connsiteY19" fmla="*/ 5237777 h 5513991"/>
              <a:gd name="connsiteX20" fmla="*/ 7874 w 4482645"/>
              <a:gd name="connsiteY20" fmla="*/ 4977753 h 5513991"/>
              <a:gd name="connsiteX21" fmla="*/ 20715 w 4482645"/>
              <a:gd name="connsiteY21" fmla="*/ 4752822 h 5513991"/>
              <a:gd name="connsiteX22" fmla="*/ 222466 w 4482645"/>
              <a:gd name="connsiteY22" fmla="*/ 0 h 5513991"/>
              <a:gd name="connsiteX0" fmla="*/ 222466 w 4482645"/>
              <a:gd name="connsiteY0" fmla="*/ 0 h 5513991"/>
              <a:gd name="connsiteX1" fmla="*/ 3251633 w 4482645"/>
              <a:gd name="connsiteY1" fmla="*/ 153134 h 5513991"/>
              <a:gd name="connsiteX2" fmla="*/ 4481517 w 4482645"/>
              <a:gd name="connsiteY2" fmla="*/ 250471 h 5513991"/>
              <a:gd name="connsiteX3" fmla="*/ 4476830 w 4482645"/>
              <a:gd name="connsiteY3" fmla="*/ 373160 h 5513991"/>
              <a:gd name="connsiteX4" fmla="*/ 4442606 w 4482645"/>
              <a:gd name="connsiteY4" fmla="*/ 946777 h 5513991"/>
              <a:gd name="connsiteX5" fmla="*/ 4444683 w 4482645"/>
              <a:gd name="connsiteY5" fmla="*/ 947677 h 5513991"/>
              <a:gd name="connsiteX6" fmla="*/ 4444004 w 4482645"/>
              <a:gd name="connsiteY6" fmla="*/ 1082386 h 5513991"/>
              <a:gd name="connsiteX7" fmla="*/ 4443899 w 4482645"/>
              <a:gd name="connsiteY7" fmla="*/ 1140681 h 5513991"/>
              <a:gd name="connsiteX8" fmla="*/ 4451924 w 4482645"/>
              <a:gd name="connsiteY8" fmla="*/ 1373054 h 5513991"/>
              <a:gd name="connsiteX9" fmla="*/ 4432208 w 4482645"/>
              <a:gd name="connsiteY9" fmla="*/ 1524330 h 5513991"/>
              <a:gd name="connsiteX10" fmla="*/ 4427327 w 4482645"/>
              <a:gd name="connsiteY10" fmla="*/ 1535289 h 5513991"/>
              <a:gd name="connsiteX11" fmla="*/ 4391089 w 4482645"/>
              <a:gd name="connsiteY11" fmla="*/ 1868666 h 5513991"/>
              <a:gd name="connsiteX12" fmla="*/ 4402058 w 4482645"/>
              <a:gd name="connsiteY12" fmla="*/ 1943047 h 5513991"/>
              <a:gd name="connsiteX13" fmla="*/ 4394860 w 4482645"/>
              <a:gd name="connsiteY13" fmla="*/ 2025379 h 5513991"/>
              <a:gd name="connsiteX14" fmla="*/ 4375445 w 4482645"/>
              <a:gd name="connsiteY14" fmla="*/ 2148592 h 5513991"/>
              <a:gd name="connsiteX15" fmla="*/ 4242847 w 4482645"/>
              <a:gd name="connsiteY15" fmla="*/ 5242987 h 5513991"/>
              <a:gd name="connsiteX16" fmla="*/ 4187554 w 4482645"/>
              <a:gd name="connsiteY16" fmla="*/ 5513970 h 5513991"/>
              <a:gd name="connsiteX17" fmla="*/ 298746 w 4482645"/>
              <a:gd name="connsiteY17" fmla="*/ 5249166 h 5513991"/>
              <a:gd name="connsiteX18" fmla="*/ 1462 w 4482645"/>
              <a:gd name="connsiteY18" fmla="*/ 5237777 h 5513991"/>
              <a:gd name="connsiteX19" fmla="*/ 7874 w 4482645"/>
              <a:gd name="connsiteY19" fmla="*/ 4977753 h 5513991"/>
              <a:gd name="connsiteX20" fmla="*/ 20715 w 4482645"/>
              <a:gd name="connsiteY20" fmla="*/ 4752822 h 5513991"/>
              <a:gd name="connsiteX21" fmla="*/ 222466 w 4482645"/>
              <a:gd name="connsiteY21" fmla="*/ 0 h 5513991"/>
              <a:gd name="connsiteX0" fmla="*/ 222466 w 4482645"/>
              <a:gd name="connsiteY0" fmla="*/ 289405 h 5803396"/>
              <a:gd name="connsiteX1" fmla="*/ 4481517 w 4482645"/>
              <a:gd name="connsiteY1" fmla="*/ 539876 h 5803396"/>
              <a:gd name="connsiteX2" fmla="*/ 4476830 w 4482645"/>
              <a:gd name="connsiteY2" fmla="*/ 662565 h 5803396"/>
              <a:gd name="connsiteX3" fmla="*/ 4442606 w 4482645"/>
              <a:gd name="connsiteY3" fmla="*/ 1236182 h 5803396"/>
              <a:gd name="connsiteX4" fmla="*/ 4444683 w 4482645"/>
              <a:gd name="connsiteY4" fmla="*/ 1237082 h 5803396"/>
              <a:gd name="connsiteX5" fmla="*/ 4444004 w 4482645"/>
              <a:gd name="connsiteY5" fmla="*/ 1371791 h 5803396"/>
              <a:gd name="connsiteX6" fmla="*/ 4443899 w 4482645"/>
              <a:gd name="connsiteY6" fmla="*/ 1430086 h 5803396"/>
              <a:gd name="connsiteX7" fmla="*/ 4451924 w 4482645"/>
              <a:gd name="connsiteY7" fmla="*/ 1662459 h 5803396"/>
              <a:gd name="connsiteX8" fmla="*/ 4432208 w 4482645"/>
              <a:gd name="connsiteY8" fmla="*/ 1813735 h 5803396"/>
              <a:gd name="connsiteX9" fmla="*/ 4427327 w 4482645"/>
              <a:gd name="connsiteY9" fmla="*/ 1824694 h 5803396"/>
              <a:gd name="connsiteX10" fmla="*/ 4391089 w 4482645"/>
              <a:gd name="connsiteY10" fmla="*/ 2158071 h 5803396"/>
              <a:gd name="connsiteX11" fmla="*/ 4402058 w 4482645"/>
              <a:gd name="connsiteY11" fmla="*/ 2232452 h 5803396"/>
              <a:gd name="connsiteX12" fmla="*/ 4394860 w 4482645"/>
              <a:gd name="connsiteY12" fmla="*/ 2314784 h 5803396"/>
              <a:gd name="connsiteX13" fmla="*/ 4375445 w 4482645"/>
              <a:gd name="connsiteY13" fmla="*/ 2437997 h 5803396"/>
              <a:gd name="connsiteX14" fmla="*/ 4242847 w 4482645"/>
              <a:gd name="connsiteY14" fmla="*/ 5532392 h 5803396"/>
              <a:gd name="connsiteX15" fmla="*/ 4187554 w 4482645"/>
              <a:gd name="connsiteY15" fmla="*/ 5803375 h 5803396"/>
              <a:gd name="connsiteX16" fmla="*/ 298746 w 4482645"/>
              <a:gd name="connsiteY16" fmla="*/ 5538571 h 5803396"/>
              <a:gd name="connsiteX17" fmla="*/ 1462 w 4482645"/>
              <a:gd name="connsiteY17" fmla="*/ 5527182 h 5803396"/>
              <a:gd name="connsiteX18" fmla="*/ 7874 w 4482645"/>
              <a:gd name="connsiteY18" fmla="*/ 5267158 h 5803396"/>
              <a:gd name="connsiteX19" fmla="*/ 20715 w 4482645"/>
              <a:gd name="connsiteY19" fmla="*/ 5042227 h 5803396"/>
              <a:gd name="connsiteX20" fmla="*/ 222466 w 4482645"/>
              <a:gd name="connsiteY20" fmla="*/ 289405 h 5803396"/>
              <a:gd name="connsiteX0" fmla="*/ 222466 w 4482645"/>
              <a:gd name="connsiteY0" fmla="*/ 99 h 5514090"/>
              <a:gd name="connsiteX1" fmla="*/ 4481517 w 4482645"/>
              <a:gd name="connsiteY1" fmla="*/ 250570 h 5514090"/>
              <a:gd name="connsiteX2" fmla="*/ 4476830 w 4482645"/>
              <a:gd name="connsiteY2" fmla="*/ 373259 h 5514090"/>
              <a:gd name="connsiteX3" fmla="*/ 4442606 w 4482645"/>
              <a:gd name="connsiteY3" fmla="*/ 946876 h 5514090"/>
              <a:gd name="connsiteX4" fmla="*/ 4444683 w 4482645"/>
              <a:gd name="connsiteY4" fmla="*/ 947776 h 5514090"/>
              <a:gd name="connsiteX5" fmla="*/ 4444004 w 4482645"/>
              <a:gd name="connsiteY5" fmla="*/ 1082485 h 5514090"/>
              <a:gd name="connsiteX6" fmla="*/ 4443899 w 4482645"/>
              <a:gd name="connsiteY6" fmla="*/ 1140780 h 5514090"/>
              <a:gd name="connsiteX7" fmla="*/ 4451924 w 4482645"/>
              <a:gd name="connsiteY7" fmla="*/ 1373153 h 5514090"/>
              <a:gd name="connsiteX8" fmla="*/ 4432208 w 4482645"/>
              <a:gd name="connsiteY8" fmla="*/ 1524429 h 5514090"/>
              <a:gd name="connsiteX9" fmla="*/ 4427327 w 4482645"/>
              <a:gd name="connsiteY9" fmla="*/ 1535388 h 5514090"/>
              <a:gd name="connsiteX10" fmla="*/ 4391089 w 4482645"/>
              <a:gd name="connsiteY10" fmla="*/ 1868765 h 5514090"/>
              <a:gd name="connsiteX11" fmla="*/ 4402058 w 4482645"/>
              <a:gd name="connsiteY11" fmla="*/ 1943146 h 5514090"/>
              <a:gd name="connsiteX12" fmla="*/ 4394860 w 4482645"/>
              <a:gd name="connsiteY12" fmla="*/ 2025478 h 5514090"/>
              <a:gd name="connsiteX13" fmla="*/ 4375445 w 4482645"/>
              <a:gd name="connsiteY13" fmla="*/ 2148691 h 5514090"/>
              <a:gd name="connsiteX14" fmla="*/ 4242847 w 4482645"/>
              <a:gd name="connsiteY14" fmla="*/ 5243086 h 5514090"/>
              <a:gd name="connsiteX15" fmla="*/ 4187554 w 4482645"/>
              <a:gd name="connsiteY15" fmla="*/ 5514069 h 5514090"/>
              <a:gd name="connsiteX16" fmla="*/ 298746 w 4482645"/>
              <a:gd name="connsiteY16" fmla="*/ 5249265 h 5514090"/>
              <a:gd name="connsiteX17" fmla="*/ 1462 w 4482645"/>
              <a:gd name="connsiteY17" fmla="*/ 5237876 h 5514090"/>
              <a:gd name="connsiteX18" fmla="*/ 7874 w 4482645"/>
              <a:gd name="connsiteY18" fmla="*/ 4977852 h 5514090"/>
              <a:gd name="connsiteX19" fmla="*/ 20715 w 4482645"/>
              <a:gd name="connsiteY19" fmla="*/ 4752921 h 5514090"/>
              <a:gd name="connsiteX20" fmla="*/ 222466 w 4482645"/>
              <a:gd name="connsiteY20" fmla="*/ 99 h 5514090"/>
              <a:gd name="connsiteX0" fmla="*/ 222466 w 4482645"/>
              <a:gd name="connsiteY0" fmla="*/ 0 h 5513991"/>
              <a:gd name="connsiteX1" fmla="*/ 4481517 w 4482645"/>
              <a:gd name="connsiteY1" fmla="*/ 250471 h 5513991"/>
              <a:gd name="connsiteX2" fmla="*/ 4476830 w 4482645"/>
              <a:gd name="connsiteY2" fmla="*/ 373160 h 5513991"/>
              <a:gd name="connsiteX3" fmla="*/ 4442606 w 4482645"/>
              <a:gd name="connsiteY3" fmla="*/ 946777 h 5513991"/>
              <a:gd name="connsiteX4" fmla="*/ 4444683 w 4482645"/>
              <a:gd name="connsiteY4" fmla="*/ 947677 h 5513991"/>
              <a:gd name="connsiteX5" fmla="*/ 4444004 w 4482645"/>
              <a:gd name="connsiteY5" fmla="*/ 1082386 h 5513991"/>
              <a:gd name="connsiteX6" fmla="*/ 4443899 w 4482645"/>
              <a:gd name="connsiteY6" fmla="*/ 1140681 h 5513991"/>
              <a:gd name="connsiteX7" fmla="*/ 4451924 w 4482645"/>
              <a:gd name="connsiteY7" fmla="*/ 1373054 h 5513991"/>
              <a:gd name="connsiteX8" fmla="*/ 4432208 w 4482645"/>
              <a:gd name="connsiteY8" fmla="*/ 1524330 h 5513991"/>
              <a:gd name="connsiteX9" fmla="*/ 4427327 w 4482645"/>
              <a:gd name="connsiteY9" fmla="*/ 1535289 h 5513991"/>
              <a:gd name="connsiteX10" fmla="*/ 4391089 w 4482645"/>
              <a:gd name="connsiteY10" fmla="*/ 1868666 h 5513991"/>
              <a:gd name="connsiteX11" fmla="*/ 4402058 w 4482645"/>
              <a:gd name="connsiteY11" fmla="*/ 1943047 h 5513991"/>
              <a:gd name="connsiteX12" fmla="*/ 4394860 w 4482645"/>
              <a:gd name="connsiteY12" fmla="*/ 2025379 h 5513991"/>
              <a:gd name="connsiteX13" fmla="*/ 4375445 w 4482645"/>
              <a:gd name="connsiteY13" fmla="*/ 2148592 h 5513991"/>
              <a:gd name="connsiteX14" fmla="*/ 4242847 w 4482645"/>
              <a:gd name="connsiteY14" fmla="*/ 5242987 h 5513991"/>
              <a:gd name="connsiteX15" fmla="*/ 4187554 w 4482645"/>
              <a:gd name="connsiteY15" fmla="*/ 5513970 h 5513991"/>
              <a:gd name="connsiteX16" fmla="*/ 298746 w 4482645"/>
              <a:gd name="connsiteY16" fmla="*/ 5249166 h 5513991"/>
              <a:gd name="connsiteX17" fmla="*/ 1462 w 4482645"/>
              <a:gd name="connsiteY17" fmla="*/ 5237777 h 5513991"/>
              <a:gd name="connsiteX18" fmla="*/ 7874 w 4482645"/>
              <a:gd name="connsiteY18" fmla="*/ 4977753 h 5513991"/>
              <a:gd name="connsiteX19" fmla="*/ 20715 w 4482645"/>
              <a:gd name="connsiteY19" fmla="*/ 4752822 h 5513991"/>
              <a:gd name="connsiteX20" fmla="*/ 222466 w 4482645"/>
              <a:gd name="connsiteY20" fmla="*/ 0 h 5513991"/>
              <a:gd name="connsiteX0" fmla="*/ 222466 w 4477020"/>
              <a:gd name="connsiteY0" fmla="*/ 0 h 5513991"/>
              <a:gd name="connsiteX1" fmla="*/ 4468078 w 4477020"/>
              <a:gd name="connsiteY1" fmla="*/ 269466 h 5513991"/>
              <a:gd name="connsiteX2" fmla="*/ 4476830 w 4477020"/>
              <a:gd name="connsiteY2" fmla="*/ 373160 h 5513991"/>
              <a:gd name="connsiteX3" fmla="*/ 4442606 w 4477020"/>
              <a:gd name="connsiteY3" fmla="*/ 946777 h 5513991"/>
              <a:gd name="connsiteX4" fmla="*/ 4444683 w 4477020"/>
              <a:gd name="connsiteY4" fmla="*/ 947677 h 5513991"/>
              <a:gd name="connsiteX5" fmla="*/ 4444004 w 4477020"/>
              <a:gd name="connsiteY5" fmla="*/ 1082386 h 5513991"/>
              <a:gd name="connsiteX6" fmla="*/ 4443899 w 4477020"/>
              <a:gd name="connsiteY6" fmla="*/ 1140681 h 5513991"/>
              <a:gd name="connsiteX7" fmla="*/ 4451924 w 4477020"/>
              <a:gd name="connsiteY7" fmla="*/ 1373054 h 5513991"/>
              <a:gd name="connsiteX8" fmla="*/ 4432208 w 4477020"/>
              <a:gd name="connsiteY8" fmla="*/ 1524330 h 5513991"/>
              <a:gd name="connsiteX9" fmla="*/ 4427327 w 4477020"/>
              <a:gd name="connsiteY9" fmla="*/ 1535289 h 5513991"/>
              <a:gd name="connsiteX10" fmla="*/ 4391089 w 4477020"/>
              <a:gd name="connsiteY10" fmla="*/ 1868666 h 5513991"/>
              <a:gd name="connsiteX11" fmla="*/ 4402058 w 4477020"/>
              <a:gd name="connsiteY11" fmla="*/ 1943047 h 5513991"/>
              <a:gd name="connsiteX12" fmla="*/ 4394860 w 4477020"/>
              <a:gd name="connsiteY12" fmla="*/ 2025379 h 5513991"/>
              <a:gd name="connsiteX13" fmla="*/ 4375445 w 4477020"/>
              <a:gd name="connsiteY13" fmla="*/ 2148592 h 5513991"/>
              <a:gd name="connsiteX14" fmla="*/ 4242847 w 4477020"/>
              <a:gd name="connsiteY14" fmla="*/ 5242987 h 5513991"/>
              <a:gd name="connsiteX15" fmla="*/ 4187554 w 4477020"/>
              <a:gd name="connsiteY15" fmla="*/ 5513970 h 5513991"/>
              <a:gd name="connsiteX16" fmla="*/ 298746 w 4477020"/>
              <a:gd name="connsiteY16" fmla="*/ 5249166 h 5513991"/>
              <a:gd name="connsiteX17" fmla="*/ 1462 w 4477020"/>
              <a:gd name="connsiteY17" fmla="*/ 5237777 h 5513991"/>
              <a:gd name="connsiteX18" fmla="*/ 7874 w 4477020"/>
              <a:gd name="connsiteY18" fmla="*/ 4977753 h 5513991"/>
              <a:gd name="connsiteX19" fmla="*/ 20715 w 4477020"/>
              <a:gd name="connsiteY19" fmla="*/ 4752822 h 5513991"/>
              <a:gd name="connsiteX20" fmla="*/ 222466 w 4477020"/>
              <a:gd name="connsiteY20" fmla="*/ 0 h 5513991"/>
              <a:gd name="connsiteX0" fmla="*/ 222466 w 4469746"/>
              <a:gd name="connsiteY0" fmla="*/ 0 h 5513991"/>
              <a:gd name="connsiteX1" fmla="*/ 4468078 w 4469746"/>
              <a:gd name="connsiteY1" fmla="*/ 269466 h 5513991"/>
              <a:gd name="connsiteX2" fmla="*/ 4466704 w 4469746"/>
              <a:gd name="connsiteY2" fmla="*/ 402762 h 5513991"/>
              <a:gd name="connsiteX3" fmla="*/ 4442606 w 4469746"/>
              <a:gd name="connsiteY3" fmla="*/ 946777 h 5513991"/>
              <a:gd name="connsiteX4" fmla="*/ 4444683 w 4469746"/>
              <a:gd name="connsiteY4" fmla="*/ 947677 h 5513991"/>
              <a:gd name="connsiteX5" fmla="*/ 4444004 w 4469746"/>
              <a:gd name="connsiteY5" fmla="*/ 1082386 h 5513991"/>
              <a:gd name="connsiteX6" fmla="*/ 4443899 w 4469746"/>
              <a:gd name="connsiteY6" fmla="*/ 1140681 h 5513991"/>
              <a:gd name="connsiteX7" fmla="*/ 4451924 w 4469746"/>
              <a:gd name="connsiteY7" fmla="*/ 1373054 h 5513991"/>
              <a:gd name="connsiteX8" fmla="*/ 4432208 w 4469746"/>
              <a:gd name="connsiteY8" fmla="*/ 1524330 h 5513991"/>
              <a:gd name="connsiteX9" fmla="*/ 4427327 w 4469746"/>
              <a:gd name="connsiteY9" fmla="*/ 1535289 h 5513991"/>
              <a:gd name="connsiteX10" fmla="*/ 4391089 w 4469746"/>
              <a:gd name="connsiteY10" fmla="*/ 1868666 h 5513991"/>
              <a:gd name="connsiteX11" fmla="*/ 4402058 w 4469746"/>
              <a:gd name="connsiteY11" fmla="*/ 1943047 h 5513991"/>
              <a:gd name="connsiteX12" fmla="*/ 4394860 w 4469746"/>
              <a:gd name="connsiteY12" fmla="*/ 2025379 h 5513991"/>
              <a:gd name="connsiteX13" fmla="*/ 4375445 w 4469746"/>
              <a:gd name="connsiteY13" fmla="*/ 2148592 h 5513991"/>
              <a:gd name="connsiteX14" fmla="*/ 4242847 w 4469746"/>
              <a:gd name="connsiteY14" fmla="*/ 5242987 h 5513991"/>
              <a:gd name="connsiteX15" fmla="*/ 4187554 w 4469746"/>
              <a:gd name="connsiteY15" fmla="*/ 5513970 h 5513991"/>
              <a:gd name="connsiteX16" fmla="*/ 298746 w 4469746"/>
              <a:gd name="connsiteY16" fmla="*/ 5249166 h 5513991"/>
              <a:gd name="connsiteX17" fmla="*/ 1462 w 4469746"/>
              <a:gd name="connsiteY17" fmla="*/ 5237777 h 5513991"/>
              <a:gd name="connsiteX18" fmla="*/ 7874 w 4469746"/>
              <a:gd name="connsiteY18" fmla="*/ 4977753 h 5513991"/>
              <a:gd name="connsiteX19" fmla="*/ 20715 w 4469746"/>
              <a:gd name="connsiteY19" fmla="*/ 4752822 h 5513991"/>
              <a:gd name="connsiteX20" fmla="*/ 222466 w 4469746"/>
              <a:gd name="connsiteY20" fmla="*/ 0 h 5513991"/>
              <a:gd name="connsiteX0" fmla="*/ 222466 w 4469746"/>
              <a:gd name="connsiteY0" fmla="*/ 0 h 5513991"/>
              <a:gd name="connsiteX1" fmla="*/ 4468078 w 4469746"/>
              <a:gd name="connsiteY1" fmla="*/ 269466 h 5513991"/>
              <a:gd name="connsiteX2" fmla="*/ 4466704 w 4469746"/>
              <a:gd name="connsiteY2" fmla="*/ 402762 h 5513991"/>
              <a:gd name="connsiteX3" fmla="*/ 4442606 w 4469746"/>
              <a:gd name="connsiteY3" fmla="*/ 946777 h 5513991"/>
              <a:gd name="connsiteX4" fmla="*/ 4444683 w 4469746"/>
              <a:gd name="connsiteY4" fmla="*/ 947677 h 5513991"/>
              <a:gd name="connsiteX5" fmla="*/ 4444004 w 4469746"/>
              <a:gd name="connsiteY5" fmla="*/ 1082386 h 5513991"/>
              <a:gd name="connsiteX6" fmla="*/ 4443899 w 4469746"/>
              <a:gd name="connsiteY6" fmla="*/ 1140681 h 5513991"/>
              <a:gd name="connsiteX7" fmla="*/ 4432208 w 4469746"/>
              <a:gd name="connsiteY7" fmla="*/ 1524330 h 5513991"/>
              <a:gd name="connsiteX8" fmla="*/ 4427327 w 4469746"/>
              <a:gd name="connsiteY8" fmla="*/ 1535289 h 5513991"/>
              <a:gd name="connsiteX9" fmla="*/ 4391089 w 4469746"/>
              <a:gd name="connsiteY9" fmla="*/ 1868666 h 5513991"/>
              <a:gd name="connsiteX10" fmla="*/ 4402058 w 4469746"/>
              <a:gd name="connsiteY10" fmla="*/ 1943047 h 5513991"/>
              <a:gd name="connsiteX11" fmla="*/ 4394860 w 4469746"/>
              <a:gd name="connsiteY11" fmla="*/ 2025379 h 5513991"/>
              <a:gd name="connsiteX12" fmla="*/ 4375445 w 4469746"/>
              <a:gd name="connsiteY12" fmla="*/ 2148592 h 5513991"/>
              <a:gd name="connsiteX13" fmla="*/ 4242847 w 4469746"/>
              <a:gd name="connsiteY13" fmla="*/ 5242987 h 5513991"/>
              <a:gd name="connsiteX14" fmla="*/ 4187554 w 4469746"/>
              <a:gd name="connsiteY14" fmla="*/ 5513970 h 5513991"/>
              <a:gd name="connsiteX15" fmla="*/ 298746 w 4469746"/>
              <a:gd name="connsiteY15" fmla="*/ 5249166 h 5513991"/>
              <a:gd name="connsiteX16" fmla="*/ 1462 w 4469746"/>
              <a:gd name="connsiteY16" fmla="*/ 5237777 h 5513991"/>
              <a:gd name="connsiteX17" fmla="*/ 7874 w 4469746"/>
              <a:gd name="connsiteY17" fmla="*/ 4977753 h 5513991"/>
              <a:gd name="connsiteX18" fmla="*/ 20715 w 4469746"/>
              <a:gd name="connsiteY18" fmla="*/ 4752822 h 5513991"/>
              <a:gd name="connsiteX19" fmla="*/ 222466 w 4469746"/>
              <a:gd name="connsiteY19" fmla="*/ 0 h 5513991"/>
              <a:gd name="connsiteX0" fmla="*/ 222466 w 4469746"/>
              <a:gd name="connsiteY0" fmla="*/ 0 h 5513991"/>
              <a:gd name="connsiteX1" fmla="*/ 4468078 w 4469746"/>
              <a:gd name="connsiteY1" fmla="*/ 269466 h 5513991"/>
              <a:gd name="connsiteX2" fmla="*/ 4466704 w 4469746"/>
              <a:gd name="connsiteY2" fmla="*/ 402762 h 5513991"/>
              <a:gd name="connsiteX3" fmla="*/ 4442606 w 4469746"/>
              <a:gd name="connsiteY3" fmla="*/ 946777 h 5513991"/>
              <a:gd name="connsiteX4" fmla="*/ 4444683 w 4469746"/>
              <a:gd name="connsiteY4" fmla="*/ 947677 h 5513991"/>
              <a:gd name="connsiteX5" fmla="*/ 4444004 w 4469746"/>
              <a:gd name="connsiteY5" fmla="*/ 1082386 h 5513991"/>
              <a:gd name="connsiteX6" fmla="*/ 4432208 w 4469746"/>
              <a:gd name="connsiteY6" fmla="*/ 1524330 h 5513991"/>
              <a:gd name="connsiteX7" fmla="*/ 4427327 w 4469746"/>
              <a:gd name="connsiteY7" fmla="*/ 1535289 h 5513991"/>
              <a:gd name="connsiteX8" fmla="*/ 4391089 w 4469746"/>
              <a:gd name="connsiteY8" fmla="*/ 1868666 h 5513991"/>
              <a:gd name="connsiteX9" fmla="*/ 4402058 w 4469746"/>
              <a:gd name="connsiteY9" fmla="*/ 1943047 h 5513991"/>
              <a:gd name="connsiteX10" fmla="*/ 4394860 w 4469746"/>
              <a:gd name="connsiteY10" fmla="*/ 2025379 h 5513991"/>
              <a:gd name="connsiteX11" fmla="*/ 4375445 w 4469746"/>
              <a:gd name="connsiteY11" fmla="*/ 2148592 h 5513991"/>
              <a:gd name="connsiteX12" fmla="*/ 4242847 w 4469746"/>
              <a:gd name="connsiteY12" fmla="*/ 5242987 h 5513991"/>
              <a:gd name="connsiteX13" fmla="*/ 4187554 w 4469746"/>
              <a:gd name="connsiteY13" fmla="*/ 5513970 h 5513991"/>
              <a:gd name="connsiteX14" fmla="*/ 298746 w 4469746"/>
              <a:gd name="connsiteY14" fmla="*/ 5249166 h 5513991"/>
              <a:gd name="connsiteX15" fmla="*/ 1462 w 4469746"/>
              <a:gd name="connsiteY15" fmla="*/ 5237777 h 5513991"/>
              <a:gd name="connsiteX16" fmla="*/ 7874 w 4469746"/>
              <a:gd name="connsiteY16" fmla="*/ 4977753 h 5513991"/>
              <a:gd name="connsiteX17" fmla="*/ 20715 w 4469746"/>
              <a:gd name="connsiteY17" fmla="*/ 4752822 h 5513991"/>
              <a:gd name="connsiteX18" fmla="*/ 222466 w 4469746"/>
              <a:gd name="connsiteY18" fmla="*/ 0 h 5513991"/>
              <a:gd name="connsiteX0" fmla="*/ 222466 w 4469746"/>
              <a:gd name="connsiteY0" fmla="*/ 0 h 5513991"/>
              <a:gd name="connsiteX1" fmla="*/ 4468078 w 4469746"/>
              <a:gd name="connsiteY1" fmla="*/ 269466 h 5513991"/>
              <a:gd name="connsiteX2" fmla="*/ 4466704 w 4469746"/>
              <a:gd name="connsiteY2" fmla="*/ 402762 h 5513991"/>
              <a:gd name="connsiteX3" fmla="*/ 4442606 w 4469746"/>
              <a:gd name="connsiteY3" fmla="*/ 946777 h 5513991"/>
              <a:gd name="connsiteX4" fmla="*/ 4444683 w 4469746"/>
              <a:gd name="connsiteY4" fmla="*/ 947677 h 5513991"/>
              <a:gd name="connsiteX5" fmla="*/ 4444004 w 4469746"/>
              <a:gd name="connsiteY5" fmla="*/ 1082386 h 5513991"/>
              <a:gd name="connsiteX6" fmla="*/ 4432208 w 4469746"/>
              <a:gd name="connsiteY6" fmla="*/ 1524330 h 5513991"/>
              <a:gd name="connsiteX7" fmla="*/ 4427327 w 4469746"/>
              <a:gd name="connsiteY7" fmla="*/ 1535289 h 5513991"/>
              <a:gd name="connsiteX8" fmla="*/ 4391089 w 4469746"/>
              <a:gd name="connsiteY8" fmla="*/ 1868666 h 5513991"/>
              <a:gd name="connsiteX9" fmla="*/ 4394860 w 4469746"/>
              <a:gd name="connsiteY9" fmla="*/ 2025379 h 5513991"/>
              <a:gd name="connsiteX10" fmla="*/ 4375445 w 4469746"/>
              <a:gd name="connsiteY10" fmla="*/ 2148592 h 5513991"/>
              <a:gd name="connsiteX11" fmla="*/ 4242847 w 4469746"/>
              <a:gd name="connsiteY11" fmla="*/ 5242987 h 5513991"/>
              <a:gd name="connsiteX12" fmla="*/ 4187554 w 4469746"/>
              <a:gd name="connsiteY12" fmla="*/ 5513970 h 5513991"/>
              <a:gd name="connsiteX13" fmla="*/ 298746 w 4469746"/>
              <a:gd name="connsiteY13" fmla="*/ 5249166 h 5513991"/>
              <a:gd name="connsiteX14" fmla="*/ 1462 w 4469746"/>
              <a:gd name="connsiteY14" fmla="*/ 5237777 h 5513991"/>
              <a:gd name="connsiteX15" fmla="*/ 7874 w 4469746"/>
              <a:gd name="connsiteY15" fmla="*/ 4977753 h 5513991"/>
              <a:gd name="connsiteX16" fmla="*/ 20715 w 4469746"/>
              <a:gd name="connsiteY16" fmla="*/ 4752822 h 5513991"/>
              <a:gd name="connsiteX17" fmla="*/ 222466 w 4469746"/>
              <a:gd name="connsiteY17" fmla="*/ 0 h 5513991"/>
              <a:gd name="connsiteX0" fmla="*/ 222466 w 4469746"/>
              <a:gd name="connsiteY0" fmla="*/ 0 h 5513991"/>
              <a:gd name="connsiteX1" fmla="*/ 4468078 w 4469746"/>
              <a:gd name="connsiteY1" fmla="*/ 269466 h 5513991"/>
              <a:gd name="connsiteX2" fmla="*/ 4466704 w 4469746"/>
              <a:gd name="connsiteY2" fmla="*/ 402762 h 5513991"/>
              <a:gd name="connsiteX3" fmla="*/ 4442606 w 4469746"/>
              <a:gd name="connsiteY3" fmla="*/ 946777 h 5513991"/>
              <a:gd name="connsiteX4" fmla="*/ 4444683 w 4469746"/>
              <a:gd name="connsiteY4" fmla="*/ 947677 h 5513991"/>
              <a:gd name="connsiteX5" fmla="*/ 4444004 w 4469746"/>
              <a:gd name="connsiteY5" fmla="*/ 1082386 h 5513991"/>
              <a:gd name="connsiteX6" fmla="*/ 4432208 w 4469746"/>
              <a:gd name="connsiteY6" fmla="*/ 1524330 h 5513991"/>
              <a:gd name="connsiteX7" fmla="*/ 4391089 w 4469746"/>
              <a:gd name="connsiteY7" fmla="*/ 1868666 h 5513991"/>
              <a:gd name="connsiteX8" fmla="*/ 4394860 w 4469746"/>
              <a:gd name="connsiteY8" fmla="*/ 2025379 h 5513991"/>
              <a:gd name="connsiteX9" fmla="*/ 4375445 w 4469746"/>
              <a:gd name="connsiteY9" fmla="*/ 2148592 h 5513991"/>
              <a:gd name="connsiteX10" fmla="*/ 4242847 w 4469746"/>
              <a:gd name="connsiteY10" fmla="*/ 5242987 h 5513991"/>
              <a:gd name="connsiteX11" fmla="*/ 4187554 w 4469746"/>
              <a:gd name="connsiteY11" fmla="*/ 5513970 h 5513991"/>
              <a:gd name="connsiteX12" fmla="*/ 298746 w 4469746"/>
              <a:gd name="connsiteY12" fmla="*/ 5249166 h 5513991"/>
              <a:gd name="connsiteX13" fmla="*/ 1462 w 4469746"/>
              <a:gd name="connsiteY13" fmla="*/ 5237777 h 5513991"/>
              <a:gd name="connsiteX14" fmla="*/ 7874 w 4469746"/>
              <a:gd name="connsiteY14" fmla="*/ 4977753 h 5513991"/>
              <a:gd name="connsiteX15" fmla="*/ 20715 w 4469746"/>
              <a:gd name="connsiteY15" fmla="*/ 4752822 h 5513991"/>
              <a:gd name="connsiteX16" fmla="*/ 222466 w 4469746"/>
              <a:gd name="connsiteY16" fmla="*/ 0 h 5513991"/>
              <a:gd name="connsiteX0" fmla="*/ 222466 w 4469746"/>
              <a:gd name="connsiteY0" fmla="*/ 0 h 5513991"/>
              <a:gd name="connsiteX1" fmla="*/ 4468078 w 4469746"/>
              <a:gd name="connsiteY1" fmla="*/ 269466 h 5513991"/>
              <a:gd name="connsiteX2" fmla="*/ 4466704 w 4469746"/>
              <a:gd name="connsiteY2" fmla="*/ 402762 h 5513991"/>
              <a:gd name="connsiteX3" fmla="*/ 4442606 w 4469746"/>
              <a:gd name="connsiteY3" fmla="*/ 946777 h 5513991"/>
              <a:gd name="connsiteX4" fmla="*/ 4444683 w 4469746"/>
              <a:gd name="connsiteY4" fmla="*/ 947677 h 5513991"/>
              <a:gd name="connsiteX5" fmla="*/ 4444004 w 4469746"/>
              <a:gd name="connsiteY5" fmla="*/ 1082386 h 5513991"/>
              <a:gd name="connsiteX6" fmla="*/ 4391089 w 4469746"/>
              <a:gd name="connsiteY6" fmla="*/ 1868666 h 5513991"/>
              <a:gd name="connsiteX7" fmla="*/ 4394860 w 4469746"/>
              <a:gd name="connsiteY7" fmla="*/ 2025379 h 5513991"/>
              <a:gd name="connsiteX8" fmla="*/ 4375445 w 4469746"/>
              <a:gd name="connsiteY8" fmla="*/ 2148592 h 5513991"/>
              <a:gd name="connsiteX9" fmla="*/ 4242847 w 4469746"/>
              <a:gd name="connsiteY9" fmla="*/ 5242987 h 5513991"/>
              <a:gd name="connsiteX10" fmla="*/ 4187554 w 4469746"/>
              <a:gd name="connsiteY10" fmla="*/ 5513970 h 5513991"/>
              <a:gd name="connsiteX11" fmla="*/ 298746 w 4469746"/>
              <a:gd name="connsiteY11" fmla="*/ 5249166 h 5513991"/>
              <a:gd name="connsiteX12" fmla="*/ 1462 w 4469746"/>
              <a:gd name="connsiteY12" fmla="*/ 5237777 h 5513991"/>
              <a:gd name="connsiteX13" fmla="*/ 7874 w 4469746"/>
              <a:gd name="connsiteY13" fmla="*/ 4977753 h 5513991"/>
              <a:gd name="connsiteX14" fmla="*/ 20715 w 4469746"/>
              <a:gd name="connsiteY14" fmla="*/ 4752822 h 5513991"/>
              <a:gd name="connsiteX15" fmla="*/ 222466 w 4469746"/>
              <a:gd name="connsiteY15" fmla="*/ 0 h 5513991"/>
              <a:gd name="connsiteX0" fmla="*/ 222466 w 4469746"/>
              <a:gd name="connsiteY0" fmla="*/ 0 h 5513991"/>
              <a:gd name="connsiteX1" fmla="*/ 4468078 w 4469746"/>
              <a:gd name="connsiteY1" fmla="*/ 269466 h 5513991"/>
              <a:gd name="connsiteX2" fmla="*/ 4466704 w 4469746"/>
              <a:gd name="connsiteY2" fmla="*/ 402762 h 5513991"/>
              <a:gd name="connsiteX3" fmla="*/ 4442606 w 4469746"/>
              <a:gd name="connsiteY3" fmla="*/ 946777 h 5513991"/>
              <a:gd name="connsiteX4" fmla="*/ 4444683 w 4469746"/>
              <a:gd name="connsiteY4" fmla="*/ 947677 h 5513991"/>
              <a:gd name="connsiteX5" fmla="*/ 4391089 w 4469746"/>
              <a:gd name="connsiteY5" fmla="*/ 1868666 h 5513991"/>
              <a:gd name="connsiteX6" fmla="*/ 4394860 w 4469746"/>
              <a:gd name="connsiteY6" fmla="*/ 2025379 h 5513991"/>
              <a:gd name="connsiteX7" fmla="*/ 4375445 w 4469746"/>
              <a:gd name="connsiteY7" fmla="*/ 2148592 h 5513991"/>
              <a:gd name="connsiteX8" fmla="*/ 4242847 w 4469746"/>
              <a:gd name="connsiteY8" fmla="*/ 5242987 h 5513991"/>
              <a:gd name="connsiteX9" fmla="*/ 4187554 w 4469746"/>
              <a:gd name="connsiteY9" fmla="*/ 5513970 h 5513991"/>
              <a:gd name="connsiteX10" fmla="*/ 298746 w 4469746"/>
              <a:gd name="connsiteY10" fmla="*/ 5249166 h 5513991"/>
              <a:gd name="connsiteX11" fmla="*/ 1462 w 4469746"/>
              <a:gd name="connsiteY11" fmla="*/ 5237777 h 5513991"/>
              <a:gd name="connsiteX12" fmla="*/ 7874 w 4469746"/>
              <a:gd name="connsiteY12" fmla="*/ 4977753 h 5513991"/>
              <a:gd name="connsiteX13" fmla="*/ 20715 w 4469746"/>
              <a:gd name="connsiteY13" fmla="*/ 4752822 h 5513991"/>
              <a:gd name="connsiteX14" fmla="*/ 222466 w 4469746"/>
              <a:gd name="connsiteY14" fmla="*/ 0 h 5513991"/>
              <a:gd name="connsiteX0" fmla="*/ 222466 w 4469746"/>
              <a:gd name="connsiteY0" fmla="*/ 0 h 5513991"/>
              <a:gd name="connsiteX1" fmla="*/ 4468078 w 4469746"/>
              <a:gd name="connsiteY1" fmla="*/ 269466 h 5513991"/>
              <a:gd name="connsiteX2" fmla="*/ 4466704 w 4469746"/>
              <a:gd name="connsiteY2" fmla="*/ 402762 h 5513991"/>
              <a:gd name="connsiteX3" fmla="*/ 4442606 w 4469746"/>
              <a:gd name="connsiteY3" fmla="*/ 946777 h 5513991"/>
              <a:gd name="connsiteX4" fmla="*/ 4444683 w 4469746"/>
              <a:gd name="connsiteY4" fmla="*/ 947677 h 5513991"/>
              <a:gd name="connsiteX5" fmla="*/ 4391089 w 4469746"/>
              <a:gd name="connsiteY5" fmla="*/ 1868666 h 5513991"/>
              <a:gd name="connsiteX6" fmla="*/ 4375445 w 4469746"/>
              <a:gd name="connsiteY6" fmla="*/ 2148592 h 5513991"/>
              <a:gd name="connsiteX7" fmla="*/ 4242847 w 4469746"/>
              <a:gd name="connsiteY7" fmla="*/ 5242987 h 5513991"/>
              <a:gd name="connsiteX8" fmla="*/ 4187554 w 4469746"/>
              <a:gd name="connsiteY8" fmla="*/ 5513970 h 5513991"/>
              <a:gd name="connsiteX9" fmla="*/ 298746 w 4469746"/>
              <a:gd name="connsiteY9" fmla="*/ 5249166 h 5513991"/>
              <a:gd name="connsiteX10" fmla="*/ 1462 w 4469746"/>
              <a:gd name="connsiteY10" fmla="*/ 5237777 h 5513991"/>
              <a:gd name="connsiteX11" fmla="*/ 7874 w 4469746"/>
              <a:gd name="connsiteY11" fmla="*/ 4977753 h 5513991"/>
              <a:gd name="connsiteX12" fmla="*/ 20715 w 4469746"/>
              <a:gd name="connsiteY12" fmla="*/ 4752822 h 5513991"/>
              <a:gd name="connsiteX13" fmla="*/ 222466 w 4469746"/>
              <a:gd name="connsiteY13" fmla="*/ 0 h 5513991"/>
              <a:gd name="connsiteX0" fmla="*/ 222466 w 4469746"/>
              <a:gd name="connsiteY0" fmla="*/ 0 h 5513991"/>
              <a:gd name="connsiteX1" fmla="*/ 4468078 w 4469746"/>
              <a:gd name="connsiteY1" fmla="*/ 269466 h 5513991"/>
              <a:gd name="connsiteX2" fmla="*/ 4466704 w 4469746"/>
              <a:gd name="connsiteY2" fmla="*/ 402762 h 5513991"/>
              <a:gd name="connsiteX3" fmla="*/ 4442606 w 4469746"/>
              <a:gd name="connsiteY3" fmla="*/ 946777 h 5513991"/>
              <a:gd name="connsiteX4" fmla="*/ 4444683 w 4469746"/>
              <a:gd name="connsiteY4" fmla="*/ 947677 h 5513991"/>
              <a:gd name="connsiteX5" fmla="*/ 4375445 w 4469746"/>
              <a:gd name="connsiteY5" fmla="*/ 2148592 h 5513991"/>
              <a:gd name="connsiteX6" fmla="*/ 4242847 w 4469746"/>
              <a:gd name="connsiteY6" fmla="*/ 5242987 h 5513991"/>
              <a:gd name="connsiteX7" fmla="*/ 4187554 w 4469746"/>
              <a:gd name="connsiteY7" fmla="*/ 5513970 h 5513991"/>
              <a:gd name="connsiteX8" fmla="*/ 298746 w 4469746"/>
              <a:gd name="connsiteY8" fmla="*/ 5249166 h 5513991"/>
              <a:gd name="connsiteX9" fmla="*/ 1462 w 4469746"/>
              <a:gd name="connsiteY9" fmla="*/ 5237777 h 5513991"/>
              <a:gd name="connsiteX10" fmla="*/ 7874 w 4469746"/>
              <a:gd name="connsiteY10" fmla="*/ 4977753 h 5513991"/>
              <a:gd name="connsiteX11" fmla="*/ 20715 w 4469746"/>
              <a:gd name="connsiteY11" fmla="*/ 4752822 h 5513991"/>
              <a:gd name="connsiteX12" fmla="*/ 222466 w 4469746"/>
              <a:gd name="connsiteY12" fmla="*/ 0 h 5513991"/>
              <a:gd name="connsiteX0" fmla="*/ 222466 w 4469746"/>
              <a:gd name="connsiteY0" fmla="*/ 0 h 5513991"/>
              <a:gd name="connsiteX1" fmla="*/ 4468078 w 4469746"/>
              <a:gd name="connsiteY1" fmla="*/ 269466 h 5513991"/>
              <a:gd name="connsiteX2" fmla="*/ 4466704 w 4469746"/>
              <a:gd name="connsiteY2" fmla="*/ 402762 h 5513991"/>
              <a:gd name="connsiteX3" fmla="*/ 4442606 w 4469746"/>
              <a:gd name="connsiteY3" fmla="*/ 946777 h 5513991"/>
              <a:gd name="connsiteX4" fmla="*/ 4444683 w 4469746"/>
              <a:gd name="connsiteY4" fmla="*/ 947677 h 5513991"/>
              <a:gd name="connsiteX5" fmla="*/ 4242847 w 4469746"/>
              <a:gd name="connsiteY5" fmla="*/ 5242987 h 5513991"/>
              <a:gd name="connsiteX6" fmla="*/ 4187554 w 4469746"/>
              <a:gd name="connsiteY6" fmla="*/ 5513970 h 5513991"/>
              <a:gd name="connsiteX7" fmla="*/ 298746 w 4469746"/>
              <a:gd name="connsiteY7" fmla="*/ 5249166 h 5513991"/>
              <a:gd name="connsiteX8" fmla="*/ 1462 w 4469746"/>
              <a:gd name="connsiteY8" fmla="*/ 5237777 h 5513991"/>
              <a:gd name="connsiteX9" fmla="*/ 7874 w 4469746"/>
              <a:gd name="connsiteY9" fmla="*/ 4977753 h 5513991"/>
              <a:gd name="connsiteX10" fmla="*/ 20715 w 4469746"/>
              <a:gd name="connsiteY10" fmla="*/ 4752822 h 5513991"/>
              <a:gd name="connsiteX11" fmla="*/ 222466 w 4469746"/>
              <a:gd name="connsiteY11" fmla="*/ 0 h 5513991"/>
              <a:gd name="connsiteX0" fmla="*/ 222466 w 4469746"/>
              <a:gd name="connsiteY0" fmla="*/ 0 h 5513991"/>
              <a:gd name="connsiteX1" fmla="*/ 4468078 w 4469746"/>
              <a:gd name="connsiteY1" fmla="*/ 269466 h 5513991"/>
              <a:gd name="connsiteX2" fmla="*/ 4466704 w 4469746"/>
              <a:gd name="connsiteY2" fmla="*/ 402762 h 5513991"/>
              <a:gd name="connsiteX3" fmla="*/ 4442606 w 4469746"/>
              <a:gd name="connsiteY3" fmla="*/ 946777 h 5513991"/>
              <a:gd name="connsiteX4" fmla="*/ 4242847 w 4469746"/>
              <a:gd name="connsiteY4" fmla="*/ 5242987 h 5513991"/>
              <a:gd name="connsiteX5" fmla="*/ 4187554 w 4469746"/>
              <a:gd name="connsiteY5" fmla="*/ 5513970 h 5513991"/>
              <a:gd name="connsiteX6" fmla="*/ 298746 w 4469746"/>
              <a:gd name="connsiteY6" fmla="*/ 5249166 h 5513991"/>
              <a:gd name="connsiteX7" fmla="*/ 1462 w 4469746"/>
              <a:gd name="connsiteY7" fmla="*/ 5237777 h 5513991"/>
              <a:gd name="connsiteX8" fmla="*/ 7874 w 4469746"/>
              <a:gd name="connsiteY8" fmla="*/ 4977753 h 5513991"/>
              <a:gd name="connsiteX9" fmla="*/ 20715 w 4469746"/>
              <a:gd name="connsiteY9" fmla="*/ 4752822 h 5513991"/>
              <a:gd name="connsiteX10" fmla="*/ 222466 w 4469746"/>
              <a:gd name="connsiteY10" fmla="*/ 0 h 5513991"/>
              <a:gd name="connsiteX0" fmla="*/ 222466 w 4469746"/>
              <a:gd name="connsiteY0" fmla="*/ 0 h 5513991"/>
              <a:gd name="connsiteX1" fmla="*/ 4468078 w 4469746"/>
              <a:gd name="connsiteY1" fmla="*/ 269466 h 5513991"/>
              <a:gd name="connsiteX2" fmla="*/ 4466704 w 4469746"/>
              <a:gd name="connsiteY2" fmla="*/ 402762 h 5513991"/>
              <a:gd name="connsiteX3" fmla="*/ 4242847 w 4469746"/>
              <a:gd name="connsiteY3" fmla="*/ 5242987 h 5513991"/>
              <a:gd name="connsiteX4" fmla="*/ 4187554 w 4469746"/>
              <a:gd name="connsiteY4" fmla="*/ 5513970 h 5513991"/>
              <a:gd name="connsiteX5" fmla="*/ 298746 w 4469746"/>
              <a:gd name="connsiteY5" fmla="*/ 5249166 h 5513991"/>
              <a:gd name="connsiteX6" fmla="*/ 1462 w 4469746"/>
              <a:gd name="connsiteY6" fmla="*/ 5237777 h 5513991"/>
              <a:gd name="connsiteX7" fmla="*/ 7874 w 4469746"/>
              <a:gd name="connsiteY7" fmla="*/ 4977753 h 5513991"/>
              <a:gd name="connsiteX8" fmla="*/ 20715 w 4469746"/>
              <a:gd name="connsiteY8" fmla="*/ 4752822 h 5513991"/>
              <a:gd name="connsiteX9" fmla="*/ 222466 w 4469746"/>
              <a:gd name="connsiteY9" fmla="*/ 0 h 551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9746" h="5513991">
                <a:moveTo>
                  <a:pt x="222466" y="0"/>
                </a:moveTo>
                <a:lnTo>
                  <a:pt x="4468078" y="269466"/>
                </a:lnTo>
                <a:cubicBezTo>
                  <a:pt x="4471943" y="293548"/>
                  <a:pt x="4468067" y="378377"/>
                  <a:pt x="4466704" y="402762"/>
                </a:cubicBezTo>
                <a:lnTo>
                  <a:pt x="4242847" y="5242987"/>
                </a:lnTo>
                <a:cubicBezTo>
                  <a:pt x="4238512" y="5273418"/>
                  <a:pt x="4254658" y="5505233"/>
                  <a:pt x="4187554" y="5513970"/>
                </a:cubicBezTo>
                <a:cubicBezTo>
                  <a:pt x="4080966" y="5516261"/>
                  <a:pt x="1706169" y="5336201"/>
                  <a:pt x="298746" y="5249166"/>
                </a:cubicBezTo>
                <a:lnTo>
                  <a:pt x="1462" y="5237777"/>
                </a:lnTo>
                <a:cubicBezTo>
                  <a:pt x="3599" y="5151102"/>
                  <a:pt x="-6470" y="5143987"/>
                  <a:pt x="7874" y="4977753"/>
                </a:cubicBezTo>
                <a:cubicBezTo>
                  <a:pt x="8404" y="4976651"/>
                  <a:pt x="20624" y="4753737"/>
                  <a:pt x="20715" y="4752822"/>
                </a:cubicBezTo>
                <a:lnTo>
                  <a:pt x="222466"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nsolas"/>
              <a:ea typeface="+mn-ea"/>
              <a:cs typeface="+mn-cs"/>
            </a:endParaRPr>
          </a:p>
        </p:txBody>
      </p:sp>
      <p:pic>
        <p:nvPicPr>
          <p:cNvPr id="8" name="Picture 7">
            <a:extLst>
              <a:ext uri="{FF2B5EF4-FFF2-40B4-BE49-F238E27FC236}">
                <a16:creationId xmlns:a16="http://schemas.microsoft.com/office/drawing/2014/main" id="{B5531C26-888A-308C-A410-21C0A4747CC3}"/>
              </a:ext>
            </a:extLst>
          </p:cNvPr>
          <p:cNvPicPr>
            <a:picLocks noChangeAspect="1"/>
          </p:cNvPicPr>
          <p:nvPr/>
        </p:nvPicPr>
        <p:blipFill>
          <a:blip r:embed="rId3"/>
          <a:stretch>
            <a:fillRect/>
          </a:stretch>
        </p:blipFill>
        <p:spPr>
          <a:xfrm rot="21493651">
            <a:off x="6336541" y="338447"/>
            <a:ext cx="4062120" cy="4231375"/>
          </a:xfrm>
          <a:prstGeom prst="rect">
            <a:avLst/>
          </a:prstGeom>
        </p:spPr>
      </p:pic>
      <p:grpSp>
        <p:nvGrpSpPr>
          <p:cNvPr id="9" name="Group 8">
            <a:extLst>
              <a:ext uri="{FF2B5EF4-FFF2-40B4-BE49-F238E27FC236}">
                <a16:creationId xmlns:a16="http://schemas.microsoft.com/office/drawing/2014/main" id="{D43B61E0-DA1A-9CFF-9AAD-1E6CF446A253}"/>
              </a:ext>
            </a:extLst>
          </p:cNvPr>
          <p:cNvGrpSpPr/>
          <p:nvPr/>
        </p:nvGrpSpPr>
        <p:grpSpPr>
          <a:xfrm>
            <a:off x="9288020" y="2902997"/>
            <a:ext cx="3030245" cy="4026023"/>
            <a:chOff x="12843095" y="658761"/>
            <a:chExt cx="3036002" cy="5584723"/>
          </a:xfrm>
        </p:grpSpPr>
        <p:pic>
          <p:nvPicPr>
            <p:cNvPr id="11" name="Picture 2" descr="Cartoon students Royalty Free Vector Image - VectorStock">
              <a:extLst>
                <a:ext uri="{FF2B5EF4-FFF2-40B4-BE49-F238E27FC236}">
                  <a16:creationId xmlns:a16="http://schemas.microsoft.com/office/drawing/2014/main" id="{02F80791-95A2-07E9-F7DF-B55059A960AB}"/>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ackgroundRemoval t="7500" b="83426" l="50700" r="96400">
                          <a14:foregroundMark x1="64400" y1="30000" x2="67200" y2="33981"/>
                          <a14:foregroundMark x1="54900" y1="43796" x2="54900" y2="43796"/>
                          <a14:foregroundMark x1="68100" y1="37407" x2="69600" y2="40463"/>
                        </a14:backgroundRemoval>
                      </a14:imgEffect>
                    </a14:imgLayer>
                  </a14:imgProps>
                </a:ext>
                <a:ext uri="{28A0092B-C50C-407E-A947-70E740481C1C}">
                  <a14:useLocalDpi xmlns:a14="http://schemas.microsoft.com/office/drawing/2010/main" val="0"/>
                </a:ext>
              </a:extLst>
            </a:blip>
            <a:srcRect l="50000" t="3901" r="2189" b="14665"/>
            <a:stretch/>
          </p:blipFill>
          <p:spPr bwMode="auto">
            <a:xfrm>
              <a:off x="12843095" y="658761"/>
              <a:ext cx="3036002" cy="558472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artoon students Royalty Free Vector Image - VectorStock">
              <a:extLst>
                <a:ext uri="{FF2B5EF4-FFF2-40B4-BE49-F238E27FC236}">
                  <a16:creationId xmlns:a16="http://schemas.microsoft.com/office/drawing/2014/main" id="{E869F2A7-5A47-6386-A368-2A558134989E}"/>
                </a:ext>
              </a:extLst>
            </p:cNvPr>
            <p:cNvPicPr>
              <a:picLocks noChangeAspect="1" noChangeArrowheads="1"/>
            </p:cNvPicPr>
            <p:nvPr/>
          </p:nvPicPr>
          <p:blipFill rotWithShape="1">
            <a:blip r:embed="rId6">
              <a:extLst>
                <a:ext uri="{BEBA8EAE-BF5A-486C-A8C5-ECC9F3942E4B}">
                  <a14:imgProps xmlns:a14="http://schemas.microsoft.com/office/drawing/2010/main">
                    <a14:imgLayer r:embed="rId5">
                      <a14:imgEffect>
                        <a14:backgroundRemoval t="28457" b="33434" l="61993" r="66965"/>
                      </a14:imgEffect>
                    </a14:imgLayer>
                  </a14:imgProps>
                </a:ext>
                <a:ext uri="{28A0092B-C50C-407E-A947-70E740481C1C}">
                  <a14:useLocalDpi xmlns:a14="http://schemas.microsoft.com/office/drawing/2010/main" val="0"/>
                </a:ext>
              </a:extLst>
            </a:blip>
            <a:srcRect l="61371" t="27835" r="32414" b="65944"/>
            <a:stretch/>
          </p:blipFill>
          <p:spPr bwMode="auto">
            <a:xfrm flipH="1">
              <a:off x="14311255" y="2498177"/>
              <a:ext cx="394637" cy="42666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thiếu niên tiền phong quàng khăn đỏ minh họa">
              <a:extLst>
                <a:ext uri="{FF2B5EF4-FFF2-40B4-BE49-F238E27FC236}">
                  <a16:creationId xmlns:a16="http://schemas.microsoft.com/office/drawing/2014/main" id="{6A3286F0-6D67-0C73-F96A-679A89A248BC}"/>
                </a:ext>
              </a:extLst>
            </p:cNvPr>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ackgroundRemoval t="23457" b="41311" l="42857" r="61286"/>
                      </a14:imgEffect>
                    </a14:imgLayer>
                  </a14:imgProps>
                </a:ext>
                <a:ext uri="{28A0092B-C50C-407E-A947-70E740481C1C}">
                  <a14:useLocalDpi xmlns:a14="http://schemas.microsoft.com/office/drawing/2010/main" val="0"/>
                </a:ext>
              </a:extLst>
            </a:blip>
            <a:srcRect l="40608" t="21674" r="36413" b="59764"/>
            <a:stretch/>
          </p:blipFill>
          <p:spPr bwMode="auto">
            <a:xfrm flipH="1">
              <a:off x="13853347" y="3659766"/>
              <a:ext cx="598231" cy="726860"/>
            </a:xfrm>
            <a:prstGeom prst="rect">
              <a:avLst/>
            </a:prstGeom>
            <a:noFill/>
            <a:extLst>
              <a:ext uri="{909E8E84-426E-40DD-AFC4-6F175D3DCCD1}">
                <a14:hiddenFill xmlns:a14="http://schemas.microsoft.com/office/drawing/2010/main">
                  <a:solidFill>
                    <a:srgbClr val="FFFFFF"/>
                  </a:solidFill>
                </a14:hiddenFill>
              </a:ext>
            </a:extLst>
          </p:spPr>
        </p:pic>
      </p:grpSp>
      <p:pic>
        <p:nvPicPr>
          <p:cNvPr id="34" name="Picture 33">
            <a:extLst>
              <a:ext uri="{FF2B5EF4-FFF2-40B4-BE49-F238E27FC236}">
                <a16:creationId xmlns:a16="http://schemas.microsoft.com/office/drawing/2014/main" id="{A0F7FEB1-9772-230E-59E4-51699BF15F62}"/>
              </a:ext>
            </a:extLst>
          </p:cNvPr>
          <p:cNvPicPr>
            <a:picLocks noChangeAspect="1"/>
          </p:cNvPicPr>
          <p:nvPr/>
        </p:nvPicPr>
        <p:blipFill>
          <a:blip r:embed="rId3">
            <a:alphaModFix amt="5000"/>
          </a:blip>
          <a:stretch>
            <a:fillRect/>
          </a:stretch>
        </p:blipFill>
        <p:spPr>
          <a:xfrm rot="21493651">
            <a:off x="618744" y="726182"/>
            <a:ext cx="5210602" cy="5427711"/>
          </a:xfrm>
          <a:prstGeom prst="rect">
            <a:avLst/>
          </a:prstGeom>
        </p:spPr>
      </p:pic>
      <p:sp>
        <p:nvSpPr>
          <p:cNvPr id="16" name="TextBox 15">
            <a:extLst>
              <a:ext uri="{FF2B5EF4-FFF2-40B4-BE49-F238E27FC236}">
                <a16:creationId xmlns:a16="http://schemas.microsoft.com/office/drawing/2014/main" id="{768E4A59-B5A5-8FCE-7EE9-AD0A058A8858}"/>
              </a:ext>
            </a:extLst>
          </p:cNvPr>
          <p:cNvSpPr txBox="1"/>
          <p:nvPr/>
        </p:nvSpPr>
        <p:spPr>
          <a:xfrm rot="21331456">
            <a:off x="1424384" y="1950854"/>
            <a:ext cx="4024478" cy="280076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0" i="0" u="none" strike="noStrike" kern="1200" cap="none" spc="0" normalizeH="0" baseline="0" noProof="0" dirty="0" err="1">
                <a:ln>
                  <a:noFill/>
                </a:ln>
                <a:solidFill>
                  <a:srgbClr val="FF0000"/>
                </a:solidFill>
                <a:effectLst/>
                <a:uLnTx/>
                <a:uFillTx/>
                <a:latin typeface="Sigmar One" panose="00000500000000000000" pitchFamily="2" charset="0"/>
                <a:ea typeface="+mn-ea"/>
                <a:cs typeface="+mn-cs"/>
              </a:rPr>
              <a:t>Khởi</a:t>
            </a:r>
            <a:r>
              <a:rPr kumimoji="0" lang="en-US" sz="8800" b="0" i="0" u="none" strike="noStrike" kern="1200" cap="none" spc="0" normalizeH="0" baseline="0" noProof="0" dirty="0">
                <a:ln>
                  <a:noFill/>
                </a:ln>
                <a:solidFill>
                  <a:srgbClr val="FF0000"/>
                </a:solidFill>
                <a:effectLst/>
                <a:uLnTx/>
                <a:uFillTx/>
                <a:latin typeface="Sigmar One" panose="00000500000000000000" pitchFamily="2" charset="0"/>
                <a:ea typeface="+mn-ea"/>
                <a:cs typeface="+mn-cs"/>
              </a:rPr>
              <a:t> </a:t>
            </a:r>
            <a:r>
              <a:rPr kumimoji="0" lang="en-US" sz="8800" b="0" i="0" u="none" strike="noStrike" kern="1200" cap="none" spc="0" normalizeH="0" baseline="0" noProof="0" dirty="0" err="1">
                <a:ln>
                  <a:noFill/>
                </a:ln>
                <a:solidFill>
                  <a:srgbClr val="FF0000"/>
                </a:solidFill>
                <a:effectLst/>
                <a:uLnTx/>
                <a:uFillTx/>
                <a:latin typeface="Sigmar One" panose="00000500000000000000" pitchFamily="2" charset="0"/>
                <a:ea typeface="+mn-ea"/>
                <a:cs typeface="+mn-cs"/>
              </a:rPr>
              <a:t>động</a:t>
            </a:r>
            <a:endParaRPr kumimoji="0" lang="en-US" sz="8800" b="0" i="0" u="none" strike="noStrike" kern="1200" cap="none" spc="0" normalizeH="0" baseline="0" noProof="0" dirty="0">
              <a:ln>
                <a:noFill/>
              </a:ln>
              <a:solidFill>
                <a:srgbClr val="FF0000"/>
              </a:solidFill>
              <a:effectLst/>
              <a:uLnTx/>
              <a:uFillTx/>
              <a:latin typeface="Sigmar One" panose="00000500000000000000" pitchFamily="2" charset="0"/>
              <a:ea typeface="+mn-ea"/>
              <a:cs typeface="+mn-cs"/>
            </a:endParaRPr>
          </a:p>
        </p:txBody>
      </p:sp>
    </p:spTree>
    <p:extLst>
      <p:ext uri="{BB962C8B-B14F-4D97-AF65-F5344CB8AC3E}">
        <p14:creationId xmlns:p14="http://schemas.microsoft.com/office/powerpoint/2010/main" val="169077908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hape 233">
            <a:extLst>
              <a:ext uri="{FF2B5EF4-FFF2-40B4-BE49-F238E27FC236}">
                <a16:creationId xmlns:a16="http://schemas.microsoft.com/office/drawing/2014/main" id="{96A6A3BD-B372-97FE-39BC-F0E5BDE1F76A}"/>
              </a:ext>
            </a:extLst>
          </p:cNvPr>
          <p:cNvSpPr/>
          <p:nvPr/>
        </p:nvSpPr>
        <p:spPr>
          <a:xfrm>
            <a:off x="430689" y="313322"/>
            <a:ext cx="6390021" cy="521938"/>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nSpc>
                <a:spcPct val="150000"/>
              </a:lnSpc>
              <a:defRPr sz="2600" cap="none">
                <a:solidFill>
                  <a:srgbClr val="717172"/>
                </a:solidFill>
                <a:latin typeface="Lato Regular"/>
                <a:ea typeface="Lato Regular"/>
                <a:cs typeface="Lato Regular"/>
                <a:sym typeface="Lato Regular"/>
              </a:defRPr>
            </a:pPr>
            <a:r>
              <a:rPr lang="en-US" sz="2400" b="1" dirty="0" err="1">
                <a:solidFill>
                  <a:srgbClr val="FF0000"/>
                </a:solidFill>
                <a:latin typeface="UTM Guanine" pitchFamily="18" charset="0"/>
                <a:ea typeface="字魂17号-萌趣果冻体" panose="02000000000000000000" pitchFamily="2" charset="-122"/>
                <a:sym typeface="Lato Regular"/>
              </a:rPr>
              <a:t>Bài</a:t>
            </a:r>
            <a:r>
              <a:rPr lang="en-US" sz="2400" b="1" dirty="0">
                <a:solidFill>
                  <a:srgbClr val="FF0000"/>
                </a:solidFill>
                <a:latin typeface="UTM Guanine" pitchFamily="18" charset="0"/>
                <a:ea typeface="字魂17号-萌趣果冻体" panose="02000000000000000000" pitchFamily="2" charset="-122"/>
                <a:sym typeface="Lato Regular"/>
              </a:rPr>
              <a:t> 3: </a:t>
            </a:r>
            <a:r>
              <a:rPr lang="en-US" sz="2400" b="1" dirty="0" err="1">
                <a:solidFill>
                  <a:srgbClr val="FF0000"/>
                </a:solidFill>
                <a:latin typeface="UTM Guanine" pitchFamily="18" charset="0"/>
                <a:ea typeface="字魂17号-萌趣果冻体" panose="02000000000000000000" pitchFamily="2" charset="-122"/>
                <a:sym typeface="Lato Regular"/>
              </a:rPr>
              <a:t>Tính</a:t>
            </a:r>
            <a:r>
              <a:rPr lang="en-US" sz="2400" b="1" dirty="0">
                <a:solidFill>
                  <a:srgbClr val="FF0000"/>
                </a:solidFill>
                <a:latin typeface="UTM Guanine" pitchFamily="18" charset="0"/>
                <a:ea typeface="字魂17号-萌趣果冻体" panose="02000000000000000000" pitchFamily="2" charset="-122"/>
                <a:sym typeface="Lato Regular"/>
              </a:rPr>
              <a:t> </a:t>
            </a:r>
            <a:r>
              <a:rPr lang="en-US" sz="2400" b="1" dirty="0" err="1">
                <a:solidFill>
                  <a:srgbClr val="FF0000"/>
                </a:solidFill>
                <a:latin typeface="UTM Guanine" pitchFamily="18" charset="0"/>
                <a:ea typeface="字魂17号-萌趣果冻体" panose="02000000000000000000" pitchFamily="2" charset="-122"/>
                <a:sym typeface="Lato Regular"/>
              </a:rPr>
              <a:t>bằng</a:t>
            </a:r>
            <a:r>
              <a:rPr lang="en-US" sz="2400" b="1" dirty="0">
                <a:solidFill>
                  <a:srgbClr val="FF0000"/>
                </a:solidFill>
                <a:latin typeface="UTM Guanine" pitchFamily="18" charset="0"/>
                <a:ea typeface="字魂17号-萌趣果冻体" panose="02000000000000000000" pitchFamily="2" charset="-122"/>
                <a:sym typeface="Lato Regular"/>
              </a:rPr>
              <a:t> </a:t>
            </a:r>
            <a:r>
              <a:rPr lang="en-US" sz="2400" b="1" dirty="0" err="1">
                <a:solidFill>
                  <a:srgbClr val="FF0000"/>
                </a:solidFill>
                <a:latin typeface="UTM Guanine" pitchFamily="18" charset="0"/>
                <a:ea typeface="字魂17号-萌趣果冻体" panose="02000000000000000000" pitchFamily="2" charset="-122"/>
                <a:sym typeface="Lato Regular"/>
              </a:rPr>
              <a:t>cách</a:t>
            </a:r>
            <a:r>
              <a:rPr lang="en-US" sz="2400" b="1" dirty="0">
                <a:solidFill>
                  <a:srgbClr val="FF0000"/>
                </a:solidFill>
                <a:latin typeface="UTM Guanine" pitchFamily="18" charset="0"/>
                <a:ea typeface="字魂17号-萌趣果冻体" panose="02000000000000000000" pitchFamily="2" charset="-122"/>
                <a:sym typeface="Lato Regular"/>
              </a:rPr>
              <a:t> </a:t>
            </a:r>
            <a:r>
              <a:rPr lang="en-US" sz="2400" b="1" dirty="0" err="1">
                <a:solidFill>
                  <a:srgbClr val="FF0000"/>
                </a:solidFill>
                <a:latin typeface="UTM Guanine" pitchFamily="18" charset="0"/>
                <a:ea typeface="字魂17号-萌趣果冻体" panose="02000000000000000000" pitchFamily="2" charset="-122"/>
                <a:sym typeface="Lato Regular"/>
              </a:rPr>
              <a:t>thuận</a:t>
            </a:r>
            <a:r>
              <a:rPr lang="en-US" sz="2400" b="1" dirty="0">
                <a:solidFill>
                  <a:srgbClr val="FF0000"/>
                </a:solidFill>
                <a:latin typeface="UTM Guanine" pitchFamily="18" charset="0"/>
                <a:ea typeface="字魂17号-萌趣果冻体" panose="02000000000000000000" pitchFamily="2" charset="-122"/>
                <a:sym typeface="Lato Regular"/>
              </a:rPr>
              <a:t> </a:t>
            </a:r>
            <a:r>
              <a:rPr lang="en-US" sz="2400" b="1" dirty="0" err="1">
                <a:solidFill>
                  <a:srgbClr val="FF0000"/>
                </a:solidFill>
                <a:latin typeface="UTM Guanine" pitchFamily="18" charset="0"/>
                <a:ea typeface="字魂17号-萌趣果冻体" panose="02000000000000000000" pitchFamily="2" charset="-122"/>
                <a:sym typeface="Lato Regular"/>
              </a:rPr>
              <a:t>tiện</a:t>
            </a:r>
            <a:r>
              <a:rPr lang="en-US" sz="2400" b="1" dirty="0">
                <a:solidFill>
                  <a:srgbClr val="FF0000"/>
                </a:solidFill>
                <a:latin typeface="UTM Guanine" pitchFamily="18" charset="0"/>
                <a:ea typeface="字魂17号-萌趣果冻体" panose="02000000000000000000" pitchFamily="2" charset="-122"/>
                <a:sym typeface="Lato Regular"/>
              </a:rPr>
              <a:t> </a:t>
            </a:r>
            <a:r>
              <a:rPr lang="en-US" sz="2400" b="1" dirty="0" err="1">
                <a:solidFill>
                  <a:srgbClr val="FF0000"/>
                </a:solidFill>
                <a:latin typeface="UTM Guanine" pitchFamily="18" charset="0"/>
                <a:ea typeface="字魂17号-萌趣果冻体" panose="02000000000000000000" pitchFamily="2" charset="-122"/>
                <a:sym typeface="Lato Regular"/>
              </a:rPr>
              <a:t>nhất</a:t>
            </a:r>
            <a:r>
              <a:rPr lang="en-US" sz="2400" b="1" dirty="0">
                <a:solidFill>
                  <a:srgbClr val="FF0000"/>
                </a:solidFill>
                <a:latin typeface="UTM Guanine" pitchFamily="18" charset="0"/>
                <a:ea typeface="字魂17号-萌趣果冻体" panose="02000000000000000000" pitchFamily="2" charset="-122"/>
                <a:sym typeface="Lato Regular"/>
              </a:rPr>
              <a:t>:</a:t>
            </a:r>
            <a:endParaRPr sz="2400" b="1" dirty="0">
              <a:solidFill>
                <a:srgbClr val="FF0000"/>
              </a:solidFill>
              <a:latin typeface="UTM Guanine" pitchFamily="18" charset="0"/>
              <a:ea typeface="字魂17号-萌趣果冻体" panose="02000000000000000000" pitchFamily="2" charset="-122"/>
              <a:sym typeface="Lato Regular"/>
            </a:endParaRPr>
          </a:p>
        </p:txBody>
      </p:sp>
      <p:sp>
        <p:nvSpPr>
          <p:cNvPr id="3" name="Shape 233">
            <a:extLst>
              <a:ext uri="{FF2B5EF4-FFF2-40B4-BE49-F238E27FC236}">
                <a16:creationId xmlns:a16="http://schemas.microsoft.com/office/drawing/2014/main" id="{ED7A4E43-C840-2CEE-F0A8-747B0B1C56BE}"/>
              </a:ext>
            </a:extLst>
          </p:cNvPr>
          <p:cNvSpPr/>
          <p:nvPr/>
        </p:nvSpPr>
        <p:spPr>
          <a:xfrm>
            <a:off x="5265084" y="2649760"/>
            <a:ext cx="983399" cy="599716"/>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nSpc>
                <a:spcPct val="150000"/>
              </a:lnSpc>
              <a:defRPr sz="2600" cap="none">
                <a:solidFill>
                  <a:srgbClr val="717172"/>
                </a:solidFill>
                <a:latin typeface="Lato Regular"/>
                <a:ea typeface="Lato Regular"/>
                <a:cs typeface="Lato Regular"/>
                <a:sym typeface="Lato Regular"/>
              </a:defRPr>
            </a:pPr>
            <a:endParaRPr lang="en-US" sz="2800" b="1" dirty="0">
              <a:latin typeface="UTM Neo Sans Intel" pitchFamily="18" charset="0"/>
              <a:ea typeface="字魂17号-萌趣果冻体" panose="02000000000000000000" pitchFamily="2" charset="-122"/>
              <a:sym typeface="Lato Regular"/>
            </a:endParaRPr>
          </a:p>
        </p:txBody>
      </p:sp>
      <p:sp>
        <p:nvSpPr>
          <p:cNvPr id="5" name="TextBox 4">
            <a:extLst>
              <a:ext uri="{FF2B5EF4-FFF2-40B4-BE49-F238E27FC236}">
                <a16:creationId xmlns:a16="http://schemas.microsoft.com/office/drawing/2014/main" id="{0F78311C-148F-5946-42EA-A4D9A7851773}"/>
              </a:ext>
            </a:extLst>
          </p:cNvPr>
          <p:cNvSpPr txBox="1"/>
          <p:nvPr/>
        </p:nvSpPr>
        <p:spPr>
          <a:xfrm>
            <a:off x="840831" y="1521911"/>
            <a:ext cx="3946914" cy="523220"/>
          </a:xfrm>
          <a:prstGeom prst="rect">
            <a:avLst/>
          </a:prstGeom>
          <a:noFill/>
        </p:spPr>
        <p:txBody>
          <a:bodyPr wrap="none" rtlCol="0">
            <a:spAutoFit/>
          </a:bodyPr>
          <a:lstStyle/>
          <a:p>
            <a:r>
              <a:rPr lang="en-US" sz="2800" b="1" dirty="0">
                <a:latin typeface="UTM Neo Sans Intel" pitchFamily="18" charset="0"/>
              </a:rPr>
              <a:t>a) 12,45 + 6,98 + 7,55</a:t>
            </a:r>
          </a:p>
        </p:txBody>
      </p:sp>
      <p:sp>
        <p:nvSpPr>
          <p:cNvPr id="6" name="TextBox 5">
            <a:extLst>
              <a:ext uri="{FF2B5EF4-FFF2-40B4-BE49-F238E27FC236}">
                <a16:creationId xmlns:a16="http://schemas.microsoft.com/office/drawing/2014/main" id="{9F0832D9-2FBB-3364-CFC0-4E2FB35A790A}"/>
              </a:ext>
            </a:extLst>
          </p:cNvPr>
          <p:cNvSpPr txBox="1"/>
          <p:nvPr/>
        </p:nvSpPr>
        <p:spPr>
          <a:xfrm>
            <a:off x="840831" y="2098821"/>
            <a:ext cx="1796902" cy="523220"/>
          </a:xfrm>
          <a:prstGeom prst="rect">
            <a:avLst/>
          </a:prstGeom>
          <a:noFill/>
        </p:spPr>
        <p:txBody>
          <a:bodyPr wrap="square" rtlCol="0">
            <a:spAutoFit/>
          </a:bodyPr>
          <a:lstStyle/>
          <a:p>
            <a:r>
              <a:rPr lang="en-US" sz="2800" b="1" dirty="0">
                <a:latin typeface="UTM Neo Sans Intel" pitchFamily="18" charset="0"/>
              </a:rPr>
              <a:t>= 12,45 + </a:t>
            </a:r>
          </a:p>
        </p:txBody>
      </p:sp>
      <p:sp>
        <p:nvSpPr>
          <p:cNvPr id="7" name="Rectangle 6">
            <a:extLst>
              <a:ext uri="{FF2B5EF4-FFF2-40B4-BE49-F238E27FC236}">
                <a16:creationId xmlns:a16="http://schemas.microsoft.com/office/drawing/2014/main" id="{D7090518-C1F3-C68E-C777-D5DE0CF76158}"/>
              </a:ext>
            </a:extLst>
          </p:cNvPr>
          <p:cNvSpPr/>
          <p:nvPr/>
        </p:nvSpPr>
        <p:spPr>
          <a:xfrm>
            <a:off x="2637733" y="2101288"/>
            <a:ext cx="1245854" cy="523220"/>
          </a:xfrm>
          <a:prstGeom prst="rect">
            <a:avLst/>
          </a:prstGeom>
        </p:spPr>
        <p:txBody>
          <a:bodyPr wrap="none">
            <a:spAutoFit/>
          </a:bodyPr>
          <a:lstStyle/>
          <a:p>
            <a:r>
              <a:rPr lang="en-US" sz="2800" b="1" dirty="0">
                <a:latin typeface="UTM Neo Sans Intel" pitchFamily="18" charset="0"/>
              </a:rPr>
              <a:t>7,55 +</a:t>
            </a:r>
          </a:p>
        </p:txBody>
      </p:sp>
      <p:sp>
        <p:nvSpPr>
          <p:cNvPr id="8" name="Rectangle 7">
            <a:extLst>
              <a:ext uri="{FF2B5EF4-FFF2-40B4-BE49-F238E27FC236}">
                <a16:creationId xmlns:a16="http://schemas.microsoft.com/office/drawing/2014/main" id="{A0DC1A3D-0ABB-344D-BB40-D6BAEE72EDC5}"/>
              </a:ext>
            </a:extLst>
          </p:cNvPr>
          <p:cNvSpPr/>
          <p:nvPr/>
        </p:nvSpPr>
        <p:spPr>
          <a:xfrm>
            <a:off x="3809014" y="2098012"/>
            <a:ext cx="938077" cy="523220"/>
          </a:xfrm>
          <a:prstGeom prst="rect">
            <a:avLst/>
          </a:prstGeom>
        </p:spPr>
        <p:txBody>
          <a:bodyPr wrap="none">
            <a:spAutoFit/>
          </a:bodyPr>
          <a:lstStyle/>
          <a:p>
            <a:r>
              <a:rPr lang="en-US" sz="2800" b="1" dirty="0">
                <a:latin typeface="UTM Neo Sans Intel" pitchFamily="18" charset="0"/>
              </a:rPr>
              <a:t>6,98</a:t>
            </a:r>
          </a:p>
        </p:txBody>
      </p:sp>
      <p:sp>
        <p:nvSpPr>
          <p:cNvPr id="9" name="Rectangle 8">
            <a:extLst>
              <a:ext uri="{FF2B5EF4-FFF2-40B4-BE49-F238E27FC236}">
                <a16:creationId xmlns:a16="http://schemas.microsoft.com/office/drawing/2014/main" id="{3C7FA200-CADE-8622-9C5A-4896857F73FC}"/>
              </a:ext>
            </a:extLst>
          </p:cNvPr>
          <p:cNvSpPr/>
          <p:nvPr/>
        </p:nvSpPr>
        <p:spPr>
          <a:xfrm>
            <a:off x="1739592" y="1507996"/>
            <a:ext cx="627095" cy="523220"/>
          </a:xfrm>
          <a:prstGeom prst="rect">
            <a:avLst/>
          </a:prstGeom>
        </p:spPr>
        <p:txBody>
          <a:bodyPr wrap="none">
            <a:spAutoFit/>
          </a:bodyPr>
          <a:lstStyle/>
          <a:p>
            <a:r>
              <a:rPr lang="en-US" sz="2800" b="1" dirty="0">
                <a:solidFill>
                  <a:srgbClr val="FF0000"/>
                </a:solidFill>
                <a:latin typeface="UTM Neo Sans Intel" pitchFamily="18" charset="0"/>
              </a:rPr>
              <a:t>45</a:t>
            </a:r>
          </a:p>
        </p:txBody>
      </p:sp>
      <p:sp>
        <p:nvSpPr>
          <p:cNvPr id="10" name="Rectangle 9">
            <a:extLst>
              <a:ext uri="{FF2B5EF4-FFF2-40B4-BE49-F238E27FC236}">
                <a16:creationId xmlns:a16="http://schemas.microsoft.com/office/drawing/2014/main" id="{950284FD-00CE-12BE-BF27-6588636D1324}"/>
              </a:ext>
            </a:extLst>
          </p:cNvPr>
          <p:cNvSpPr/>
          <p:nvPr/>
        </p:nvSpPr>
        <p:spPr>
          <a:xfrm>
            <a:off x="4018595" y="1521092"/>
            <a:ext cx="627095" cy="523220"/>
          </a:xfrm>
          <a:prstGeom prst="rect">
            <a:avLst/>
          </a:prstGeom>
        </p:spPr>
        <p:txBody>
          <a:bodyPr wrap="none">
            <a:spAutoFit/>
          </a:bodyPr>
          <a:lstStyle/>
          <a:p>
            <a:r>
              <a:rPr lang="en-US" sz="2800" b="1" dirty="0">
                <a:solidFill>
                  <a:srgbClr val="FF0000"/>
                </a:solidFill>
                <a:latin typeface="UTM Neo Sans Intel" pitchFamily="18" charset="0"/>
              </a:rPr>
              <a:t>55</a:t>
            </a:r>
          </a:p>
        </p:txBody>
      </p:sp>
      <p:sp>
        <p:nvSpPr>
          <p:cNvPr id="11" name="TextBox 10">
            <a:extLst>
              <a:ext uri="{FF2B5EF4-FFF2-40B4-BE49-F238E27FC236}">
                <a16:creationId xmlns:a16="http://schemas.microsoft.com/office/drawing/2014/main" id="{5035A25D-C4B4-1A9A-F06E-1FFFD9237E4F}"/>
              </a:ext>
            </a:extLst>
          </p:cNvPr>
          <p:cNvSpPr txBox="1"/>
          <p:nvPr/>
        </p:nvSpPr>
        <p:spPr>
          <a:xfrm>
            <a:off x="855514" y="2729442"/>
            <a:ext cx="3269185" cy="523220"/>
          </a:xfrm>
          <a:prstGeom prst="rect">
            <a:avLst/>
          </a:prstGeom>
          <a:noFill/>
        </p:spPr>
        <p:txBody>
          <a:bodyPr wrap="square" rtlCol="0">
            <a:spAutoFit/>
          </a:bodyPr>
          <a:lstStyle/>
          <a:p>
            <a:r>
              <a:rPr lang="en-US" sz="2800" b="1" dirty="0">
                <a:latin typeface="UTM Neo Sans Intel" pitchFamily="18" charset="0"/>
              </a:rPr>
              <a:t>=            20          +</a:t>
            </a:r>
          </a:p>
        </p:txBody>
      </p:sp>
      <p:sp>
        <p:nvSpPr>
          <p:cNvPr id="12" name="Rectangle 11">
            <a:extLst>
              <a:ext uri="{FF2B5EF4-FFF2-40B4-BE49-F238E27FC236}">
                <a16:creationId xmlns:a16="http://schemas.microsoft.com/office/drawing/2014/main" id="{B73B7A92-657D-28EA-EECA-EBECD71FAED3}"/>
              </a:ext>
            </a:extLst>
          </p:cNvPr>
          <p:cNvSpPr/>
          <p:nvPr/>
        </p:nvSpPr>
        <p:spPr>
          <a:xfrm>
            <a:off x="3823698" y="2728633"/>
            <a:ext cx="938077" cy="523220"/>
          </a:xfrm>
          <a:prstGeom prst="rect">
            <a:avLst/>
          </a:prstGeom>
        </p:spPr>
        <p:txBody>
          <a:bodyPr wrap="none">
            <a:spAutoFit/>
          </a:bodyPr>
          <a:lstStyle/>
          <a:p>
            <a:r>
              <a:rPr lang="en-US" sz="2800" b="1" dirty="0">
                <a:latin typeface="UTM Neo Sans Intel" pitchFamily="18" charset="0"/>
              </a:rPr>
              <a:t>6,98</a:t>
            </a:r>
          </a:p>
        </p:txBody>
      </p:sp>
      <p:sp>
        <p:nvSpPr>
          <p:cNvPr id="13" name="TextBox 12">
            <a:extLst>
              <a:ext uri="{FF2B5EF4-FFF2-40B4-BE49-F238E27FC236}">
                <a16:creationId xmlns:a16="http://schemas.microsoft.com/office/drawing/2014/main" id="{AEB5CD8A-12E0-87FE-2ED5-A5D56B82576F}"/>
              </a:ext>
            </a:extLst>
          </p:cNvPr>
          <p:cNvSpPr txBox="1"/>
          <p:nvPr/>
        </p:nvSpPr>
        <p:spPr>
          <a:xfrm>
            <a:off x="863085" y="3372281"/>
            <a:ext cx="3888709" cy="523220"/>
          </a:xfrm>
          <a:prstGeom prst="rect">
            <a:avLst/>
          </a:prstGeom>
          <a:noFill/>
        </p:spPr>
        <p:txBody>
          <a:bodyPr wrap="square" rtlCol="0">
            <a:spAutoFit/>
          </a:bodyPr>
          <a:lstStyle/>
          <a:p>
            <a:r>
              <a:rPr lang="en-US" sz="2800" b="1" dirty="0">
                <a:latin typeface="UTM Neo Sans Intel" pitchFamily="18" charset="0"/>
              </a:rPr>
              <a:t>=                     26,98  </a:t>
            </a:r>
          </a:p>
        </p:txBody>
      </p:sp>
      <p:sp>
        <p:nvSpPr>
          <p:cNvPr id="14" name="Right Brace 13">
            <a:extLst>
              <a:ext uri="{FF2B5EF4-FFF2-40B4-BE49-F238E27FC236}">
                <a16:creationId xmlns:a16="http://schemas.microsoft.com/office/drawing/2014/main" id="{2CECEA3B-24BC-C5B0-2F16-1699EB0D5B91}"/>
              </a:ext>
            </a:extLst>
          </p:cNvPr>
          <p:cNvSpPr/>
          <p:nvPr/>
        </p:nvSpPr>
        <p:spPr>
          <a:xfrm rot="5400000">
            <a:off x="2283952" y="1599484"/>
            <a:ext cx="165470" cy="2094446"/>
          </a:xfrm>
          <a:prstGeom prst="rightBrace">
            <a:avLst>
              <a:gd name="adj1" fmla="val 60185"/>
              <a:gd name="adj2" fmla="val 50000"/>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en-US"/>
          </a:p>
        </p:txBody>
      </p:sp>
      <p:sp>
        <p:nvSpPr>
          <p:cNvPr id="15" name="Shape 233">
            <a:extLst>
              <a:ext uri="{FF2B5EF4-FFF2-40B4-BE49-F238E27FC236}">
                <a16:creationId xmlns:a16="http://schemas.microsoft.com/office/drawing/2014/main" id="{98C42CDC-A5D2-8A99-D61B-04259CDD9C29}"/>
              </a:ext>
            </a:extLst>
          </p:cNvPr>
          <p:cNvSpPr/>
          <p:nvPr/>
        </p:nvSpPr>
        <p:spPr>
          <a:xfrm>
            <a:off x="10084381" y="2618743"/>
            <a:ext cx="983399" cy="599716"/>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nSpc>
                <a:spcPct val="150000"/>
              </a:lnSpc>
              <a:defRPr sz="2600" cap="none">
                <a:solidFill>
                  <a:srgbClr val="717172"/>
                </a:solidFill>
                <a:latin typeface="Lato Regular"/>
                <a:ea typeface="Lato Regular"/>
                <a:cs typeface="Lato Regular"/>
                <a:sym typeface="Lato Regular"/>
              </a:defRPr>
            </a:pPr>
            <a:endParaRPr lang="en-US" sz="2800" b="1" dirty="0">
              <a:latin typeface="UTM Neo Sans Intel" pitchFamily="18" charset="0"/>
              <a:ea typeface="字魂17号-萌趣果冻体" panose="02000000000000000000" pitchFamily="2" charset="-122"/>
              <a:sym typeface="Lato Regular"/>
            </a:endParaRPr>
          </a:p>
        </p:txBody>
      </p:sp>
      <p:sp>
        <p:nvSpPr>
          <p:cNvPr id="16" name="TextBox 15">
            <a:extLst>
              <a:ext uri="{FF2B5EF4-FFF2-40B4-BE49-F238E27FC236}">
                <a16:creationId xmlns:a16="http://schemas.microsoft.com/office/drawing/2014/main" id="{43E5F328-C082-0A9E-A646-B3E6785F5652}"/>
              </a:ext>
            </a:extLst>
          </p:cNvPr>
          <p:cNvSpPr txBox="1"/>
          <p:nvPr/>
        </p:nvSpPr>
        <p:spPr>
          <a:xfrm>
            <a:off x="5660128" y="1462025"/>
            <a:ext cx="4384534" cy="523220"/>
          </a:xfrm>
          <a:prstGeom prst="rect">
            <a:avLst/>
          </a:prstGeom>
          <a:noFill/>
        </p:spPr>
        <p:txBody>
          <a:bodyPr wrap="none" rtlCol="0">
            <a:spAutoFit/>
          </a:bodyPr>
          <a:lstStyle/>
          <a:p>
            <a:r>
              <a:rPr lang="en-US" sz="2800" b="1" dirty="0">
                <a:latin typeface="UTM Neo Sans Intel" pitchFamily="18" charset="0"/>
              </a:rPr>
              <a:t>b) 42,37 </a:t>
            </a:r>
            <a:r>
              <a:rPr lang="en-US" sz="2800" b="1" dirty="0">
                <a:latin typeface="Verdana"/>
                <a:ea typeface="Verdana"/>
              </a:rPr>
              <a:t>‒</a:t>
            </a:r>
            <a:r>
              <a:rPr lang="en-US" sz="2800" b="1" dirty="0">
                <a:latin typeface="UTM Neo Sans Intel" pitchFamily="18" charset="0"/>
              </a:rPr>
              <a:t> 28,73 </a:t>
            </a:r>
            <a:r>
              <a:rPr lang="en-US" sz="2800" b="1" dirty="0">
                <a:latin typeface="Verdana"/>
                <a:ea typeface="Verdana"/>
              </a:rPr>
              <a:t>‒</a:t>
            </a:r>
            <a:r>
              <a:rPr lang="en-US" sz="2800" b="1" dirty="0">
                <a:latin typeface="UTM Neo Sans Intel" pitchFamily="18" charset="0"/>
              </a:rPr>
              <a:t> 11,27</a:t>
            </a:r>
          </a:p>
        </p:txBody>
      </p:sp>
      <p:sp>
        <p:nvSpPr>
          <p:cNvPr id="17" name="TextBox 16">
            <a:extLst>
              <a:ext uri="{FF2B5EF4-FFF2-40B4-BE49-F238E27FC236}">
                <a16:creationId xmlns:a16="http://schemas.microsoft.com/office/drawing/2014/main" id="{D97463CB-FCFE-C7B1-3E1B-2DEE823C288F}"/>
              </a:ext>
            </a:extLst>
          </p:cNvPr>
          <p:cNvSpPr txBox="1"/>
          <p:nvPr/>
        </p:nvSpPr>
        <p:spPr>
          <a:xfrm>
            <a:off x="5660128" y="2067804"/>
            <a:ext cx="1796902" cy="523220"/>
          </a:xfrm>
          <a:prstGeom prst="rect">
            <a:avLst/>
          </a:prstGeom>
          <a:noFill/>
        </p:spPr>
        <p:txBody>
          <a:bodyPr wrap="square" rtlCol="0">
            <a:spAutoFit/>
          </a:bodyPr>
          <a:lstStyle/>
          <a:p>
            <a:r>
              <a:rPr lang="en-US" sz="2800" b="1" dirty="0">
                <a:latin typeface="UTM Neo Sans Intel" pitchFamily="18" charset="0"/>
              </a:rPr>
              <a:t>= 42,37 </a:t>
            </a:r>
            <a:r>
              <a:rPr lang="en-US" sz="2800" b="1" dirty="0">
                <a:latin typeface="Verdana"/>
                <a:ea typeface="Verdana"/>
              </a:rPr>
              <a:t>‒</a:t>
            </a:r>
            <a:r>
              <a:rPr lang="en-US" sz="2800" b="1" dirty="0">
                <a:latin typeface="UTM Neo Sans Intel" pitchFamily="18" charset="0"/>
              </a:rPr>
              <a:t> </a:t>
            </a:r>
          </a:p>
        </p:txBody>
      </p:sp>
      <p:sp>
        <p:nvSpPr>
          <p:cNvPr id="18" name="Rectangle 17">
            <a:extLst>
              <a:ext uri="{FF2B5EF4-FFF2-40B4-BE49-F238E27FC236}">
                <a16:creationId xmlns:a16="http://schemas.microsoft.com/office/drawing/2014/main" id="{71569E70-E467-15BE-3431-ADBEE5ABC6C4}"/>
              </a:ext>
            </a:extLst>
          </p:cNvPr>
          <p:cNvSpPr/>
          <p:nvPr/>
        </p:nvSpPr>
        <p:spPr>
          <a:xfrm>
            <a:off x="7457030" y="2070271"/>
            <a:ext cx="2762295" cy="523220"/>
          </a:xfrm>
          <a:prstGeom prst="rect">
            <a:avLst/>
          </a:prstGeom>
        </p:spPr>
        <p:txBody>
          <a:bodyPr wrap="none">
            <a:spAutoFit/>
          </a:bodyPr>
          <a:lstStyle/>
          <a:p>
            <a:r>
              <a:rPr lang="en-US" sz="2800" b="1" dirty="0">
                <a:latin typeface="UTM Neo Sans Intel" pitchFamily="18" charset="0"/>
              </a:rPr>
              <a:t>(28,73 + 11,27)</a:t>
            </a:r>
          </a:p>
        </p:txBody>
      </p:sp>
      <p:sp>
        <p:nvSpPr>
          <p:cNvPr id="19" name="Rectangle 18">
            <a:extLst>
              <a:ext uri="{FF2B5EF4-FFF2-40B4-BE49-F238E27FC236}">
                <a16:creationId xmlns:a16="http://schemas.microsoft.com/office/drawing/2014/main" id="{8FFD9E5C-3D51-36AE-7E37-7954CBE0A1FB}"/>
              </a:ext>
            </a:extLst>
          </p:cNvPr>
          <p:cNvSpPr/>
          <p:nvPr/>
        </p:nvSpPr>
        <p:spPr>
          <a:xfrm>
            <a:off x="7969315" y="1462025"/>
            <a:ext cx="627095" cy="523220"/>
          </a:xfrm>
          <a:prstGeom prst="rect">
            <a:avLst/>
          </a:prstGeom>
        </p:spPr>
        <p:txBody>
          <a:bodyPr wrap="none">
            <a:spAutoFit/>
          </a:bodyPr>
          <a:lstStyle/>
          <a:p>
            <a:r>
              <a:rPr lang="en-US" sz="2800" b="1" dirty="0">
                <a:solidFill>
                  <a:srgbClr val="FF0000"/>
                </a:solidFill>
                <a:latin typeface="UTM Neo Sans Intel" pitchFamily="18" charset="0"/>
              </a:rPr>
              <a:t>73</a:t>
            </a:r>
          </a:p>
        </p:txBody>
      </p:sp>
      <p:sp>
        <p:nvSpPr>
          <p:cNvPr id="20" name="Rectangle 19">
            <a:extLst>
              <a:ext uri="{FF2B5EF4-FFF2-40B4-BE49-F238E27FC236}">
                <a16:creationId xmlns:a16="http://schemas.microsoft.com/office/drawing/2014/main" id="{99108377-309E-203B-A933-E08F0DEDEA52}"/>
              </a:ext>
            </a:extLst>
          </p:cNvPr>
          <p:cNvSpPr/>
          <p:nvPr/>
        </p:nvSpPr>
        <p:spPr>
          <a:xfrm>
            <a:off x="9417567" y="1462025"/>
            <a:ext cx="627095" cy="523220"/>
          </a:xfrm>
          <a:prstGeom prst="rect">
            <a:avLst/>
          </a:prstGeom>
        </p:spPr>
        <p:txBody>
          <a:bodyPr wrap="none">
            <a:spAutoFit/>
          </a:bodyPr>
          <a:lstStyle/>
          <a:p>
            <a:r>
              <a:rPr lang="en-US" sz="2800" b="1" dirty="0">
                <a:solidFill>
                  <a:srgbClr val="FF0000"/>
                </a:solidFill>
                <a:latin typeface="UTM Neo Sans Intel" pitchFamily="18" charset="0"/>
              </a:rPr>
              <a:t>27</a:t>
            </a:r>
          </a:p>
        </p:txBody>
      </p:sp>
      <p:sp>
        <p:nvSpPr>
          <p:cNvPr id="21" name="TextBox 20">
            <a:extLst>
              <a:ext uri="{FF2B5EF4-FFF2-40B4-BE49-F238E27FC236}">
                <a16:creationId xmlns:a16="http://schemas.microsoft.com/office/drawing/2014/main" id="{FD1BD3A5-5461-25E8-92FB-F1DA27151EE7}"/>
              </a:ext>
            </a:extLst>
          </p:cNvPr>
          <p:cNvSpPr txBox="1"/>
          <p:nvPr/>
        </p:nvSpPr>
        <p:spPr>
          <a:xfrm>
            <a:off x="5674811" y="2698425"/>
            <a:ext cx="2396159" cy="523220"/>
          </a:xfrm>
          <a:prstGeom prst="rect">
            <a:avLst/>
          </a:prstGeom>
          <a:noFill/>
        </p:spPr>
        <p:txBody>
          <a:bodyPr wrap="square" rtlCol="0">
            <a:spAutoFit/>
          </a:bodyPr>
          <a:lstStyle/>
          <a:p>
            <a:r>
              <a:rPr lang="en-US" sz="2800" b="1" dirty="0">
                <a:latin typeface="UTM Neo Sans Intel" pitchFamily="18" charset="0"/>
              </a:rPr>
              <a:t>= 42,37 </a:t>
            </a:r>
            <a:r>
              <a:rPr lang="en-US" sz="2800" b="1" dirty="0">
                <a:latin typeface="Verdana"/>
                <a:ea typeface="Verdana"/>
              </a:rPr>
              <a:t>‒</a:t>
            </a:r>
            <a:r>
              <a:rPr lang="en-US" sz="2800" b="1" dirty="0">
                <a:latin typeface="UTM Neo Sans Intel" pitchFamily="18" charset="0"/>
              </a:rPr>
              <a:t> </a:t>
            </a:r>
          </a:p>
        </p:txBody>
      </p:sp>
      <p:sp>
        <p:nvSpPr>
          <p:cNvPr id="22" name="Rectangle 21">
            <a:extLst>
              <a:ext uri="{FF2B5EF4-FFF2-40B4-BE49-F238E27FC236}">
                <a16:creationId xmlns:a16="http://schemas.microsoft.com/office/drawing/2014/main" id="{CEE41BC3-2641-3AD1-964D-40AAF961F87A}"/>
              </a:ext>
            </a:extLst>
          </p:cNvPr>
          <p:cNvSpPr/>
          <p:nvPr/>
        </p:nvSpPr>
        <p:spPr>
          <a:xfrm>
            <a:off x="8398436" y="2697616"/>
            <a:ext cx="627095" cy="523220"/>
          </a:xfrm>
          <a:prstGeom prst="rect">
            <a:avLst/>
          </a:prstGeom>
        </p:spPr>
        <p:txBody>
          <a:bodyPr wrap="none">
            <a:spAutoFit/>
          </a:bodyPr>
          <a:lstStyle/>
          <a:p>
            <a:r>
              <a:rPr lang="en-US" sz="2800" b="1" dirty="0">
                <a:latin typeface="UTM Neo Sans Intel" pitchFamily="18" charset="0"/>
              </a:rPr>
              <a:t>40</a:t>
            </a:r>
          </a:p>
        </p:txBody>
      </p:sp>
      <p:sp>
        <p:nvSpPr>
          <p:cNvPr id="23" name="TextBox 22">
            <a:extLst>
              <a:ext uri="{FF2B5EF4-FFF2-40B4-BE49-F238E27FC236}">
                <a16:creationId xmlns:a16="http://schemas.microsoft.com/office/drawing/2014/main" id="{7AAD3EA0-2300-FFAB-0C00-B0FD7D52A892}"/>
              </a:ext>
            </a:extLst>
          </p:cNvPr>
          <p:cNvSpPr txBox="1"/>
          <p:nvPr/>
        </p:nvSpPr>
        <p:spPr>
          <a:xfrm>
            <a:off x="5682382" y="3341264"/>
            <a:ext cx="3888709" cy="523220"/>
          </a:xfrm>
          <a:prstGeom prst="rect">
            <a:avLst/>
          </a:prstGeom>
          <a:noFill/>
        </p:spPr>
        <p:txBody>
          <a:bodyPr wrap="square" rtlCol="0">
            <a:spAutoFit/>
          </a:bodyPr>
          <a:lstStyle/>
          <a:p>
            <a:r>
              <a:rPr lang="en-US" sz="2800" b="1" dirty="0">
                <a:latin typeface="UTM Neo Sans Intel" pitchFamily="18" charset="0"/>
              </a:rPr>
              <a:t>=           2,37  </a:t>
            </a:r>
          </a:p>
        </p:txBody>
      </p:sp>
      <p:sp>
        <p:nvSpPr>
          <p:cNvPr id="24" name="Right Brace 23">
            <a:extLst>
              <a:ext uri="{FF2B5EF4-FFF2-40B4-BE49-F238E27FC236}">
                <a16:creationId xmlns:a16="http://schemas.microsoft.com/office/drawing/2014/main" id="{732F153A-7E92-5AD5-EB04-B12CEF8D2533}"/>
              </a:ext>
            </a:extLst>
          </p:cNvPr>
          <p:cNvSpPr/>
          <p:nvPr/>
        </p:nvSpPr>
        <p:spPr>
          <a:xfrm rot="5400000">
            <a:off x="8717311" y="1473395"/>
            <a:ext cx="164661" cy="2345813"/>
          </a:xfrm>
          <a:prstGeom prst="rightBrace">
            <a:avLst>
              <a:gd name="adj1" fmla="val 60185"/>
              <a:gd name="adj2" fmla="val 50000"/>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en-US"/>
          </a:p>
        </p:txBody>
      </p:sp>
      <p:sp>
        <p:nvSpPr>
          <p:cNvPr id="31" name="Flowchart: Alternate Process 30">
            <a:extLst>
              <a:ext uri="{FF2B5EF4-FFF2-40B4-BE49-F238E27FC236}">
                <a16:creationId xmlns:a16="http://schemas.microsoft.com/office/drawing/2014/main" id="{659B68FD-81D0-A03B-6367-350773036F45}"/>
              </a:ext>
            </a:extLst>
          </p:cNvPr>
          <p:cNvSpPr/>
          <p:nvPr/>
        </p:nvSpPr>
        <p:spPr>
          <a:xfrm>
            <a:off x="5885854" y="4104274"/>
            <a:ext cx="4794019" cy="2072640"/>
          </a:xfrm>
          <a:prstGeom prst="flowChartAlternateProcess">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relaxedInset"/>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b="1">
                <a:ln w="0"/>
                <a:solidFill>
                  <a:schemeClr val="bg1"/>
                </a:solidFill>
                <a:latin typeface="Tahoma" panose="020B0604030504040204" pitchFamily="34" charset="0"/>
                <a:ea typeface="Tahoma" panose="020B0604030504040204" pitchFamily="34" charset="0"/>
                <a:cs typeface="Tahoma" panose="020B0604030504040204" pitchFamily="34" charset="0"/>
              </a:rPr>
              <a:t>THẢO LUẬN NHÓM ĐÔI</a:t>
            </a:r>
          </a:p>
        </p:txBody>
      </p:sp>
    </p:spTree>
    <p:extLst>
      <p:ext uri="{BB962C8B-B14F-4D97-AF65-F5344CB8AC3E}">
        <p14:creationId xmlns:p14="http://schemas.microsoft.com/office/powerpoint/2010/main" val="2603791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left)">
                                      <p:cBhvr>
                                        <p:cTn id="19" dur="500"/>
                                        <p:tgtEl>
                                          <p:spTgt spid="5"/>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wipe(left)">
                                      <p:cBhvr>
                                        <p:cTn id="24" dur="500"/>
                                        <p:tgtEl>
                                          <p:spTgt spid="16"/>
                                        </p:tgtEl>
                                      </p:cBhvr>
                                    </p:animEffect>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fade">
                                      <p:cBhvr>
                                        <p:cTn id="29" dur="1000"/>
                                        <p:tgtEl>
                                          <p:spTgt spid="31"/>
                                        </p:tgtEl>
                                      </p:cBhvr>
                                    </p:animEffect>
                                    <p:anim calcmode="lin" valueType="num">
                                      <p:cBhvr>
                                        <p:cTn id="30" dur="1000" fill="hold"/>
                                        <p:tgtEl>
                                          <p:spTgt spid="31"/>
                                        </p:tgtEl>
                                        <p:attrNameLst>
                                          <p:attrName>ppt_x</p:attrName>
                                        </p:attrNameLst>
                                      </p:cBhvr>
                                      <p:tavLst>
                                        <p:tav tm="0">
                                          <p:val>
                                            <p:strVal val="#ppt_x"/>
                                          </p:val>
                                        </p:tav>
                                        <p:tav tm="100000">
                                          <p:val>
                                            <p:strVal val="#ppt_x"/>
                                          </p:val>
                                        </p:tav>
                                      </p:tavLst>
                                    </p:anim>
                                    <p:anim calcmode="lin" valueType="num">
                                      <p:cBhvr>
                                        <p:cTn id="31"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500"/>
                                        <p:tgtEl>
                                          <p:spTgt spid="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8" fill="hold" grpId="0" nodeType="clickEffect">
                                  <p:stCondLst>
                                    <p:cond delay="0"/>
                                  </p:stCondLst>
                                  <p:childTnLst>
                                    <p:set>
                                      <p:cBhvr>
                                        <p:cTn id="43" dur="1" fill="hold">
                                          <p:stCondLst>
                                            <p:cond delay="0"/>
                                          </p:stCondLst>
                                        </p:cTn>
                                        <p:tgtEl>
                                          <p:spTgt spid="6"/>
                                        </p:tgtEl>
                                        <p:attrNameLst>
                                          <p:attrName>style.visibility</p:attrName>
                                        </p:attrNameLst>
                                      </p:cBhvr>
                                      <p:to>
                                        <p:strVal val="visible"/>
                                      </p:to>
                                    </p:set>
                                    <p:animEffect transition="in" filter="wipe(left)">
                                      <p:cBhvr>
                                        <p:cTn id="44" dur="500"/>
                                        <p:tgtEl>
                                          <p:spTgt spid="6"/>
                                        </p:tgtEl>
                                      </p:cBhvr>
                                    </p:animEffect>
                                  </p:childTnLst>
                                </p:cTn>
                              </p:par>
                            </p:childTnLst>
                          </p:cTn>
                        </p:par>
                        <p:par>
                          <p:cTn id="45" fill="hold">
                            <p:stCondLst>
                              <p:cond delay="500"/>
                            </p:stCondLst>
                            <p:childTnLst>
                              <p:par>
                                <p:cTn id="46" presetID="22" presetClass="entr" presetSubtype="8" fill="hold" grpId="0" nodeType="afterEffect">
                                  <p:stCondLst>
                                    <p:cond delay="0"/>
                                  </p:stCondLst>
                                  <p:childTnLst>
                                    <p:set>
                                      <p:cBhvr>
                                        <p:cTn id="47" dur="1" fill="hold">
                                          <p:stCondLst>
                                            <p:cond delay="0"/>
                                          </p:stCondLst>
                                        </p:cTn>
                                        <p:tgtEl>
                                          <p:spTgt spid="7"/>
                                        </p:tgtEl>
                                        <p:attrNameLst>
                                          <p:attrName>style.visibility</p:attrName>
                                        </p:attrNameLst>
                                      </p:cBhvr>
                                      <p:to>
                                        <p:strVal val="visible"/>
                                      </p:to>
                                    </p:set>
                                    <p:animEffect transition="in" filter="wipe(left)">
                                      <p:cBhvr>
                                        <p:cTn id="48" dur="500"/>
                                        <p:tgtEl>
                                          <p:spTgt spid="7"/>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8" fill="hold" grpId="0" nodeType="clickEffect">
                                  <p:stCondLst>
                                    <p:cond delay="0"/>
                                  </p:stCondLst>
                                  <p:childTnLst>
                                    <p:set>
                                      <p:cBhvr>
                                        <p:cTn id="52" dur="1" fill="hold">
                                          <p:stCondLst>
                                            <p:cond delay="0"/>
                                          </p:stCondLst>
                                        </p:cTn>
                                        <p:tgtEl>
                                          <p:spTgt spid="8"/>
                                        </p:tgtEl>
                                        <p:attrNameLst>
                                          <p:attrName>style.visibility</p:attrName>
                                        </p:attrNameLst>
                                      </p:cBhvr>
                                      <p:to>
                                        <p:strVal val="visible"/>
                                      </p:to>
                                    </p:set>
                                    <p:animEffect transition="in" filter="wipe(left)">
                                      <p:cBhvr>
                                        <p:cTn id="53" dur="500"/>
                                        <p:tgtEl>
                                          <p:spTgt spid="8"/>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1" fill="hold" grpId="0" nodeType="clickEffect">
                                  <p:stCondLst>
                                    <p:cond delay="0"/>
                                  </p:stCondLst>
                                  <p:childTnLst>
                                    <p:set>
                                      <p:cBhvr>
                                        <p:cTn id="57" dur="1" fill="hold">
                                          <p:stCondLst>
                                            <p:cond delay="0"/>
                                          </p:stCondLst>
                                        </p:cTn>
                                        <p:tgtEl>
                                          <p:spTgt spid="14"/>
                                        </p:tgtEl>
                                        <p:attrNameLst>
                                          <p:attrName>style.visibility</p:attrName>
                                        </p:attrNameLst>
                                      </p:cBhvr>
                                      <p:to>
                                        <p:strVal val="visible"/>
                                      </p:to>
                                    </p:set>
                                    <p:animEffect transition="in" filter="wipe(up)">
                                      <p:cBhvr>
                                        <p:cTn id="58" dur="500"/>
                                        <p:tgtEl>
                                          <p:spTgt spid="14"/>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grpId="0" nodeType="clickEffect">
                                  <p:stCondLst>
                                    <p:cond delay="0"/>
                                  </p:stCondLst>
                                  <p:childTnLst>
                                    <p:set>
                                      <p:cBhvr>
                                        <p:cTn id="62" dur="1" fill="hold">
                                          <p:stCondLst>
                                            <p:cond delay="0"/>
                                          </p:stCondLst>
                                        </p:cTn>
                                        <p:tgtEl>
                                          <p:spTgt spid="11"/>
                                        </p:tgtEl>
                                        <p:attrNameLst>
                                          <p:attrName>style.visibility</p:attrName>
                                        </p:attrNameLst>
                                      </p:cBhvr>
                                      <p:to>
                                        <p:strVal val="visible"/>
                                      </p:to>
                                    </p:set>
                                    <p:animEffect transition="in" filter="wipe(left)">
                                      <p:cBhvr>
                                        <p:cTn id="63" dur="500"/>
                                        <p:tgtEl>
                                          <p:spTgt spid="11"/>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grpId="0" nodeType="clickEffect">
                                  <p:stCondLst>
                                    <p:cond delay="0"/>
                                  </p:stCondLst>
                                  <p:childTnLst>
                                    <p:set>
                                      <p:cBhvr>
                                        <p:cTn id="67" dur="1" fill="hold">
                                          <p:stCondLst>
                                            <p:cond delay="0"/>
                                          </p:stCondLst>
                                        </p:cTn>
                                        <p:tgtEl>
                                          <p:spTgt spid="12"/>
                                        </p:tgtEl>
                                        <p:attrNameLst>
                                          <p:attrName>style.visibility</p:attrName>
                                        </p:attrNameLst>
                                      </p:cBhvr>
                                      <p:to>
                                        <p:strVal val="visible"/>
                                      </p:to>
                                    </p:set>
                                    <p:animEffect transition="in" filter="wipe(left)">
                                      <p:cBhvr>
                                        <p:cTn id="68" dur="500"/>
                                        <p:tgtEl>
                                          <p:spTgt spid="12"/>
                                        </p:tgtEl>
                                      </p:cBhvr>
                                    </p:animEffect>
                                  </p:childTnLst>
                                </p:cTn>
                              </p:par>
                            </p:childTnLst>
                          </p:cTn>
                        </p:par>
                      </p:childTnLst>
                    </p:cTn>
                  </p:par>
                  <p:par>
                    <p:cTn id="69" fill="hold">
                      <p:stCondLst>
                        <p:cond delay="indefinite"/>
                      </p:stCondLst>
                      <p:childTnLst>
                        <p:par>
                          <p:cTn id="70" fill="hold">
                            <p:stCondLst>
                              <p:cond delay="0"/>
                            </p:stCondLst>
                            <p:childTnLst>
                              <p:par>
                                <p:cTn id="71" presetID="22" presetClass="entr" presetSubtype="8" fill="hold" grpId="0" nodeType="clickEffect">
                                  <p:stCondLst>
                                    <p:cond delay="0"/>
                                  </p:stCondLst>
                                  <p:childTnLst>
                                    <p:set>
                                      <p:cBhvr>
                                        <p:cTn id="72" dur="1" fill="hold">
                                          <p:stCondLst>
                                            <p:cond delay="0"/>
                                          </p:stCondLst>
                                        </p:cTn>
                                        <p:tgtEl>
                                          <p:spTgt spid="13"/>
                                        </p:tgtEl>
                                        <p:attrNameLst>
                                          <p:attrName>style.visibility</p:attrName>
                                        </p:attrNameLst>
                                      </p:cBhvr>
                                      <p:to>
                                        <p:strVal val="visible"/>
                                      </p:to>
                                    </p:set>
                                    <p:animEffect transition="in" filter="wipe(left)">
                                      <p:cBhvr>
                                        <p:cTn id="73" dur="500"/>
                                        <p:tgtEl>
                                          <p:spTgt spid="13"/>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5"/>
                                        </p:tgtEl>
                                        <p:attrNameLst>
                                          <p:attrName>style.visibility</p:attrName>
                                        </p:attrNameLst>
                                      </p:cBhvr>
                                      <p:to>
                                        <p:strVal val="visible"/>
                                      </p:to>
                                    </p:set>
                                    <p:animEffect transition="in" filter="fade">
                                      <p:cBhvr>
                                        <p:cTn id="78" dur="500"/>
                                        <p:tgtEl>
                                          <p:spTgt spid="15"/>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19"/>
                                        </p:tgtEl>
                                        <p:attrNameLst>
                                          <p:attrName>style.visibility</p:attrName>
                                        </p:attrNameLst>
                                      </p:cBhvr>
                                      <p:to>
                                        <p:strVal val="visible"/>
                                      </p:to>
                                    </p:set>
                                    <p:animEffect transition="in" filter="fade">
                                      <p:cBhvr>
                                        <p:cTn id="83" dur="500"/>
                                        <p:tgtEl>
                                          <p:spTgt spid="19"/>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20"/>
                                        </p:tgtEl>
                                        <p:attrNameLst>
                                          <p:attrName>style.visibility</p:attrName>
                                        </p:attrNameLst>
                                      </p:cBhvr>
                                      <p:to>
                                        <p:strVal val="visible"/>
                                      </p:to>
                                    </p:set>
                                    <p:animEffect transition="in" filter="fade">
                                      <p:cBhvr>
                                        <p:cTn id="86" dur="500"/>
                                        <p:tgtEl>
                                          <p:spTgt spid="20"/>
                                        </p:tgtEl>
                                      </p:cBhvr>
                                    </p:animEffect>
                                  </p:childTnLst>
                                </p:cTn>
                              </p:par>
                            </p:childTnLst>
                          </p:cTn>
                        </p:par>
                      </p:childTnLst>
                    </p:cTn>
                  </p:par>
                  <p:par>
                    <p:cTn id="87" fill="hold">
                      <p:stCondLst>
                        <p:cond delay="indefinite"/>
                      </p:stCondLst>
                      <p:childTnLst>
                        <p:par>
                          <p:cTn id="88" fill="hold">
                            <p:stCondLst>
                              <p:cond delay="0"/>
                            </p:stCondLst>
                            <p:childTnLst>
                              <p:par>
                                <p:cTn id="89" presetID="22" presetClass="entr" presetSubtype="8" fill="hold" grpId="0" nodeType="clickEffect">
                                  <p:stCondLst>
                                    <p:cond delay="0"/>
                                  </p:stCondLst>
                                  <p:childTnLst>
                                    <p:set>
                                      <p:cBhvr>
                                        <p:cTn id="90" dur="1" fill="hold">
                                          <p:stCondLst>
                                            <p:cond delay="0"/>
                                          </p:stCondLst>
                                        </p:cTn>
                                        <p:tgtEl>
                                          <p:spTgt spid="17"/>
                                        </p:tgtEl>
                                        <p:attrNameLst>
                                          <p:attrName>style.visibility</p:attrName>
                                        </p:attrNameLst>
                                      </p:cBhvr>
                                      <p:to>
                                        <p:strVal val="visible"/>
                                      </p:to>
                                    </p:set>
                                    <p:animEffect transition="in" filter="wipe(left)">
                                      <p:cBhvr>
                                        <p:cTn id="91" dur="500"/>
                                        <p:tgtEl>
                                          <p:spTgt spid="17"/>
                                        </p:tgtEl>
                                      </p:cBhvr>
                                    </p:animEffect>
                                  </p:childTnLst>
                                </p:cTn>
                              </p:par>
                            </p:childTnLst>
                          </p:cTn>
                        </p:par>
                        <p:par>
                          <p:cTn id="92" fill="hold">
                            <p:stCondLst>
                              <p:cond delay="500"/>
                            </p:stCondLst>
                            <p:childTnLst>
                              <p:par>
                                <p:cTn id="93" presetID="22" presetClass="entr" presetSubtype="8" fill="hold" grpId="0" nodeType="afterEffect">
                                  <p:stCondLst>
                                    <p:cond delay="0"/>
                                  </p:stCondLst>
                                  <p:childTnLst>
                                    <p:set>
                                      <p:cBhvr>
                                        <p:cTn id="94" dur="1" fill="hold">
                                          <p:stCondLst>
                                            <p:cond delay="0"/>
                                          </p:stCondLst>
                                        </p:cTn>
                                        <p:tgtEl>
                                          <p:spTgt spid="18"/>
                                        </p:tgtEl>
                                        <p:attrNameLst>
                                          <p:attrName>style.visibility</p:attrName>
                                        </p:attrNameLst>
                                      </p:cBhvr>
                                      <p:to>
                                        <p:strVal val="visible"/>
                                      </p:to>
                                    </p:set>
                                    <p:animEffect transition="in" filter="wipe(left)">
                                      <p:cBhvr>
                                        <p:cTn id="95" dur="500"/>
                                        <p:tgtEl>
                                          <p:spTgt spid="18"/>
                                        </p:tgtEl>
                                      </p:cBhvr>
                                    </p:animEffect>
                                  </p:childTnLst>
                                </p:cTn>
                              </p:par>
                            </p:childTnLst>
                          </p:cTn>
                        </p:par>
                      </p:childTnLst>
                    </p:cTn>
                  </p:par>
                  <p:par>
                    <p:cTn id="96" fill="hold">
                      <p:stCondLst>
                        <p:cond delay="indefinite"/>
                      </p:stCondLst>
                      <p:childTnLst>
                        <p:par>
                          <p:cTn id="97" fill="hold">
                            <p:stCondLst>
                              <p:cond delay="0"/>
                            </p:stCondLst>
                            <p:childTnLst>
                              <p:par>
                                <p:cTn id="98" presetID="22" presetClass="entr" presetSubtype="1" fill="hold" grpId="0" nodeType="clickEffect">
                                  <p:stCondLst>
                                    <p:cond delay="0"/>
                                  </p:stCondLst>
                                  <p:childTnLst>
                                    <p:set>
                                      <p:cBhvr>
                                        <p:cTn id="99" dur="1" fill="hold">
                                          <p:stCondLst>
                                            <p:cond delay="0"/>
                                          </p:stCondLst>
                                        </p:cTn>
                                        <p:tgtEl>
                                          <p:spTgt spid="24"/>
                                        </p:tgtEl>
                                        <p:attrNameLst>
                                          <p:attrName>style.visibility</p:attrName>
                                        </p:attrNameLst>
                                      </p:cBhvr>
                                      <p:to>
                                        <p:strVal val="visible"/>
                                      </p:to>
                                    </p:set>
                                    <p:animEffect transition="in" filter="wipe(up)">
                                      <p:cBhvr>
                                        <p:cTn id="100" dur="500"/>
                                        <p:tgtEl>
                                          <p:spTgt spid="24"/>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ntr" presetSubtype="8" fill="hold" grpId="0" nodeType="clickEffect">
                                  <p:stCondLst>
                                    <p:cond delay="0"/>
                                  </p:stCondLst>
                                  <p:childTnLst>
                                    <p:set>
                                      <p:cBhvr>
                                        <p:cTn id="104" dur="1" fill="hold">
                                          <p:stCondLst>
                                            <p:cond delay="0"/>
                                          </p:stCondLst>
                                        </p:cTn>
                                        <p:tgtEl>
                                          <p:spTgt spid="21"/>
                                        </p:tgtEl>
                                        <p:attrNameLst>
                                          <p:attrName>style.visibility</p:attrName>
                                        </p:attrNameLst>
                                      </p:cBhvr>
                                      <p:to>
                                        <p:strVal val="visible"/>
                                      </p:to>
                                    </p:set>
                                    <p:animEffect transition="in" filter="wipe(left)">
                                      <p:cBhvr>
                                        <p:cTn id="105" dur="500"/>
                                        <p:tgtEl>
                                          <p:spTgt spid="21"/>
                                        </p:tgtEl>
                                      </p:cBhvr>
                                    </p:animEffec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grpId="0" nodeType="clickEffect">
                                  <p:stCondLst>
                                    <p:cond delay="0"/>
                                  </p:stCondLst>
                                  <p:childTnLst>
                                    <p:set>
                                      <p:cBhvr>
                                        <p:cTn id="109" dur="1" fill="hold">
                                          <p:stCondLst>
                                            <p:cond delay="0"/>
                                          </p:stCondLst>
                                        </p:cTn>
                                        <p:tgtEl>
                                          <p:spTgt spid="22"/>
                                        </p:tgtEl>
                                        <p:attrNameLst>
                                          <p:attrName>style.visibility</p:attrName>
                                        </p:attrNameLst>
                                      </p:cBhvr>
                                      <p:to>
                                        <p:strVal val="visible"/>
                                      </p:to>
                                    </p:set>
                                    <p:animEffect transition="in" filter="wipe(left)">
                                      <p:cBhvr>
                                        <p:cTn id="110" dur="500"/>
                                        <p:tgtEl>
                                          <p:spTgt spid="22"/>
                                        </p:tgtEl>
                                      </p:cBhvr>
                                    </p:animEffect>
                                  </p:childTnLst>
                                </p:cTn>
                              </p:par>
                            </p:childTnLst>
                          </p:cTn>
                        </p:par>
                      </p:childTnLst>
                    </p:cTn>
                  </p:par>
                  <p:par>
                    <p:cTn id="111" fill="hold">
                      <p:stCondLst>
                        <p:cond delay="indefinite"/>
                      </p:stCondLst>
                      <p:childTnLst>
                        <p:par>
                          <p:cTn id="112" fill="hold">
                            <p:stCondLst>
                              <p:cond delay="0"/>
                            </p:stCondLst>
                            <p:childTnLst>
                              <p:par>
                                <p:cTn id="113" presetID="22" presetClass="entr" presetSubtype="8" fill="hold" grpId="0" nodeType="clickEffect">
                                  <p:stCondLst>
                                    <p:cond delay="0"/>
                                  </p:stCondLst>
                                  <p:childTnLst>
                                    <p:set>
                                      <p:cBhvr>
                                        <p:cTn id="114" dur="1" fill="hold">
                                          <p:stCondLst>
                                            <p:cond delay="0"/>
                                          </p:stCondLst>
                                        </p:cTn>
                                        <p:tgtEl>
                                          <p:spTgt spid="23"/>
                                        </p:tgtEl>
                                        <p:attrNameLst>
                                          <p:attrName>style.visibility</p:attrName>
                                        </p:attrNameLst>
                                      </p:cBhvr>
                                      <p:to>
                                        <p:strVal val="visible"/>
                                      </p:to>
                                    </p:set>
                                    <p:animEffect transition="in" filter="wipe(left)">
                                      <p:cBhvr>
                                        <p:cTn id="11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p:bldP spid="6" grpId="0"/>
      <p:bldP spid="7" grpId="0"/>
      <p:bldP spid="8" grpId="0"/>
      <p:bldP spid="9" grpId="0"/>
      <p:bldP spid="10" grpId="0"/>
      <p:bldP spid="11" grpId="0"/>
      <p:bldP spid="12" grpId="0"/>
      <p:bldP spid="13" grpId="0"/>
      <p:bldP spid="14" grpId="0" animBg="1"/>
      <p:bldP spid="15" grpId="0" animBg="1"/>
      <p:bldP spid="16" grpId="0"/>
      <p:bldP spid="17" grpId="0"/>
      <p:bldP spid="18" grpId="0"/>
      <p:bldP spid="19" grpId="0"/>
      <p:bldP spid="20" grpId="0"/>
      <p:bldP spid="21" grpId="0"/>
      <p:bldP spid="22" grpId="0"/>
      <p:bldP spid="23" grpId="0"/>
      <p:bldP spid="24" grpId="0" animBg="1"/>
      <p:bldP spid="3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4" name="Rectangle 43">
            <a:extLst>
              <a:ext uri="{FF2B5EF4-FFF2-40B4-BE49-F238E27FC236}">
                <a16:creationId xmlns:a16="http://schemas.microsoft.com/office/drawing/2014/main" id="{A169D286-F4D7-4C8B-A6BD-D05384C7F1D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6">
            <a:extLst>
              <a:ext uri="{FF2B5EF4-FFF2-40B4-BE49-F238E27FC236}">
                <a16:creationId xmlns:a16="http://schemas.microsoft.com/office/drawing/2014/main" id="{39E8235E-135E-4261-8F54-2B316E493C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142164" y="610728"/>
            <a:ext cx="759618" cy="5710965"/>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7">
            <a:extLst>
              <a:ext uri="{FF2B5EF4-FFF2-40B4-BE49-F238E27FC236}">
                <a16:creationId xmlns:a16="http://schemas.microsoft.com/office/drawing/2014/main" id="{D4ED8EC3-4D57-4620-93CE-4E6661F09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144437" y="343079"/>
            <a:ext cx="482654" cy="5521414"/>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Shape 49">
            <a:extLst>
              <a:ext uri="{FF2B5EF4-FFF2-40B4-BE49-F238E27FC236}">
                <a16:creationId xmlns:a16="http://schemas.microsoft.com/office/drawing/2014/main" id="{83BCB34A-2F40-4F41-8488-A134C1C155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5" y="340424"/>
            <a:ext cx="4630139" cy="5265795"/>
          </a:xfrm>
          <a:custGeom>
            <a:avLst/>
            <a:gdLst>
              <a:gd name="connsiteX0" fmla="*/ 0 w 4630139"/>
              <a:gd name="connsiteY0" fmla="*/ 0 h 5265795"/>
              <a:gd name="connsiteX1" fmla="*/ 4630139 w 4630139"/>
              <a:gd name="connsiteY1" fmla="*/ 0 h 5265795"/>
              <a:gd name="connsiteX2" fmla="*/ 4630139 w 4630139"/>
              <a:gd name="connsiteY2" fmla="*/ 5265795 h 5265795"/>
              <a:gd name="connsiteX3" fmla="*/ 0 w 4630139"/>
              <a:gd name="connsiteY3" fmla="*/ 5265795 h 5265795"/>
            </a:gdLst>
            <a:ahLst/>
            <a:cxnLst>
              <a:cxn ang="0">
                <a:pos x="connsiteX0" y="connsiteY0"/>
              </a:cxn>
              <a:cxn ang="0">
                <a:pos x="connsiteX1" y="connsiteY1"/>
              </a:cxn>
              <a:cxn ang="0">
                <a:pos x="connsiteX2" y="connsiteY2"/>
              </a:cxn>
              <a:cxn ang="0">
                <a:pos x="connsiteX3" y="connsiteY3"/>
              </a:cxn>
            </a:cxnLst>
            <a:rect l="l" t="t" r="r" b="b"/>
            <a:pathLst>
              <a:path w="4630139" h="5265795">
                <a:moveTo>
                  <a:pt x="0" y="0"/>
                </a:moveTo>
                <a:lnTo>
                  <a:pt x="4630139" y="0"/>
                </a:lnTo>
                <a:lnTo>
                  <a:pt x="4630139" y="5265795"/>
                </a:lnTo>
                <a:lnTo>
                  <a:pt x="0" y="526579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 name="Picture 2" descr="Cartoon of a child with brown hair&#10;&#10;Description automatically generated">
            <a:extLst>
              <a:ext uri="{FF2B5EF4-FFF2-40B4-BE49-F238E27FC236}">
                <a16:creationId xmlns:a16="http://schemas.microsoft.com/office/drawing/2014/main" id="{C91596B9-3790-47C7-02EB-83DB198715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321" y="1452880"/>
            <a:ext cx="4959044" cy="4020846"/>
          </a:xfrm>
          <a:prstGeom prst="rect">
            <a:avLst/>
          </a:prstGeom>
        </p:spPr>
      </p:pic>
      <p:sp>
        <p:nvSpPr>
          <p:cNvPr id="52" name="Freeform: Shape 51">
            <a:extLst>
              <a:ext uri="{FF2B5EF4-FFF2-40B4-BE49-F238E27FC236}">
                <a16:creationId xmlns:a16="http://schemas.microsoft.com/office/drawing/2014/main" id="{F78382DC-4207-465E-B379-1E16448AA2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01780" y="1071563"/>
            <a:ext cx="7290218" cy="5242298"/>
          </a:xfrm>
          <a:custGeom>
            <a:avLst/>
            <a:gdLst>
              <a:gd name="connsiteX0" fmla="*/ 0 w 7290218"/>
              <a:gd name="connsiteY0" fmla="*/ 0 h 5242298"/>
              <a:gd name="connsiteX1" fmla="*/ 7290218 w 7290218"/>
              <a:gd name="connsiteY1" fmla="*/ 0 h 5242298"/>
              <a:gd name="connsiteX2" fmla="*/ 7290218 w 7290218"/>
              <a:gd name="connsiteY2" fmla="*/ 5242298 h 5242298"/>
              <a:gd name="connsiteX3" fmla="*/ 0 w 7290218"/>
              <a:gd name="connsiteY3" fmla="*/ 5242298 h 5242298"/>
            </a:gdLst>
            <a:ahLst/>
            <a:cxnLst>
              <a:cxn ang="0">
                <a:pos x="connsiteX0" y="connsiteY0"/>
              </a:cxn>
              <a:cxn ang="0">
                <a:pos x="connsiteX1" y="connsiteY1"/>
              </a:cxn>
              <a:cxn ang="0">
                <a:pos x="connsiteX2" y="connsiteY2"/>
              </a:cxn>
              <a:cxn ang="0">
                <a:pos x="connsiteX3" y="connsiteY3"/>
              </a:cxn>
            </a:cxnLst>
            <a:rect l="l" t="t" r="r" b="b"/>
            <a:pathLst>
              <a:path w="7290218" h="5242298">
                <a:moveTo>
                  <a:pt x="0" y="0"/>
                </a:moveTo>
                <a:lnTo>
                  <a:pt x="7290218" y="0"/>
                </a:lnTo>
                <a:lnTo>
                  <a:pt x="7290218" y="5242298"/>
                </a:lnTo>
                <a:lnTo>
                  <a:pt x="0" y="524229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7" name="Picture 6" descr="A black cloud with a black background&#10;&#10;Description automatically generated">
            <a:extLst>
              <a:ext uri="{FF2B5EF4-FFF2-40B4-BE49-F238E27FC236}">
                <a16:creationId xmlns:a16="http://schemas.microsoft.com/office/drawing/2014/main" id="{99A0DD24-6FC7-2A70-40B5-C4541525A486}"/>
              </a:ext>
            </a:extLst>
          </p:cNvPr>
          <p:cNvPicPr>
            <a:picLocks noChangeAspect="1"/>
          </p:cNvPicPr>
          <p:nvPr/>
        </p:nvPicPr>
        <p:blipFill>
          <a:blip r:embed="rId3">
            <a:duotone>
              <a:prstClr val="black"/>
              <a:srgbClr val="FFC000">
                <a:tint val="45000"/>
                <a:satMod val="400000"/>
              </a:srgbClr>
            </a:duotone>
            <a:extLst>
              <a:ext uri="{28A0092B-C50C-407E-A947-70E740481C1C}">
                <a14:useLocalDpi xmlns:a14="http://schemas.microsoft.com/office/drawing/2010/main" val="0"/>
              </a:ext>
            </a:extLst>
          </a:blip>
          <a:stretch>
            <a:fillRect/>
          </a:stretch>
        </p:blipFill>
        <p:spPr>
          <a:xfrm>
            <a:off x="4901777" y="1371601"/>
            <a:ext cx="7051812" cy="4414836"/>
          </a:xfrm>
          <a:prstGeom prst="rect">
            <a:avLst/>
          </a:prstGeom>
        </p:spPr>
      </p:pic>
      <p:sp>
        <p:nvSpPr>
          <p:cNvPr id="9" name="TextBox 8">
            <a:extLst>
              <a:ext uri="{FF2B5EF4-FFF2-40B4-BE49-F238E27FC236}">
                <a16:creationId xmlns:a16="http://schemas.microsoft.com/office/drawing/2014/main" id="{4371ABCE-FB58-AE64-DC67-43E040746A60}"/>
              </a:ext>
            </a:extLst>
          </p:cNvPr>
          <p:cNvSpPr txBox="1"/>
          <p:nvPr/>
        </p:nvSpPr>
        <p:spPr>
          <a:xfrm>
            <a:off x="5222007" y="2980454"/>
            <a:ext cx="6345531" cy="1446550"/>
          </a:xfrm>
          <a:prstGeom prst="rect">
            <a:avLst/>
          </a:prstGeom>
          <a:noFill/>
        </p:spPr>
        <p:txBody>
          <a:bodyPr wrap="square" rtlCol="0">
            <a:spAutoFit/>
          </a:bodyPr>
          <a:lstStyle/>
          <a:p>
            <a:pPr algn="ctr"/>
            <a:r>
              <a:rPr lang="en-US" sz="4400" b="1">
                <a:solidFill>
                  <a:srgbClr val="FFFF00"/>
                </a:solidFill>
                <a:latin typeface="Tahoma" panose="020B0604030504040204" pitchFamily="34" charset="0"/>
                <a:ea typeface="Tahoma" panose="020B0604030504040204" pitchFamily="34" charset="0"/>
                <a:cs typeface="Tahoma" panose="020B0604030504040204" pitchFamily="34" charset="0"/>
              </a:rPr>
              <a:t>Em đã áp dụng </a:t>
            </a:r>
          </a:p>
          <a:p>
            <a:pPr algn="ctr"/>
            <a:r>
              <a:rPr lang="en-US" sz="4400" b="1">
                <a:solidFill>
                  <a:srgbClr val="FFFF00"/>
                </a:solidFill>
                <a:latin typeface="Tahoma" panose="020B0604030504040204" pitchFamily="34" charset="0"/>
                <a:ea typeface="Tahoma" panose="020B0604030504040204" pitchFamily="34" charset="0"/>
                <a:cs typeface="Tahoma" panose="020B0604030504040204" pitchFamily="34" charset="0"/>
              </a:rPr>
              <a:t>những tính chất nào?</a:t>
            </a:r>
          </a:p>
        </p:txBody>
      </p:sp>
    </p:spTree>
    <p:extLst>
      <p:ext uri="{BB962C8B-B14F-4D97-AF65-F5344CB8AC3E}">
        <p14:creationId xmlns:p14="http://schemas.microsoft.com/office/powerpoint/2010/main" val="706394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inVertical)">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15E35D0-4246-4262-D067-401A6B7E0C16}"/>
              </a:ext>
            </a:extLst>
          </p:cNvPr>
          <p:cNvGrpSpPr/>
          <p:nvPr/>
        </p:nvGrpSpPr>
        <p:grpSpPr>
          <a:xfrm>
            <a:off x="-305182" y="-63516"/>
            <a:ext cx="12535431" cy="6921516"/>
            <a:chOff x="-280811" y="-50104"/>
            <a:chExt cx="12535431" cy="6921516"/>
          </a:xfrm>
        </p:grpSpPr>
        <p:pic>
          <p:nvPicPr>
            <p:cNvPr id="7" name="Picture 6">
              <a:extLst>
                <a:ext uri="{FF2B5EF4-FFF2-40B4-BE49-F238E27FC236}">
                  <a16:creationId xmlns:a16="http://schemas.microsoft.com/office/drawing/2014/main" id="{F8247E93-244C-7E3C-32E4-2B3B5A007734}"/>
                </a:ext>
              </a:extLst>
            </p:cNvPr>
            <p:cNvPicPr>
              <a:picLocks noChangeAspect="1"/>
            </p:cNvPicPr>
            <p:nvPr/>
          </p:nvPicPr>
          <p:blipFill rotWithShape="1">
            <a:blip r:embed="rId2"/>
            <a:srcRect t="-1" r="1267" b="20"/>
            <a:stretch/>
          </p:blipFill>
          <p:spPr>
            <a:xfrm>
              <a:off x="-62620" y="-50104"/>
              <a:ext cx="12317240" cy="6908104"/>
            </a:xfrm>
            <a:prstGeom prst="rect">
              <a:avLst/>
            </a:prstGeom>
            <a:ln w="6350">
              <a:solidFill>
                <a:schemeClr val="tx1"/>
              </a:solidFill>
            </a:ln>
          </p:spPr>
        </p:pic>
        <p:pic>
          <p:nvPicPr>
            <p:cNvPr id="8" name="Picture 7" descr="Không có mô tả ảnh.">
              <a:extLst>
                <a:ext uri="{FF2B5EF4-FFF2-40B4-BE49-F238E27FC236}">
                  <a16:creationId xmlns:a16="http://schemas.microsoft.com/office/drawing/2014/main" id="{45395A1B-1799-430B-0E7F-FA5DB7F9AFC1}"/>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4415" b="95791" l="9926" r="89578">
                          <a14:foregroundMark x1="41439" y1="7803" x2="57568" y2="15400"/>
                          <a14:foregroundMark x1="48139" y1="4620" x2="59926" y2="15606"/>
                          <a14:foregroundMark x1="30397" y1="26489" x2="54218" y2="42608"/>
                          <a14:foregroundMark x1="57568" y1="22690" x2="70223" y2="37680"/>
                          <a14:foregroundMark x1="55211" y1="26078" x2="67122" y2="33470"/>
                          <a14:foregroundMark x1="29529" y1="30903" x2="43921" y2="36242"/>
                          <a14:foregroundMark x1="36476" y1="29671" x2="41687" y2="29261"/>
                          <a14:foregroundMark x1="36725" y1="24743" x2="42432" y2="29466"/>
                          <a14:foregroundMark x1="48015" y1="89630" x2="46774" y2="94456"/>
                          <a14:foregroundMark x1="62779" y1="89014" x2="65261" y2="94251"/>
                          <a14:foregroundMark x1="58313" y1="92197" x2="63275" y2="95791"/>
                          <a14:foregroundMark x1="33375" y1="28645" x2="32878" y2="39220"/>
                          <a14:foregroundMark x1="59057" y1="28337" x2="67370" y2="30903"/>
                          <a14:foregroundMark x1="62779" y1="24743" x2="66005" y2="34805"/>
                        </a14:backgroundRemoval>
                      </a14:imgEffect>
                    </a14:imgLayer>
                  </a14:imgProps>
                </a:ext>
                <a:ext uri="{28A0092B-C50C-407E-A947-70E740481C1C}">
                  <a14:useLocalDpi xmlns:a14="http://schemas.microsoft.com/office/drawing/2010/main" val="0"/>
                </a:ext>
              </a:extLst>
            </a:blip>
            <a:stretch>
              <a:fillRect/>
            </a:stretch>
          </p:blipFill>
          <p:spPr bwMode="auto">
            <a:xfrm>
              <a:off x="-280811" y="4856268"/>
              <a:ext cx="1667531" cy="2015144"/>
            </a:xfrm>
            <a:prstGeom prst="rect">
              <a:avLst/>
            </a:prstGeom>
            <a:noFill/>
            <a:ln w="6350">
              <a:noFill/>
            </a:ln>
            <a:extLst>
              <a:ext uri="{909E8E84-426E-40DD-AFC4-6F175D3DCCD1}">
                <a14:hiddenFill xmlns:a14="http://schemas.microsoft.com/office/drawing/2010/main">
                  <a:solidFill>
                    <a:srgbClr val="FFFFFF"/>
                  </a:solidFill>
                </a14:hiddenFill>
              </a:ext>
            </a:extLst>
          </p:spPr>
        </p:pic>
      </p:grpSp>
      <p:pic>
        <p:nvPicPr>
          <p:cNvPr id="2" name="Picture 1">
            <a:extLst>
              <a:ext uri="{FF2B5EF4-FFF2-40B4-BE49-F238E27FC236}">
                <a16:creationId xmlns:a16="http://schemas.microsoft.com/office/drawing/2014/main" id="{18F6B6F4-404E-D484-A3C1-4A67644D3B8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6509" y="1203472"/>
            <a:ext cx="3978184" cy="2616688"/>
          </a:xfrm>
          <a:prstGeom prst="rect">
            <a:avLst/>
          </a:prstGeom>
        </p:spPr>
      </p:pic>
      <p:pic>
        <p:nvPicPr>
          <p:cNvPr id="3" name="Picture 2">
            <a:extLst>
              <a:ext uri="{FF2B5EF4-FFF2-40B4-BE49-F238E27FC236}">
                <a16:creationId xmlns:a16="http://schemas.microsoft.com/office/drawing/2014/main" id="{47A52FCF-E456-84ED-8EF4-5C5C31CAFE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1133205" y="1114988"/>
            <a:ext cx="3623471" cy="2383372"/>
          </a:xfrm>
          <a:prstGeom prst="rect">
            <a:avLst/>
          </a:prstGeom>
        </p:spPr>
      </p:pic>
      <p:sp>
        <p:nvSpPr>
          <p:cNvPr id="4" name="TextBox 3">
            <a:extLst>
              <a:ext uri="{FF2B5EF4-FFF2-40B4-BE49-F238E27FC236}">
                <a16:creationId xmlns:a16="http://schemas.microsoft.com/office/drawing/2014/main" id="{F9DE866C-F432-8551-3E6F-DB39924ECB6C}"/>
              </a:ext>
            </a:extLst>
          </p:cNvPr>
          <p:cNvSpPr txBox="1"/>
          <p:nvPr/>
        </p:nvSpPr>
        <p:spPr>
          <a:xfrm>
            <a:off x="1440067" y="1689067"/>
            <a:ext cx="2990027" cy="1200329"/>
          </a:xfrm>
          <a:prstGeom prst="rect">
            <a:avLst/>
          </a:prstGeom>
          <a:noFill/>
        </p:spPr>
        <p:txBody>
          <a:bodyPr wrap="square" rtlCol="0">
            <a:spAutoFit/>
          </a:bodyPr>
          <a:lstStyle/>
          <a:p>
            <a:pPr algn="ctr"/>
            <a:r>
              <a:rPr lang="en-US" sz="2400" b="1" dirty="0" err="1">
                <a:solidFill>
                  <a:srgbClr val="002060"/>
                </a:solidFill>
              </a:rPr>
              <a:t>Tính</a:t>
            </a:r>
            <a:r>
              <a:rPr lang="en-US" sz="2400" b="1" dirty="0">
                <a:solidFill>
                  <a:srgbClr val="002060"/>
                </a:solidFill>
              </a:rPr>
              <a:t> </a:t>
            </a:r>
            <a:r>
              <a:rPr lang="en-US" sz="2400" b="1" dirty="0" err="1">
                <a:solidFill>
                  <a:srgbClr val="002060"/>
                </a:solidFill>
              </a:rPr>
              <a:t>chất</a:t>
            </a:r>
            <a:r>
              <a:rPr lang="en-US" sz="2400" b="1" dirty="0">
                <a:solidFill>
                  <a:srgbClr val="002060"/>
                </a:solidFill>
              </a:rPr>
              <a:t> </a:t>
            </a:r>
            <a:r>
              <a:rPr lang="en-US" sz="2400" b="1" dirty="0" err="1">
                <a:solidFill>
                  <a:srgbClr val="002060"/>
                </a:solidFill>
              </a:rPr>
              <a:t>giao</a:t>
            </a:r>
            <a:r>
              <a:rPr lang="en-US" sz="2400" b="1" dirty="0">
                <a:solidFill>
                  <a:srgbClr val="002060"/>
                </a:solidFill>
              </a:rPr>
              <a:t> </a:t>
            </a:r>
            <a:r>
              <a:rPr lang="en-US" sz="2400" b="1" dirty="0" err="1">
                <a:solidFill>
                  <a:srgbClr val="002060"/>
                </a:solidFill>
              </a:rPr>
              <a:t>hoán</a:t>
            </a:r>
            <a:r>
              <a:rPr lang="en-US" sz="2400" b="1" dirty="0">
                <a:solidFill>
                  <a:srgbClr val="002060"/>
                </a:solidFill>
              </a:rPr>
              <a:t> </a:t>
            </a:r>
          </a:p>
          <a:p>
            <a:pPr algn="ctr"/>
            <a:r>
              <a:rPr lang="en-US" sz="2400" b="1" dirty="0" err="1">
                <a:solidFill>
                  <a:srgbClr val="002060"/>
                </a:solidFill>
              </a:rPr>
              <a:t>của</a:t>
            </a:r>
            <a:r>
              <a:rPr lang="en-US" sz="2400" b="1" dirty="0">
                <a:solidFill>
                  <a:srgbClr val="002060"/>
                </a:solidFill>
              </a:rPr>
              <a:t> </a:t>
            </a:r>
            <a:r>
              <a:rPr lang="en-US" sz="2400" b="1" dirty="0" err="1">
                <a:solidFill>
                  <a:srgbClr val="002060"/>
                </a:solidFill>
              </a:rPr>
              <a:t>phép</a:t>
            </a:r>
            <a:r>
              <a:rPr lang="en-US" sz="2400" b="1" dirty="0">
                <a:solidFill>
                  <a:srgbClr val="002060"/>
                </a:solidFill>
              </a:rPr>
              <a:t> </a:t>
            </a:r>
            <a:r>
              <a:rPr lang="en-US" sz="2400" b="1" dirty="0" err="1">
                <a:solidFill>
                  <a:srgbClr val="002060"/>
                </a:solidFill>
              </a:rPr>
              <a:t>cộng</a:t>
            </a:r>
            <a:r>
              <a:rPr lang="en-US" sz="2400" b="1" dirty="0">
                <a:solidFill>
                  <a:srgbClr val="002060"/>
                </a:solidFill>
              </a:rPr>
              <a:t>:</a:t>
            </a:r>
          </a:p>
          <a:p>
            <a:pPr algn="ctr"/>
            <a:r>
              <a:rPr lang="en-US" sz="2400" b="1" dirty="0">
                <a:solidFill>
                  <a:srgbClr val="002060"/>
                </a:solidFill>
              </a:rPr>
              <a:t>a + b = b + a</a:t>
            </a:r>
          </a:p>
        </p:txBody>
      </p:sp>
      <p:sp>
        <p:nvSpPr>
          <p:cNvPr id="5" name="TextBox 4">
            <a:extLst>
              <a:ext uri="{FF2B5EF4-FFF2-40B4-BE49-F238E27FC236}">
                <a16:creationId xmlns:a16="http://schemas.microsoft.com/office/drawing/2014/main" id="{03E85FAD-1B17-09E4-26C7-CFE61C12BFCF}"/>
              </a:ext>
            </a:extLst>
          </p:cNvPr>
          <p:cNvSpPr txBox="1"/>
          <p:nvPr/>
        </p:nvSpPr>
        <p:spPr>
          <a:xfrm>
            <a:off x="7661696" y="1689067"/>
            <a:ext cx="3090237" cy="1569660"/>
          </a:xfrm>
          <a:prstGeom prst="rect">
            <a:avLst/>
          </a:prstGeom>
          <a:noFill/>
        </p:spPr>
        <p:txBody>
          <a:bodyPr wrap="square" rtlCol="0">
            <a:spAutoFit/>
          </a:bodyPr>
          <a:lstStyle/>
          <a:p>
            <a:pPr algn="ctr"/>
            <a:r>
              <a:rPr lang="en-US" sz="2400" b="1" dirty="0" err="1">
                <a:solidFill>
                  <a:srgbClr val="002060"/>
                </a:solidFill>
              </a:rPr>
              <a:t>Tính</a:t>
            </a:r>
            <a:r>
              <a:rPr lang="en-US" sz="2400" b="1" dirty="0">
                <a:solidFill>
                  <a:srgbClr val="002060"/>
                </a:solidFill>
              </a:rPr>
              <a:t> </a:t>
            </a:r>
            <a:r>
              <a:rPr lang="en-US" sz="2400" b="1" dirty="0" err="1">
                <a:solidFill>
                  <a:srgbClr val="002060"/>
                </a:solidFill>
              </a:rPr>
              <a:t>chất</a:t>
            </a:r>
            <a:r>
              <a:rPr lang="en-US" sz="2400" b="1" dirty="0">
                <a:solidFill>
                  <a:srgbClr val="002060"/>
                </a:solidFill>
              </a:rPr>
              <a:t> </a:t>
            </a:r>
          </a:p>
          <a:p>
            <a:pPr algn="ctr"/>
            <a:r>
              <a:rPr lang="en-US" sz="2400" b="1" dirty="0" err="1">
                <a:solidFill>
                  <a:srgbClr val="002060"/>
                </a:solidFill>
              </a:rPr>
              <a:t>trừ</a:t>
            </a:r>
            <a:r>
              <a:rPr lang="en-US" sz="2400" b="1" dirty="0">
                <a:solidFill>
                  <a:srgbClr val="002060"/>
                </a:solidFill>
              </a:rPr>
              <a:t> </a:t>
            </a:r>
            <a:r>
              <a:rPr lang="en-US" sz="2400" b="1" dirty="0" err="1">
                <a:solidFill>
                  <a:srgbClr val="002060"/>
                </a:solidFill>
              </a:rPr>
              <a:t>đi</a:t>
            </a:r>
            <a:r>
              <a:rPr lang="en-US" sz="2400" b="1" dirty="0">
                <a:solidFill>
                  <a:srgbClr val="002060"/>
                </a:solidFill>
              </a:rPr>
              <a:t> </a:t>
            </a:r>
            <a:r>
              <a:rPr lang="en-US" sz="2400" b="1" dirty="0" err="1">
                <a:solidFill>
                  <a:srgbClr val="002060"/>
                </a:solidFill>
              </a:rPr>
              <a:t>một</a:t>
            </a:r>
            <a:r>
              <a:rPr lang="en-US" sz="2400" b="1" dirty="0">
                <a:solidFill>
                  <a:srgbClr val="002060"/>
                </a:solidFill>
              </a:rPr>
              <a:t> </a:t>
            </a:r>
            <a:r>
              <a:rPr lang="en-US" sz="2400" b="1" dirty="0" err="1">
                <a:solidFill>
                  <a:srgbClr val="002060"/>
                </a:solidFill>
              </a:rPr>
              <a:t>tổng</a:t>
            </a:r>
            <a:r>
              <a:rPr lang="en-US" sz="2400" b="1" dirty="0">
                <a:solidFill>
                  <a:srgbClr val="002060"/>
                </a:solidFill>
              </a:rPr>
              <a:t>:</a:t>
            </a:r>
          </a:p>
          <a:p>
            <a:pPr algn="ctr"/>
            <a:r>
              <a:rPr lang="en-US" sz="2400" b="1" dirty="0">
                <a:solidFill>
                  <a:srgbClr val="002060"/>
                </a:solidFill>
              </a:rPr>
              <a:t>a – (b + c)  = a – b – c </a:t>
            </a:r>
          </a:p>
          <a:p>
            <a:pPr algn="ctr"/>
            <a:r>
              <a:rPr lang="en-US" sz="2400" b="1" dirty="0">
                <a:solidFill>
                  <a:srgbClr val="002060"/>
                </a:solidFill>
              </a:rPr>
              <a:t>                    = a – c – b </a:t>
            </a:r>
          </a:p>
        </p:txBody>
      </p:sp>
      <p:pic>
        <p:nvPicPr>
          <p:cNvPr id="10" name="Picture 9" descr="Cartoon of a child pointing at a light bulb&#10;&#10;Description automatically generated">
            <a:extLst>
              <a:ext uri="{FF2B5EF4-FFF2-40B4-BE49-F238E27FC236}">
                <a16:creationId xmlns:a16="http://schemas.microsoft.com/office/drawing/2014/main" id="{D052C986-DB82-D708-B0F5-FD1A47461EF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78655" y="3074061"/>
            <a:ext cx="4527828" cy="3671212"/>
          </a:xfrm>
          <a:prstGeom prst="rect">
            <a:avLst/>
          </a:prstGeom>
        </p:spPr>
      </p:pic>
    </p:spTree>
    <p:extLst>
      <p:ext uri="{BB962C8B-B14F-4D97-AF65-F5344CB8AC3E}">
        <p14:creationId xmlns:p14="http://schemas.microsoft.com/office/powerpoint/2010/main" val="1330320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down)">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00"/>
                                        <p:tgtEl>
                                          <p:spTgt spid="5"/>
                                        </p:tgtEl>
                                      </p:cBhvr>
                                    </p:animEffect>
                                  </p:childTnLst>
                                </p:cTn>
                              </p:par>
                              <p:par>
                                <p:cTn id="16" presetID="22" presetClass="entr" presetSubtype="4" fill="hold"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wipe(down)">
                                      <p:cBhvr>
                                        <p:cTn id="1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7" name="Rectangle 5126">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4D58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129" name="Rectangle 5128">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2C1AFD93-50F1-8C54-1CF0-F374191C4AA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3784" b="96892" l="2000" r="97556">
                        <a14:foregroundMark x1="25222" y1="3784" x2="77444" y2="11216"/>
                        <a14:foregroundMark x1="20667" y1="12027" x2="93556" y2="14730"/>
                        <a14:foregroundMark x1="63000" y1="2432" x2="89333" y2="4324"/>
                        <a14:foregroundMark x1="89333" y1="4324" x2="97222" y2="12568"/>
                        <a14:foregroundMark x1="97222" y1="12568" x2="97556" y2="13784"/>
                        <a14:foregroundMark x1="92333" y1="3784" x2="94222" y2="5676"/>
                        <a14:foregroundMark x1="21556" y1="10946" x2="21778" y2="35000"/>
                        <a14:foregroundMark x1="18000" y1="22027" x2="19778" y2="34054"/>
                        <a14:foregroundMark x1="19778" y1="34054" x2="25667" y2="48378"/>
                        <a14:foregroundMark x1="25667" y1="48378" x2="27111" y2="49865"/>
                        <a14:foregroundMark x1="14556" y1="33514" x2="44556" y2="52703"/>
                        <a14:foregroundMark x1="44556" y1="52703" x2="78222" y2="57838"/>
                        <a14:foregroundMark x1="19444" y1="40135" x2="21667" y2="45811"/>
                        <a14:foregroundMark x1="28000" y1="8243" x2="35000" y2="10676"/>
                        <a14:foregroundMark x1="72000" y1="49595" x2="78556" y2="57838"/>
                        <a14:foregroundMark x1="80667" y1="55946" x2="84556" y2="76757"/>
                        <a14:foregroundMark x1="84556" y1="76757" x2="80667" y2="84595"/>
                        <a14:foregroundMark x1="80667" y1="84595" x2="2000" y2="89324"/>
                        <a14:foregroundMark x1="3000" y1="92162" x2="48556" y2="96892"/>
                        <a14:foregroundMark x1="48556" y1="96892" x2="69556" y2="92568"/>
                        <a14:backgroundMark x1="4111" y1="4865" x2="5667" y2="36622"/>
                        <a14:backgroundMark x1="32889" y1="20946" x2="75333" y2="25135"/>
                      </a14:backgroundRemoval>
                    </a14:imgEffect>
                  </a14:imgLayer>
                </a14:imgProps>
              </a:ext>
            </a:extLst>
          </a:blip>
          <a:stretch>
            <a:fillRect/>
          </a:stretch>
        </p:blipFill>
        <p:spPr>
          <a:xfrm>
            <a:off x="2369422" y="979265"/>
            <a:ext cx="6889064" cy="4771327"/>
          </a:xfrm>
          <a:prstGeom prst="rect">
            <a:avLst/>
          </a:prstGeom>
        </p:spPr>
      </p:pic>
      <p:pic>
        <p:nvPicPr>
          <p:cNvPr id="6" name="Picture 5">
            <a:extLst>
              <a:ext uri="{FF2B5EF4-FFF2-40B4-BE49-F238E27FC236}">
                <a16:creationId xmlns:a16="http://schemas.microsoft.com/office/drawing/2014/main" id="{931BA2A6-39B5-6A73-C79C-6983110C2660}"/>
              </a:ext>
            </a:extLst>
          </p:cNvPr>
          <p:cNvPicPr>
            <a:picLocks noChangeAspect="1"/>
          </p:cNvPicPr>
          <p:nvPr/>
        </p:nvPicPr>
        <p:blipFill>
          <a:blip r:embed="rId6"/>
          <a:stretch>
            <a:fillRect/>
          </a:stretch>
        </p:blipFill>
        <p:spPr>
          <a:xfrm>
            <a:off x="3888190" y="4355462"/>
            <a:ext cx="1805640" cy="1717385"/>
          </a:xfrm>
          <a:prstGeom prst="rect">
            <a:avLst/>
          </a:prstGeom>
        </p:spPr>
      </p:pic>
      <p:pic>
        <p:nvPicPr>
          <p:cNvPr id="7" name="Picture 6">
            <a:extLst>
              <a:ext uri="{FF2B5EF4-FFF2-40B4-BE49-F238E27FC236}">
                <a16:creationId xmlns:a16="http://schemas.microsoft.com/office/drawing/2014/main" id="{A0FC4AFF-E147-52FC-A993-6EBFC3287350}"/>
              </a:ext>
            </a:extLst>
          </p:cNvPr>
          <p:cNvPicPr>
            <a:picLocks noChangeAspect="1"/>
          </p:cNvPicPr>
          <p:nvPr/>
        </p:nvPicPr>
        <p:blipFill>
          <a:blip r:embed="rId6"/>
          <a:stretch>
            <a:fillRect/>
          </a:stretch>
        </p:blipFill>
        <p:spPr>
          <a:xfrm>
            <a:off x="7490472" y="3801863"/>
            <a:ext cx="1805640" cy="1717385"/>
          </a:xfrm>
          <a:prstGeom prst="rect">
            <a:avLst/>
          </a:prstGeom>
        </p:spPr>
      </p:pic>
      <p:pic>
        <p:nvPicPr>
          <p:cNvPr id="8" name="Picture 7">
            <a:extLst>
              <a:ext uri="{FF2B5EF4-FFF2-40B4-BE49-F238E27FC236}">
                <a16:creationId xmlns:a16="http://schemas.microsoft.com/office/drawing/2014/main" id="{F953B314-7198-6DC0-4729-18174EC107D3}"/>
              </a:ext>
            </a:extLst>
          </p:cNvPr>
          <p:cNvPicPr>
            <a:picLocks noChangeAspect="1"/>
          </p:cNvPicPr>
          <p:nvPr/>
        </p:nvPicPr>
        <p:blipFill>
          <a:blip r:embed="rId6"/>
          <a:stretch>
            <a:fillRect/>
          </a:stretch>
        </p:blipFill>
        <p:spPr>
          <a:xfrm>
            <a:off x="3552303" y="2084478"/>
            <a:ext cx="1805640" cy="1717385"/>
          </a:xfrm>
          <a:prstGeom prst="rect">
            <a:avLst/>
          </a:prstGeom>
        </p:spPr>
      </p:pic>
      <p:pic>
        <p:nvPicPr>
          <p:cNvPr id="4" name="Picture 3">
            <a:extLst>
              <a:ext uri="{FF2B5EF4-FFF2-40B4-BE49-F238E27FC236}">
                <a16:creationId xmlns:a16="http://schemas.microsoft.com/office/drawing/2014/main" id="{58F8B7A4-1C8F-5946-6655-522263223583}"/>
              </a:ext>
            </a:extLst>
          </p:cNvPr>
          <p:cNvPicPr>
            <a:picLocks noChangeAspect="1"/>
          </p:cNvPicPr>
          <p:nvPr/>
        </p:nvPicPr>
        <p:blipFill>
          <a:blip r:embed="rId7"/>
          <a:stretch>
            <a:fillRect/>
          </a:stretch>
        </p:blipFill>
        <p:spPr>
          <a:xfrm>
            <a:off x="9296112" y="480060"/>
            <a:ext cx="2381250" cy="2381250"/>
          </a:xfrm>
          <a:prstGeom prst="rect">
            <a:avLst/>
          </a:prstGeom>
        </p:spPr>
      </p:pic>
      <p:pic>
        <p:nvPicPr>
          <p:cNvPr id="10" name="Am-thanh-phep-thuat-www_nhacchuongvui_com">
            <a:hlinkClick r:id="" action="ppaction://media"/>
            <a:extLst>
              <a:ext uri="{FF2B5EF4-FFF2-40B4-BE49-F238E27FC236}">
                <a16:creationId xmlns:a16="http://schemas.microsoft.com/office/drawing/2014/main" id="{E53CE2AC-3D82-D4E7-3980-33653BD6EA64}"/>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374506" y="6172201"/>
            <a:ext cx="640291" cy="640291"/>
          </a:xfrm>
          <a:prstGeom prst="rect">
            <a:avLst/>
          </a:prstGeom>
        </p:spPr>
      </p:pic>
      <p:pic>
        <p:nvPicPr>
          <p:cNvPr id="3" name="Picture 2">
            <a:extLst>
              <a:ext uri="{FF2B5EF4-FFF2-40B4-BE49-F238E27FC236}">
                <a16:creationId xmlns:a16="http://schemas.microsoft.com/office/drawing/2014/main" id="{62B613F1-F4EF-C6A4-8005-705555E95618}"/>
              </a:ext>
            </a:extLst>
          </p:cNvPr>
          <p:cNvPicPr>
            <a:picLocks noChangeAspect="1"/>
          </p:cNvPicPr>
          <p:nvPr/>
        </p:nvPicPr>
        <p:blipFill>
          <a:blip r:embed="rId6"/>
          <a:stretch>
            <a:fillRect/>
          </a:stretch>
        </p:blipFill>
        <p:spPr>
          <a:xfrm>
            <a:off x="5968865" y="406132"/>
            <a:ext cx="1805640" cy="1717385"/>
          </a:xfrm>
          <a:prstGeom prst="rect">
            <a:avLst/>
          </a:prstGeom>
        </p:spPr>
      </p:pic>
      <p:pic>
        <p:nvPicPr>
          <p:cNvPr id="2" name="Picture 1" descr="Không có mô tả ảnh.">
            <a:extLst>
              <a:ext uri="{FF2B5EF4-FFF2-40B4-BE49-F238E27FC236}">
                <a16:creationId xmlns:a16="http://schemas.microsoft.com/office/drawing/2014/main" id="{F5BB7E13-839C-B692-C3CB-11E6531DD443}"/>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4415" b="95791" l="9926" r="89578">
                        <a14:foregroundMark x1="41439" y1="7803" x2="57568" y2="15400"/>
                        <a14:foregroundMark x1="48139" y1="4620" x2="59926" y2="15606"/>
                        <a14:foregroundMark x1="30397" y1="26489" x2="54218" y2="42608"/>
                        <a14:foregroundMark x1="57568" y1="22690" x2="70223" y2="37680"/>
                        <a14:foregroundMark x1="55211" y1="26078" x2="67122" y2="33470"/>
                        <a14:foregroundMark x1="29529" y1="30903" x2="43921" y2="36242"/>
                        <a14:foregroundMark x1="36476" y1="29671" x2="41687" y2="29261"/>
                        <a14:foregroundMark x1="36725" y1="24743" x2="42432" y2="29466"/>
                        <a14:foregroundMark x1="48015" y1="89630" x2="46774" y2="94456"/>
                        <a14:foregroundMark x1="62779" y1="89014" x2="65261" y2="94251"/>
                        <a14:foregroundMark x1="58313" y1="92197" x2="63275" y2="95791"/>
                        <a14:foregroundMark x1="33375" y1="28645" x2="32878" y2="39220"/>
                        <a14:foregroundMark x1="59057" y1="28337" x2="67370" y2="30903"/>
                        <a14:foregroundMark x1="62779" y1="24743" x2="66005" y2="34805"/>
                      </a14:backgroundRemoval>
                    </a14:imgEffect>
                  </a14:imgLayer>
                </a14:imgProps>
              </a:ext>
              <a:ext uri="{28A0092B-C50C-407E-A947-70E740481C1C}">
                <a14:useLocalDpi xmlns:a14="http://schemas.microsoft.com/office/drawing/2010/main" val="0"/>
              </a:ext>
            </a:extLst>
          </a:blip>
          <a:stretch>
            <a:fillRect/>
          </a:stretch>
        </p:blipFill>
        <p:spPr bwMode="auto">
          <a:xfrm>
            <a:off x="3311691" y="1176336"/>
            <a:ext cx="2271134" cy="27445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7956140"/>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path" presetSubtype="0" accel="50000" decel="50000" fill="hold" nodeType="clickEffect">
                                  <p:stCondLst>
                                    <p:cond delay="0"/>
                                  </p:stCondLst>
                                  <p:childTnLst>
                                    <p:animMotion origin="layout" path="M -0.00703 -0.03843 L 0.05391 -0.08959 C 0.06641 -0.1 0.08672 -0.11227 0.10769 -0.12431 C 0.13217 -0.13843 0.1517 -0.14954 0.16563 -0.15417 L 0.23347 -0.17755 " pathEditMode="relative" rAng="20520000" ptsTypes="AAAAA">
                                      <p:cBhvr>
                                        <p:cTn id="6" dur="2000" fill="hold"/>
                                        <p:tgtEl>
                                          <p:spTgt spid="2"/>
                                        </p:tgtEl>
                                        <p:attrNameLst>
                                          <p:attrName>ppt_x</p:attrName>
                                          <p:attrName>ppt_y</p:attrName>
                                        </p:attrNameLst>
                                      </p:cBhvr>
                                      <p:rCtr x="11862" y="-7847"/>
                                    </p:animMotion>
                                  </p:childTnLst>
                                </p:cTn>
                              </p:par>
                              <p:par>
                                <p:cTn id="7" presetID="1" presetClass="mediacall" presetSubtype="0" fill="hold" nodeType="withEffect">
                                  <p:stCondLst>
                                    <p:cond delay="0"/>
                                  </p:stCondLst>
                                  <p:childTnLst>
                                    <p:cmd type="call" cmd="playFrom(0.0)">
                                      <p:cBhvr>
                                        <p:cTn id="8" dur="5193"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9" fill="hold" display="0">
                  <p:stCondLst>
                    <p:cond delay="indefinite"/>
                  </p:stCondLst>
                  <p:endCondLst>
                    <p:cond evt="onStopAudio" delay="0">
                      <p:tgtEl>
                        <p:sldTgt/>
                      </p:tgtEl>
                    </p:cond>
                  </p:endCondLst>
                </p:cTn>
                <p:tgtEl>
                  <p:spTgt spid="10"/>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4A89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1FE9ACD4-58E0-E7DC-886F-C0080AE536A5}"/>
              </a:ext>
            </a:extLst>
          </p:cNvPr>
          <p:cNvSpPr txBox="1"/>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lnSpc>
                <a:spcPct val="90000"/>
              </a:lnSpc>
              <a:spcBef>
                <a:spcPct val="0"/>
              </a:spcBef>
              <a:spcAft>
                <a:spcPts val="600"/>
              </a:spcAft>
            </a:pPr>
            <a:r>
              <a:rPr lang="en-US" sz="4000" b="1" kern="1200">
                <a:solidFill>
                  <a:srgbClr val="FFC000"/>
                </a:solidFill>
                <a:latin typeface="UTM Futura Extra" panose="02040603050506020204" pitchFamily="18" charset="0"/>
                <a:ea typeface="+mj-ea"/>
                <a:cs typeface="+mj-cs"/>
              </a:rPr>
              <a:t>Thảo luận nhóm </a:t>
            </a:r>
          </a:p>
        </p:txBody>
      </p:sp>
      <p:pic>
        <p:nvPicPr>
          <p:cNvPr id="3" name="Picture 2" descr="A group of kids sitting at a table reading books&#10;&#10;Description automatically generated">
            <a:extLst>
              <a:ext uri="{FF2B5EF4-FFF2-40B4-BE49-F238E27FC236}">
                <a16:creationId xmlns:a16="http://schemas.microsoft.com/office/drawing/2014/main" id="{F673B3E3-0397-5EF0-4CE5-8D21498C5B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38600" y="1540404"/>
            <a:ext cx="7188199" cy="3773803"/>
          </a:xfrm>
          <a:prstGeom prst="rect">
            <a:avLst/>
          </a:prstGeom>
        </p:spPr>
      </p:pic>
      <p:sp>
        <p:nvSpPr>
          <p:cNvPr id="5" name="文本框 5">
            <a:extLst>
              <a:ext uri="{FF2B5EF4-FFF2-40B4-BE49-F238E27FC236}">
                <a16:creationId xmlns:a16="http://schemas.microsoft.com/office/drawing/2014/main" id="{5BE274E7-346C-0610-5BAA-1066AE397682}"/>
              </a:ext>
            </a:extLst>
          </p:cNvPr>
          <p:cNvSpPr txBox="1"/>
          <p:nvPr/>
        </p:nvSpPr>
        <p:spPr>
          <a:xfrm>
            <a:off x="1280160" y="129241"/>
            <a:ext cx="10815494" cy="1815882"/>
          </a:xfrm>
          <a:prstGeom prst="rect">
            <a:avLst/>
          </a:prstGeom>
          <a:noFill/>
        </p:spPr>
        <p:txBody>
          <a:bodyPr wrap="square" rtlCol="0">
            <a:spAutoFit/>
          </a:bodyPr>
          <a:lstStyle/>
          <a:p>
            <a:pPr algn="just"/>
            <a:r>
              <a:rPr lang="en-US" sz="2800" b="1" i="1" u="sng" dirty="0" err="1">
                <a:solidFill>
                  <a:schemeClr val="tx1">
                    <a:lumMod val="95000"/>
                    <a:lumOff val="5000"/>
                  </a:schemeClr>
                </a:solidFill>
                <a:latin typeface="UTM Neo Sans Intel" pitchFamily="18" charset="0"/>
              </a:rPr>
              <a:t>Bài</a:t>
            </a:r>
            <a:r>
              <a:rPr lang="en-US" sz="2800" b="1" i="1" u="sng" dirty="0">
                <a:solidFill>
                  <a:schemeClr val="tx1">
                    <a:lumMod val="95000"/>
                    <a:lumOff val="5000"/>
                  </a:schemeClr>
                </a:solidFill>
                <a:latin typeface="UTM Neo Sans Intel" pitchFamily="18" charset="0"/>
              </a:rPr>
              <a:t> 4</a:t>
            </a:r>
            <a:r>
              <a:rPr lang="en-US" sz="2800" b="1" i="1" dirty="0">
                <a:solidFill>
                  <a:schemeClr val="tx1">
                    <a:lumMod val="95000"/>
                    <a:lumOff val="5000"/>
                  </a:schemeClr>
                </a:solidFill>
                <a:latin typeface="UTM Neo Sans Intel" pitchFamily="18" charset="0"/>
              </a:rPr>
              <a:t>: </a:t>
            </a:r>
            <a:r>
              <a:rPr lang="vi-VN" sz="2800" b="1" i="1" dirty="0">
                <a:solidFill>
                  <a:schemeClr val="tx1">
                    <a:lumMod val="95000"/>
                    <a:lumOff val="5000"/>
                  </a:schemeClr>
                </a:solidFill>
              </a:rPr>
              <a:t>Một người đi xe đạp trong ba giờ đi được 36 km. Giờ thứ nhất người đó đi được 13,25km, giờ thứ hai người đó đi được ít hơn giờ thứ nhất 1</a:t>
            </a:r>
            <a:r>
              <a:rPr lang="en-US" sz="2800" b="1" i="1" dirty="0">
                <a:solidFill>
                  <a:schemeClr val="tx1">
                    <a:lumMod val="95000"/>
                    <a:lumOff val="5000"/>
                  </a:schemeClr>
                </a:solidFill>
                <a:latin typeface="UTM Neo Sans Intel" pitchFamily="18" charset="0"/>
              </a:rPr>
              <a:t>,</a:t>
            </a:r>
            <a:r>
              <a:rPr lang="vi-VN" sz="2800" b="1" i="1" dirty="0">
                <a:solidFill>
                  <a:schemeClr val="tx1">
                    <a:lumMod val="95000"/>
                    <a:lumOff val="5000"/>
                  </a:schemeClr>
                </a:solidFill>
              </a:rPr>
              <a:t>5 km. Hỏi giờ thứ ba người đó đi được bao nhiêu k</a:t>
            </a:r>
            <a:r>
              <a:rPr lang="en-US" sz="2800" b="1" i="1" dirty="0">
                <a:solidFill>
                  <a:schemeClr val="tx1">
                    <a:lumMod val="95000"/>
                    <a:lumOff val="5000"/>
                  </a:schemeClr>
                </a:solidFill>
              </a:rPr>
              <a:t>i-</a:t>
            </a:r>
            <a:r>
              <a:rPr lang="en-US" sz="2800" b="1" i="1" dirty="0" err="1">
                <a:solidFill>
                  <a:schemeClr val="tx1">
                    <a:lumMod val="95000"/>
                    <a:lumOff val="5000"/>
                  </a:schemeClr>
                </a:solidFill>
              </a:rPr>
              <a:t>lô</a:t>
            </a:r>
            <a:r>
              <a:rPr lang="en-US" sz="2800" b="1" i="1" dirty="0">
                <a:solidFill>
                  <a:schemeClr val="tx1">
                    <a:lumMod val="95000"/>
                    <a:lumOff val="5000"/>
                  </a:schemeClr>
                </a:solidFill>
              </a:rPr>
              <a:t>-</a:t>
            </a:r>
            <a:r>
              <a:rPr lang="vi-VN" sz="2800" b="1" i="1" dirty="0">
                <a:solidFill>
                  <a:schemeClr val="tx1">
                    <a:lumMod val="95000"/>
                    <a:lumOff val="5000"/>
                  </a:schemeClr>
                </a:solidFill>
              </a:rPr>
              <a:t>m</a:t>
            </a:r>
            <a:r>
              <a:rPr lang="en-US" sz="2800" b="1" i="1" dirty="0" err="1">
                <a:solidFill>
                  <a:schemeClr val="tx1">
                    <a:lumMod val="95000"/>
                    <a:lumOff val="5000"/>
                  </a:schemeClr>
                </a:solidFill>
                <a:latin typeface="UTM Neo Sans Intel" pitchFamily="18" charset="0"/>
              </a:rPr>
              <a:t>ét</a:t>
            </a:r>
            <a:r>
              <a:rPr lang="vi-VN" sz="2800" b="1" i="1" dirty="0">
                <a:solidFill>
                  <a:schemeClr val="tx1">
                    <a:lumMod val="95000"/>
                    <a:lumOff val="5000"/>
                  </a:schemeClr>
                </a:solidFill>
              </a:rPr>
              <a:t>?</a:t>
            </a:r>
            <a:endParaRPr lang="zh-CN" altLang="en-US" sz="2800" b="1" i="1" dirty="0">
              <a:solidFill>
                <a:schemeClr val="tx1">
                  <a:lumMod val="95000"/>
                  <a:lumOff val="5000"/>
                </a:schemeClr>
              </a:solidFill>
            </a:endParaRPr>
          </a:p>
        </p:txBody>
      </p:sp>
      <p:cxnSp>
        <p:nvCxnSpPr>
          <p:cNvPr id="6" name="Straight Connector 5">
            <a:extLst>
              <a:ext uri="{FF2B5EF4-FFF2-40B4-BE49-F238E27FC236}">
                <a16:creationId xmlns:a16="http://schemas.microsoft.com/office/drawing/2014/main" id="{762E9CAF-DB43-338F-AE5A-C29D4C5CC178}"/>
              </a:ext>
            </a:extLst>
          </p:cNvPr>
          <p:cNvCxnSpPr>
            <a:cxnSpLocks/>
          </p:cNvCxnSpPr>
          <p:nvPr/>
        </p:nvCxnSpPr>
        <p:spPr>
          <a:xfrm>
            <a:off x="6814379" y="605028"/>
            <a:ext cx="3741861"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7" name="Straight Connector 6">
            <a:extLst>
              <a:ext uri="{FF2B5EF4-FFF2-40B4-BE49-F238E27FC236}">
                <a16:creationId xmlns:a16="http://schemas.microsoft.com/office/drawing/2014/main" id="{03E326CB-0127-E8D0-7819-943B3E8707CD}"/>
              </a:ext>
            </a:extLst>
          </p:cNvPr>
          <p:cNvCxnSpPr/>
          <p:nvPr/>
        </p:nvCxnSpPr>
        <p:spPr>
          <a:xfrm>
            <a:off x="10832809" y="605028"/>
            <a:ext cx="1122471"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8" name="Straight Connector 7">
            <a:extLst>
              <a:ext uri="{FF2B5EF4-FFF2-40B4-BE49-F238E27FC236}">
                <a16:creationId xmlns:a16="http://schemas.microsoft.com/office/drawing/2014/main" id="{35E16D0C-4462-5CAF-A212-5CFB88C30C20}"/>
              </a:ext>
            </a:extLst>
          </p:cNvPr>
          <p:cNvCxnSpPr>
            <a:cxnSpLocks/>
          </p:cNvCxnSpPr>
          <p:nvPr/>
        </p:nvCxnSpPr>
        <p:spPr>
          <a:xfrm>
            <a:off x="1356186" y="1037182"/>
            <a:ext cx="812800"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0" name="Straight Connector 9">
            <a:extLst>
              <a:ext uri="{FF2B5EF4-FFF2-40B4-BE49-F238E27FC236}">
                <a16:creationId xmlns:a16="http://schemas.microsoft.com/office/drawing/2014/main" id="{B3DFBE9F-81EE-CDB4-2AD7-6558CAFEBA61}"/>
              </a:ext>
            </a:extLst>
          </p:cNvPr>
          <p:cNvCxnSpPr>
            <a:cxnSpLocks/>
          </p:cNvCxnSpPr>
          <p:nvPr/>
        </p:nvCxnSpPr>
        <p:spPr>
          <a:xfrm>
            <a:off x="5435600" y="1019633"/>
            <a:ext cx="1378779" cy="1174"/>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2" name="Straight Connector 11">
            <a:extLst>
              <a:ext uri="{FF2B5EF4-FFF2-40B4-BE49-F238E27FC236}">
                <a16:creationId xmlns:a16="http://schemas.microsoft.com/office/drawing/2014/main" id="{1DD706A7-20A5-DBB1-5D17-7D3DB8CEFE22}"/>
              </a:ext>
            </a:extLst>
          </p:cNvPr>
          <p:cNvCxnSpPr>
            <a:cxnSpLocks/>
          </p:cNvCxnSpPr>
          <p:nvPr/>
        </p:nvCxnSpPr>
        <p:spPr>
          <a:xfrm>
            <a:off x="7056020" y="1019633"/>
            <a:ext cx="1823820"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3" name="Straight Connector 12">
            <a:extLst>
              <a:ext uri="{FF2B5EF4-FFF2-40B4-BE49-F238E27FC236}">
                <a16:creationId xmlns:a16="http://schemas.microsoft.com/office/drawing/2014/main" id="{CB767327-0BDF-36D3-2AA3-12897A29A28C}"/>
              </a:ext>
            </a:extLst>
          </p:cNvPr>
          <p:cNvCxnSpPr>
            <a:cxnSpLocks/>
            <a:endCxn id="5" idx="3"/>
          </p:cNvCxnSpPr>
          <p:nvPr/>
        </p:nvCxnSpPr>
        <p:spPr>
          <a:xfrm>
            <a:off x="11113013" y="1037182"/>
            <a:ext cx="982641" cy="0"/>
          </a:xfrm>
          <a:prstGeom prst="line">
            <a:avLst/>
          </a:prstGeom>
          <a:ln w="38100">
            <a:solidFill>
              <a:srgbClr val="FF0000"/>
            </a:solidFill>
          </a:ln>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id="{97B79C04-A0F8-A572-9C39-9200B1E6D353}"/>
              </a:ext>
            </a:extLst>
          </p:cNvPr>
          <p:cNvCxnSpPr>
            <a:cxnSpLocks/>
          </p:cNvCxnSpPr>
          <p:nvPr/>
        </p:nvCxnSpPr>
        <p:spPr>
          <a:xfrm>
            <a:off x="1356186" y="1434551"/>
            <a:ext cx="4628054"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5" name="Straight Connector 14">
            <a:extLst>
              <a:ext uri="{FF2B5EF4-FFF2-40B4-BE49-F238E27FC236}">
                <a16:creationId xmlns:a16="http://schemas.microsoft.com/office/drawing/2014/main" id="{96F49608-6C53-5192-9C3D-8783157F208E}"/>
              </a:ext>
            </a:extLst>
          </p:cNvPr>
          <p:cNvCxnSpPr>
            <a:cxnSpLocks/>
          </p:cNvCxnSpPr>
          <p:nvPr/>
        </p:nvCxnSpPr>
        <p:spPr>
          <a:xfrm>
            <a:off x="6941115" y="1443587"/>
            <a:ext cx="1837125"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6" name="Straight Connector 15">
            <a:extLst>
              <a:ext uri="{FF2B5EF4-FFF2-40B4-BE49-F238E27FC236}">
                <a16:creationId xmlns:a16="http://schemas.microsoft.com/office/drawing/2014/main" id="{44E54788-002C-D94A-7A42-DDAC61C4F030}"/>
              </a:ext>
            </a:extLst>
          </p:cNvPr>
          <p:cNvCxnSpPr>
            <a:cxnSpLocks/>
          </p:cNvCxnSpPr>
          <p:nvPr/>
        </p:nvCxnSpPr>
        <p:spPr>
          <a:xfrm>
            <a:off x="11113013" y="1462783"/>
            <a:ext cx="982641"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7" name="Straight Connector 16">
            <a:extLst>
              <a:ext uri="{FF2B5EF4-FFF2-40B4-BE49-F238E27FC236}">
                <a16:creationId xmlns:a16="http://schemas.microsoft.com/office/drawing/2014/main" id="{CAE3EE6E-9BC6-BB1D-35AD-BD25D9A583CB}"/>
              </a:ext>
            </a:extLst>
          </p:cNvPr>
          <p:cNvCxnSpPr>
            <a:cxnSpLocks/>
          </p:cNvCxnSpPr>
          <p:nvPr/>
        </p:nvCxnSpPr>
        <p:spPr>
          <a:xfrm>
            <a:off x="1356186" y="1874003"/>
            <a:ext cx="3246294" cy="0"/>
          </a:xfrm>
          <a:prstGeom prst="line">
            <a:avLst/>
          </a:prstGeom>
          <a:ln w="38100">
            <a:solidFill>
              <a:srgbClr val="FF0000"/>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261770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left)">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left)">
                                      <p:cBhvr>
                                        <p:cTn id="17" dur="500"/>
                                        <p:tgtEl>
                                          <p:spTgt spid="7"/>
                                        </p:tgtEl>
                                      </p:cBhvr>
                                    </p:animEffect>
                                  </p:childTnLst>
                                </p:cTn>
                              </p:par>
                            </p:childTnLst>
                          </p:cTn>
                        </p:par>
                        <p:par>
                          <p:cTn id="18" fill="hold">
                            <p:stCondLst>
                              <p:cond delay="500"/>
                            </p:stCondLst>
                            <p:childTnLst>
                              <p:par>
                                <p:cTn id="19" presetID="22" presetClass="entr" presetSubtype="8" fill="hold" nodeType="after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wipe(left)">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left)">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wipe(left)">
                                      <p:cBhvr>
                                        <p:cTn id="31" dur="500"/>
                                        <p:tgtEl>
                                          <p:spTgt spid="12"/>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wipe(left)">
                                      <p:cBhvr>
                                        <p:cTn id="36" dur="500"/>
                                        <p:tgtEl>
                                          <p:spTgt spid="13"/>
                                        </p:tgtEl>
                                      </p:cBhvr>
                                    </p:animEffect>
                                  </p:childTnLst>
                                </p:cTn>
                              </p:par>
                            </p:childTnLst>
                          </p:cTn>
                        </p:par>
                        <p:par>
                          <p:cTn id="37" fill="hold">
                            <p:stCondLst>
                              <p:cond delay="500"/>
                            </p:stCondLst>
                            <p:childTnLst>
                              <p:par>
                                <p:cTn id="38" presetID="22" presetClass="entr" presetSubtype="8" fill="hold" nodeType="after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wipe(left)">
                                      <p:cBhvr>
                                        <p:cTn id="40" dur="500"/>
                                        <p:tgtEl>
                                          <p:spTgt spid="14"/>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wipe(left)">
                                      <p:cBhvr>
                                        <p:cTn id="45" dur="500"/>
                                        <p:tgtEl>
                                          <p:spTgt spid="15"/>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nodeType="click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wipe(left)">
                                      <p:cBhvr>
                                        <p:cTn id="50" dur="500"/>
                                        <p:tgtEl>
                                          <p:spTgt spid="16"/>
                                        </p:tgtEl>
                                      </p:cBhvr>
                                    </p:animEffect>
                                  </p:childTnLst>
                                </p:cTn>
                              </p:par>
                            </p:childTnLst>
                          </p:cTn>
                        </p:par>
                        <p:par>
                          <p:cTn id="51" fill="hold">
                            <p:stCondLst>
                              <p:cond delay="500"/>
                            </p:stCondLst>
                            <p:childTnLst>
                              <p:par>
                                <p:cTn id="52" presetID="22" presetClass="entr" presetSubtype="8" fill="hold" nodeType="afterEffect">
                                  <p:stCondLst>
                                    <p:cond delay="0"/>
                                  </p:stCondLst>
                                  <p:childTnLst>
                                    <p:set>
                                      <p:cBhvr>
                                        <p:cTn id="53" dur="1" fill="hold">
                                          <p:stCondLst>
                                            <p:cond delay="0"/>
                                          </p:stCondLst>
                                        </p:cTn>
                                        <p:tgtEl>
                                          <p:spTgt spid="17"/>
                                        </p:tgtEl>
                                        <p:attrNameLst>
                                          <p:attrName>style.visibility</p:attrName>
                                        </p:attrNameLst>
                                      </p:cBhvr>
                                      <p:to>
                                        <p:strVal val="visible"/>
                                      </p:to>
                                    </p:set>
                                    <p:animEffect transition="in" filter="wipe(left)">
                                      <p:cBhvr>
                                        <p:cTn id="5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15E35D0-4246-4262-D067-401A6B7E0C16}"/>
              </a:ext>
            </a:extLst>
          </p:cNvPr>
          <p:cNvGrpSpPr/>
          <p:nvPr/>
        </p:nvGrpSpPr>
        <p:grpSpPr>
          <a:xfrm>
            <a:off x="-305182" y="-63516"/>
            <a:ext cx="12535431" cy="6921516"/>
            <a:chOff x="-280811" y="-50104"/>
            <a:chExt cx="12535431" cy="6921516"/>
          </a:xfrm>
        </p:grpSpPr>
        <p:pic>
          <p:nvPicPr>
            <p:cNvPr id="7" name="Picture 6">
              <a:extLst>
                <a:ext uri="{FF2B5EF4-FFF2-40B4-BE49-F238E27FC236}">
                  <a16:creationId xmlns:a16="http://schemas.microsoft.com/office/drawing/2014/main" id="{F8247E93-244C-7E3C-32E4-2B3B5A007734}"/>
                </a:ext>
              </a:extLst>
            </p:cNvPr>
            <p:cNvPicPr>
              <a:picLocks noChangeAspect="1"/>
            </p:cNvPicPr>
            <p:nvPr/>
          </p:nvPicPr>
          <p:blipFill rotWithShape="1">
            <a:blip r:embed="rId2"/>
            <a:srcRect t="-1" r="1267" b="20"/>
            <a:stretch/>
          </p:blipFill>
          <p:spPr>
            <a:xfrm>
              <a:off x="-62620" y="-50104"/>
              <a:ext cx="12317240" cy="6908104"/>
            </a:xfrm>
            <a:prstGeom prst="rect">
              <a:avLst/>
            </a:prstGeom>
            <a:ln w="6350">
              <a:solidFill>
                <a:schemeClr val="tx1"/>
              </a:solidFill>
            </a:ln>
          </p:spPr>
        </p:pic>
        <p:pic>
          <p:nvPicPr>
            <p:cNvPr id="8" name="Picture 7" descr="Không có mô tả ảnh.">
              <a:extLst>
                <a:ext uri="{FF2B5EF4-FFF2-40B4-BE49-F238E27FC236}">
                  <a16:creationId xmlns:a16="http://schemas.microsoft.com/office/drawing/2014/main" id="{45395A1B-1799-430B-0E7F-FA5DB7F9AFC1}"/>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4415" b="95791" l="9926" r="89578">
                          <a14:foregroundMark x1="41439" y1="7803" x2="57568" y2="15400"/>
                          <a14:foregroundMark x1="48139" y1="4620" x2="59926" y2="15606"/>
                          <a14:foregroundMark x1="30397" y1="26489" x2="54218" y2="42608"/>
                          <a14:foregroundMark x1="57568" y1="22690" x2="70223" y2="37680"/>
                          <a14:foregroundMark x1="55211" y1="26078" x2="67122" y2="33470"/>
                          <a14:foregroundMark x1="29529" y1="30903" x2="43921" y2="36242"/>
                          <a14:foregroundMark x1="36476" y1="29671" x2="41687" y2="29261"/>
                          <a14:foregroundMark x1="36725" y1="24743" x2="42432" y2="29466"/>
                          <a14:foregroundMark x1="48015" y1="89630" x2="46774" y2="94456"/>
                          <a14:foregroundMark x1="62779" y1="89014" x2="65261" y2="94251"/>
                          <a14:foregroundMark x1="58313" y1="92197" x2="63275" y2="95791"/>
                          <a14:foregroundMark x1="33375" y1="28645" x2="32878" y2="39220"/>
                          <a14:foregroundMark x1="59057" y1="28337" x2="67370" y2="30903"/>
                          <a14:foregroundMark x1="62779" y1="24743" x2="66005" y2="34805"/>
                        </a14:backgroundRemoval>
                      </a14:imgEffect>
                    </a14:imgLayer>
                  </a14:imgProps>
                </a:ext>
                <a:ext uri="{28A0092B-C50C-407E-A947-70E740481C1C}">
                  <a14:useLocalDpi xmlns:a14="http://schemas.microsoft.com/office/drawing/2010/main" val="0"/>
                </a:ext>
              </a:extLst>
            </a:blip>
            <a:stretch>
              <a:fillRect/>
            </a:stretch>
          </p:blipFill>
          <p:spPr bwMode="auto">
            <a:xfrm>
              <a:off x="-280811" y="4856268"/>
              <a:ext cx="1667531" cy="2015144"/>
            </a:xfrm>
            <a:prstGeom prst="rect">
              <a:avLst/>
            </a:prstGeom>
            <a:noFill/>
            <a:ln w="6350">
              <a:noFill/>
            </a:ln>
            <a:extLst>
              <a:ext uri="{909E8E84-426E-40DD-AFC4-6F175D3DCCD1}">
                <a14:hiddenFill xmlns:a14="http://schemas.microsoft.com/office/drawing/2010/main">
                  <a:solidFill>
                    <a:srgbClr val="FFFFFF"/>
                  </a:solidFill>
                </a14:hiddenFill>
              </a:ext>
            </a:extLst>
          </p:spPr>
        </p:pic>
      </p:grpSp>
      <p:sp>
        <p:nvSpPr>
          <p:cNvPr id="11" name="Rectangle 10">
            <a:extLst>
              <a:ext uri="{FF2B5EF4-FFF2-40B4-BE49-F238E27FC236}">
                <a16:creationId xmlns:a16="http://schemas.microsoft.com/office/drawing/2014/main" id="{FEB419C1-0360-3969-F72E-D9CAF7A1BB5F}"/>
              </a:ext>
            </a:extLst>
          </p:cNvPr>
          <p:cNvSpPr/>
          <p:nvPr/>
        </p:nvSpPr>
        <p:spPr>
          <a:xfrm>
            <a:off x="1567133" y="1981518"/>
            <a:ext cx="9057733" cy="4616648"/>
          </a:xfrm>
          <a:prstGeom prst="rect">
            <a:avLst/>
          </a:prstGeom>
        </p:spPr>
        <p:txBody>
          <a:bodyPr wrap="square">
            <a:spAutoFit/>
          </a:bodyPr>
          <a:lstStyle/>
          <a:p>
            <a:pPr algn="ctr">
              <a:spcBef>
                <a:spcPts val="1200"/>
              </a:spcBef>
            </a:pPr>
            <a:r>
              <a:rPr lang="en-US" sz="2800" b="1" u="sng" dirty="0" err="1">
                <a:solidFill>
                  <a:srgbClr val="002060"/>
                </a:solidFill>
                <a:latin typeface="Tahoma" panose="020B0604030504040204" pitchFamily="34" charset="0"/>
                <a:ea typeface="Tahoma" panose="020B0604030504040204" pitchFamily="34" charset="0"/>
                <a:cs typeface="Tahoma" panose="020B0604030504040204" pitchFamily="34" charset="0"/>
              </a:rPr>
              <a:t>Bài</a:t>
            </a:r>
            <a:r>
              <a:rPr lang="en-US" sz="2800" b="1" u="sng" dirty="0">
                <a:solidFill>
                  <a:srgbClr val="002060"/>
                </a:solidFill>
                <a:latin typeface="Tahoma" panose="020B0604030504040204" pitchFamily="34" charset="0"/>
                <a:ea typeface="Tahoma" panose="020B0604030504040204" pitchFamily="34" charset="0"/>
                <a:cs typeface="Tahoma" panose="020B0604030504040204" pitchFamily="34" charset="0"/>
              </a:rPr>
              <a:t> </a:t>
            </a:r>
            <a:r>
              <a:rPr lang="en-US" sz="2800" b="1" u="sng" dirty="0" err="1">
                <a:solidFill>
                  <a:srgbClr val="002060"/>
                </a:solidFill>
                <a:latin typeface="Tahoma" panose="020B0604030504040204" pitchFamily="34" charset="0"/>
                <a:ea typeface="Tahoma" panose="020B0604030504040204" pitchFamily="34" charset="0"/>
                <a:cs typeface="Tahoma" panose="020B0604030504040204" pitchFamily="34" charset="0"/>
              </a:rPr>
              <a:t>giải</a:t>
            </a:r>
            <a:endParaRPr lang="en-US" sz="2800" b="1" u="sng" dirty="0">
              <a:solidFill>
                <a:srgbClr val="002060"/>
              </a:solidFill>
              <a:latin typeface="Tahoma" panose="020B0604030504040204" pitchFamily="34" charset="0"/>
              <a:ea typeface="Tahoma" panose="020B0604030504040204" pitchFamily="34" charset="0"/>
              <a:cs typeface="Tahoma" panose="020B0604030504040204" pitchFamily="34" charset="0"/>
            </a:endParaRPr>
          </a:p>
          <a:p>
            <a:pPr algn="ctr">
              <a:spcBef>
                <a:spcPts val="1200"/>
              </a:spcBef>
            </a:pPr>
            <a:r>
              <a:rPr lang="vi-VN" sz="2800" b="1" dirty="0">
                <a:solidFill>
                  <a:srgbClr val="002060"/>
                </a:solidFill>
                <a:latin typeface="Tahoma" panose="020B0604030504040204" pitchFamily="34" charset="0"/>
                <a:ea typeface="Tahoma" panose="020B0604030504040204" pitchFamily="34" charset="0"/>
                <a:cs typeface="Tahoma" panose="020B0604030504040204" pitchFamily="34" charset="0"/>
              </a:rPr>
              <a:t>Giờ thứ hai người đó </a:t>
            </a:r>
            <a:r>
              <a:rPr lang="vi-VN" sz="2800" b="1">
                <a:solidFill>
                  <a:srgbClr val="002060"/>
                </a:solidFill>
                <a:latin typeface="Tahoma" panose="020B0604030504040204" pitchFamily="34" charset="0"/>
                <a:ea typeface="Tahoma" panose="020B0604030504040204" pitchFamily="34" charset="0"/>
                <a:cs typeface="Tahoma" panose="020B0604030504040204" pitchFamily="34" charset="0"/>
              </a:rPr>
              <a:t>đi được</a:t>
            </a:r>
            <a:r>
              <a:rPr lang="en-US" sz="2800" b="1">
                <a:solidFill>
                  <a:srgbClr val="002060"/>
                </a:solidFill>
                <a:latin typeface="Tahoma" panose="020B0604030504040204" pitchFamily="34" charset="0"/>
                <a:ea typeface="Tahoma" panose="020B0604030504040204" pitchFamily="34" charset="0"/>
                <a:cs typeface="Tahoma" panose="020B0604030504040204" pitchFamily="34" charset="0"/>
              </a:rPr>
              <a:t> số km là</a:t>
            </a:r>
            <a:r>
              <a:rPr lang="vi-VN" sz="2800" b="1">
                <a:solidFill>
                  <a:srgbClr val="002060"/>
                </a:solidFill>
                <a:latin typeface="Tahoma" panose="020B0604030504040204" pitchFamily="34" charset="0"/>
                <a:ea typeface="Tahoma" panose="020B0604030504040204" pitchFamily="34" charset="0"/>
                <a:cs typeface="Tahoma" panose="020B0604030504040204" pitchFamily="34" charset="0"/>
              </a:rPr>
              <a:t>: </a:t>
            </a:r>
            <a:endPar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endParaRPr>
          </a:p>
          <a:p>
            <a:pPr algn="ctr">
              <a:spcBef>
                <a:spcPts val="1200"/>
              </a:spcBef>
            </a:pPr>
            <a:r>
              <a:rPr lang="vi-VN" sz="2800" b="1" dirty="0">
                <a:solidFill>
                  <a:srgbClr val="002060"/>
                </a:solidFill>
                <a:latin typeface="Tahoma" panose="020B0604030504040204" pitchFamily="34" charset="0"/>
                <a:ea typeface="Tahoma" panose="020B0604030504040204" pitchFamily="34" charset="0"/>
                <a:cs typeface="Tahoma" panose="020B0604030504040204" pitchFamily="34" charset="0"/>
              </a:rPr>
              <a:t>13,25 – 1,5 = 11,75 </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a:t>
            </a:r>
            <a:r>
              <a:rPr lang="vi-VN" sz="2800" b="1" dirty="0">
                <a:solidFill>
                  <a:srgbClr val="002060"/>
                </a:solidFill>
                <a:latin typeface="Tahoma" panose="020B0604030504040204" pitchFamily="34" charset="0"/>
                <a:ea typeface="Tahoma" panose="020B0604030504040204" pitchFamily="34" charset="0"/>
                <a:cs typeface="Tahoma" panose="020B0604030504040204" pitchFamily="34" charset="0"/>
              </a:rPr>
              <a:t>km</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a:t>
            </a:r>
            <a:endParaRPr lang="vi-VN" sz="2800" b="1" dirty="0">
              <a:solidFill>
                <a:srgbClr val="002060"/>
              </a:solidFill>
              <a:latin typeface="Tahoma" panose="020B0604030504040204" pitchFamily="34" charset="0"/>
              <a:ea typeface="Tahoma" panose="020B0604030504040204" pitchFamily="34" charset="0"/>
              <a:cs typeface="Tahoma" panose="020B0604030504040204" pitchFamily="34" charset="0"/>
            </a:endParaRPr>
          </a:p>
          <a:p>
            <a:pPr algn="ctr">
              <a:spcBef>
                <a:spcPts val="1200"/>
              </a:spcBef>
            </a:pPr>
            <a:r>
              <a:rPr lang="vi-VN" sz="2800" b="1" dirty="0">
                <a:solidFill>
                  <a:srgbClr val="002060"/>
                </a:solidFill>
                <a:latin typeface="Tahoma" panose="020B0604030504040204" pitchFamily="34" charset="0"/>
                <a:ea typeface="Tahoma" panose="020B0604030504040204" pitchFamily="34" charset="0"/>
                <a:cs typeface="Tahoma" panose="020B0604030504040204" pitchFamily="34" charset="0"/>
              </a:rPr>
              <a:t>Hai giờ đầu người đó </a:t>
            </a:r>
            <a:r>
              <a:rPr lang="vi-VN" sz="2800" b="1">
                <a:solidFill>
                  <a:srgbClr val="002060"/>
                </a:solidFill>
                <a:latin typeface="Tahoma" panose="020B0604030504040204" pitchFamily="34" charset="0"/>
                <a:ea typeface="Tahoma" panose="020B0604030504040204" pitchFamily="34" charset="0"/>
                <a:cs typeface="Tahoma" panose="020B0604030504040204" pitchFamily="34" charset="0"/>
              </a:rPr>
              <a:t>đi được</a:t>
            </a:r>
            <a:r>
              <a:rPr lang="en-US" sz="2800" b="1">
                <a:solidFill>
                  <a:srgbClr val="002060"/>
                </a:solidFill>
                <a:latin typeface="Tahoma" panose="020B0604030504040204" pitchFamily="34" charset="0"/>
                <a:ea typeface="Tahoma" panose="020B0604030504040204" pitchFamily="34" charset="0"/>
                <a:cs typeface="Tahoma" panose="020B0604030504040204" pitchFamily="34" charset="0"/>
              </a:rPr>
              <a:t> số km là </a:t>
            </a:r>
            <a:r>
              <a:rPr lang="vi-VN" sz="2800" b="1">
                <a:solidFill>
                  <a:srgbClr val="002060"/>
                </a:solidFill>
                <a:latin typeface="Tahoma" panose="020B0604030504040204" pitchFamily="34" charset="0"/>
                <a:ea typeface="Tahoma" panose="020B0604030504040204" pitchFamily="34" charset="0"/>
                <a:cs typeface="Tahoma" panose="020B0604030504040204" pitchFamily="34" charset="0"/>
              </a:rPr>
              <a:t>: </a:t>
            </a:r>
            <a:endPar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endParaRPr>
          </a:p>
          <a:p>
            <a:pPr algn="ctr">
              <a:spcBef>
                <a:spcPts val="1200"/>
              </a:spcBef>
            </a:pPr>
            <a:r>
              <a:rPr lang="vi-VN" sz="2800" b="1" dirty="0">
                <a:solidFill>
                  <a:srgbClr val="002060"/>
                </a:solidFill>
                <a:latin typeface="Tahoma" panose="020B0604030504040204" pitchFamily="34" charset="0"/>
                <a:ea typeface="Tahoma" panose="020B0604030504040204" pitchFamily="34" charset="0"/>
                <a:cs typeface="Tahoma" panose="020B0604030504040204" pitchFamily="34" charset="0"/>
              </a:rPr>
              <a:t>13,25 + 11,75 = 25 </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a:t>
            </a:r>
            <a:r>
              <a:rPr lang="vi-VN" sz="2800" b="1" dirty="0">
                <a:solidFill>
                  <a:srgbClr val="002060"/>
                </a:solidFill>
                <a:latin typeface="Tahoma" panose="020B0604030504040204" pitchFamily="34" charset="0"/>
                <a:ea typeface="Tahoma" panose="020B0604030504040204" pitchFamily="34" charset="0"/>
                <a:cs typeface="Tahoma" panose="020B0604030504040204" pitchFamily="34" charset="0"/>
              </a:rPr>
              <a:t>km</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a:t>
            </a:r>
            <a:endParaRPr lang="vi-VN" sz="2800" b="1" dirty="0">
              <a:solidFill>
                <a:srgbClr val="002060"/>
              </a:solidFill>
              <a:latin typeface="Tahoma" panose="020B0604030504040204" pitchFamily="34" charset="0"/>
              <a:ea typeface="Tahoma" panose="020B0604030504040204" pitchFamily="34" charset="0"/>
              <a:cs typeface="Tahoma" panose="020B0604030504040204" pitchFamily="34" charset="0"/>
            </a:endParaRPr>
          </a:p>
          <a:p>
            <a:pPr algn="ctr">
              <a:spcBef>
                <a:spcPts val="1200"/>
              </a:spcBef>
            </a:pPr>
            <a:r>
              <a:rPr lang="vi-VN" sz="2800" b="1" dirty="0">
                <a:solidFill>
                  <a:srgbClr val="002060"/>
                </a:solidFill>
                <a:latin typeface="Tahoma" panose="020B0604030504040204" pitchFamily="34" charset="0"/>
                <a:ea typeface="Tahoma" panose="020B0604030504040204" pitchFamily="34" charset="0"/>
                <a:cs typeface="Tahoma" panose="020B0604030504040204" pitchFamily="34" charset="0"/>
              </a:rPr>
              <a:t>Giờ thứ ba người đó </a:t>
            </a:r>
            <a:r>
              <a:rPr lang="vi-VN" sz="2800" b="1">
                <a:solidFill>
                  <a:srgbClr val="002060"/>
                </a:solidFill>
                <a:latin typeface="Tahoma" panose="020B0604030504040204" pitchFamily="34" charset="0"/>
                <a:ea typeface="Tahoma" panose="020B0604030504040204" pitchFamily="34" charset="0"/>
                <a:cs typeface="Tahoma" panose="020B0604030504040204" pitchFamily="34" charset="0"/>
              </a:rPr>
              <a:t>đi được</a:t>
            </a:r>
            <a:r>
              <a:rPr lang="en-US" sz="2800" b="1">
                <a:solidFill>
                  <a:srgbClr val="002060"/>
                </a:solidFill>
                <a:latin typeface="Tahoma" panose="020B0604030504040204" pitchFamily="34" charset="0"/>
                <a:ea typeface="Tahoma" panose="020B0604030504040204" pitchFamily="34" charset="0"/>
                <a:cs typeface="Tahoma" panose="020B0604030504040204" pitchFamily="34" charset="0"/>
              </a:rPr>
              <a:t> số km là </a:t>
            </a:r>
            <a:r>
              <a:rPr lang="vi-VN" sz="2800" b="1">
                <a:solidFill>
                  <a:srgbClr val="002060"/>
                </a:solidFill>
                <a:latin typeface="Tahoma" panose="020B0604030504040204" pitchFamily="34" charset="0"/>
                <a:ea typeface="Tahoma" panose="020B0604030504040204" pitchFamily="34" charset="0"/>
                <a:cs typeface="Tahoma" panose="020B0604030504040204" pitchFamily="34" charset="0"/>
              </a:rPr>
              <a:t>: </a:t>
            </a:r>
            <a:endPar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endParaRPr>
          </a:p>
          <a:p>
            <a:pPr algn="ctr">
              <a:spcBef>
                <a:spcPts val="1200"/>
              </a:spcBef>
            </a:pPr>
            <a:r>
              <a:rPr lang="vi-VN" sz="2800" b="1" dirty="0">
                <a:solidFill>
                  <a:srgbClr val="002060"/>
                </a:solidFill>
                <a:latin typeface="Tahoma" panose="020B0604030504040204" pitchFamily="34" charset="0"/>
                <a:ea typeface="Tahoma" panose="020B0604030504040204" pitchFamily="34" charset="0"/>
                <a:cs typeface="Tahoma" panose="020B0604030504040204" pitchFamily="34" charset="0"/>
              </a:rPr>
              <a:t>36 – 25 = 11 </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a:t>
            </a:r>
            <a:r>
              <a:rPr lang="vi-VN" sz="2800" b="1" dirty="0">
                <a:solidFill>
                  <a:srgbClr val="002060"/>
                </a:solidFill>
                <a:latin typeface="Tahoma" panose="020B0604030504040204" pitchFamily="34" charset="0"/>
                <a:ea typeface="Tahoma" panose="020B0604030504040204" pitchFamily="34" charset="0"/>
                <a:cs typeface="Tahoma" panose="020B0604030504040204" pitchFamily="34" charset="0"/>
              </a:rPr>
              <a:t>km</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a:t>
            </a:r>
          </a:p>
          <a:p>
            <a:pPr algn="ctr">
              <a:spcBef>
                <a:spcPts val="1200"/>
              </a:spcBef>
            </a:pPr>
            <a:r>
              <a:rPr lang="en-US" sz="2800" b="1" dirty="0" err="1">
                <a:solidFill>
                  <a:srgbClr val="002060"/>
                </a:solidFill>
                <a:latin typeface="Tahoma" panose="020B0604030504040204" pitchFamily="34" charset="0"/>
                <a:ea typeface="Tahoma" panose="020B0604030504040204" pitchFamily="34" charset="0"/>
                <a:cs typeface="Tahoma" panose="020B0604030504040204" pitchFamily="34" charset="0"/>
              </a:rPr>
              <a:t>Đáp</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002060"/>
                </a:solidFill>
                <a:latin typeface="Tahoma" panose="020B0604030504040204" pitchFamily="34" charset="0"/>
                <a:ea typeface="Tahoma" panose="020B0604030504040204" pitchFamily="34" charset="0"/>
                <a:cs typeface="Tahoma" panose="020B0604030504040204" pitchFamily="34" charset="0"/>
              </a:rPr>
              <a:t>số</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 11km</a:t>
            </a:r>
            <a:endParaRPr lang="vi-VN" sz="2800" b="1" dirty="0">
              <a:solidFill>
                <a:srgbClr val="002060"/>
              </a:solidFill>
              <a:latin typeface="Tahoma" panose="020B0604030504040204" pitchFamily="34" charset="0"/>
              <a:ea typeface="Tahoma" panose="020B0604030504040204" pitchFamily="34" charset="0"/>
              <a:cs typeface="Tahoma" panose="020B0604030504040204" pitchFamily="34" charset="0"/>
            </a:endParaRPr>
          </a:p>
        </p:txBody>
      </p:sp>
      <p:sp>
        <p:nvSpPr>
          <p:cNvPr id="12" name="文本框 5">
            <a:extLst>
              <a:ext uri="{FF2B5EF4-FFF2-40B4-BE49-F238E27FC236}">
                <a16:creationId xmlns:a16="http://schemas.microsoft.com/office/drawing/2014/main" id="{7184DED8-1AAD-FCBA-DDCE-2D5A98FA00D7}"/>
              </a:ext>
            </a:extLst>
          </p:cNvPr>
          <p:cNvSpPr txBox="1"/>
          <p:nvPr/>
        </p:nvSpPr>
        <p:spPr>
          <a:xfrm>
            <a:off x="243840" y="351088"/>
            <a:ext cx="10815494" cy="1815882"/>
          </a:xfrm>
          <a:prstGeom prst="rect">
            <a:avLst/>
          </a:prstGeom>
          <a:noFill/>
        </p:spPr>
        <p:txBody>
          <a:bodyPr wrap="square" rtlCol="0">
            <a:spAutoFit/>
          </a:bodyPr>
          <a:lstStyle/>
          <a:p>
            <a:pPr algn="just"/>
            <a:r>
              <a:rPr lang="en-US" sz="2800" b="1" i="1" u="sng" dirty="0" err="1">
                <a:latin typeface="UTM Neo Sans Intel" pitchFamily="18" charset="0"/>
              </a:rPr>
              <a:t>Bài</a:t>
            </a:r>
            <a:r>
              <a:rPr lang="en-US" sz="2800" b="1" i="1" u="sng" dirty="0">
                <a:latin typeface="UTM Neo Sans Intel" pitchFamily="18" charset="0"/>
              </a:rPr>
              <a:t> 4</a:t>
            </a:r>
            <a:r>
              <a:rPr lang="en-US" sz="2800" b="1" i="1" dirty="0">
                <a:latin typeface="UTM Neo Sans Intel" pitchFamily="18" charset="0"/>
              </a:rPr>
              <a:t>: </a:t>
            </a:r>
            <a:r>
              <a:rPr lang="vi-VN" sz="2800" b="1" i="1" dirty="0"/>
              <a:t>Một người đi xe đạp trong ba giờ đi được 36 km. Giờ thứ nhất người đó đi được 13,25km, giờ thứ hai người đó đi được ít hơn giờ thứ nhất 1</a:t>
            </a:r>
            <a:r>
              <a:rPr lang="en-US" sz="2800" b="1" i="1" dirty="0">
                <a:latin typeface="UTM Neo Sans Intel" pitchFamily="18" charset="0"/>
              </a:rPr>
              <a:t>,</a:t>
            </a:r>
            <a:r>
              <a:rPr lang="vi-VN" sz="2800" b="1" i="1" dirty="0"/>
              <a:t>5 km. Hỏi giờ thứ ba người đó đi được bao nhiêu k</a:t>
            </a:r>
            <a:r>
              <a:rPr lang="en-US" sz="2800" b="1" i="1" dirty="0"/>
              <a:t>i-</a:t>
            </a:r>
            <a:r>
              <a:rPr lang="en-US" sz="2800" b="1" i="1" dirty="0" err="1"/>
              <a:t>lô</a:t>
            </a:r>
            <a:r>
              <a:rPr lang="en-US" sz="2800" b="1" i="1" dirty="0"/>
              <a:t>-</a:t>
            </a:r>
            <a:r>
              <a:rPr lang="vi-VN" sz="2800" b="1" i="1" dirty="0"/>
              <a:t>m</a:t>
            </a:r>
            <a:r>
              <a:rPr lang="en-US" sz="2800" b="1" i="1" dirty="0" err="1">
                <a:latin typeface="UTM Neo Sans Intel" pitchFamily="18" charset="0"/>
              </a:rPr>
              <a:t>ét</a:t>
            </a:r>
            <a:r>
              <a:rPr lang="vi-VN" sz="2800" b="1" i="1" dirty="0"/>
              <a:t>?</a:t>
            </a:r>
            <a:endParaRPr lang="zh-CN" altLang="en-US" sz="2800" b="1" i="1" dirty="0"/>
          </a:p>
        </p:txBody>
      </p:sp>
      <p:pic>
        <p:nvPicPr>
          <p:cNvPr id="3" name="Picture 2" descr="A number with butterflies and clouds&#10;&#10;Description automatically generated">
            <a:extLst>
              <a:ext uri="{FF2B5EF4-FFF2-40B4-BE49-F238E27FC236}">
                <a16:creationId xmlns:a16="http://schemas.microsoft.com/office/drawing/2014/main" id="{91C1DADF-E1CD-BC08-9C64-7A416D08FD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96489" y="4085846"/>
            <a:ext cx="2284161" cy="3026250"/>
          </a:xfrm>
          <a:prstGeom prst="rect">
            <a:avLst/>
          </a:prstGeom>
        </p:spPr>
      </p:pic>
    </p:spTree>
    <p:extLst>
      <p:ext uri="{BB962C8B-B14F-4D97-AF65-F5344CB8AC3E}">
        <p14:creationId xmlns:p14="http://schemas.microsoft.com/office/powerpoint/2010/main" val="824054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1">
                                            <p:txEl>
                                              <p:pRg st="0" end="0"/>
                                            </p:txEl>
                                          </p:spTgt>
                                        </p:tgtEl>
                                        <p:attrNameLst>
                                          <p:attrName>style.visibility</p:attrName>
                                        </p:attrNameLst>
                                      </p:cBhvr>
                                      <p:to>
                                        <p:strVal val="visible"/>
                                      </p:to>
                                    </p:set>
                                    <p:animEffect transition="in" filter="wipe(left)">
                                      <p:cBhvr>
                                        <p:cTn id="12" dur="500"/>
                                        <p:tgtEl>
                                          <p:spTgt spid="11">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1">
                                            <p:txEl>
                                              <p:pRg st="1" end="1"/>
                                            </p:txEl>
                                          </p:spTgt>
                                        </p:tgtEl>
                                        <p:attrNameLst>
                                          <p:attrName>style.visibility</p:attrName>
                                        </p:attrNameLst>
                                      </p:cBhvr>
                                      <p:to>
                                        <p:strVal val="visible"/>
                                      </p:to>
                                    </p:set>
                                    <p:animEffect transition="in" filter="wipe(left)">
                                      <p:cBhvr>
                                        <p:cTn id="17" dur="500"/>
                                        <p:tgtEl>
                                          <p:spTgt spid="11">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1">
                                            <p:txEl>
                                              <p:pRg st="2" end="2"/>
                                            </p:txEl>
                                          </p:spTgt>
                                        </p:tgtEl>
                                        <p:attrNameLst>
                                          <p:attrName>style.visibility</p:attrName>
                                        </p:attrNameLst>
                                      </p:cBhvr>
                                      <p:to>
                                        <p:strVal val="visible"/>
                                      </p:to>
                                    </p:set>
                                    <p:animEffect transition="in" filter="wipe(left)">
                                      <p:cBhvr>
                                        <p:cTn id="22" dur="500"/>
                                        <p:tgtEl>
                                          <p:spTgt spid="11">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1">
                                            <p:txEl>
                                              <p:pRg st="3" end="3"/>
                                            </p:txEl>
                                          </p:spTgt>
                                        </p:tgtEl>
                                        <p:attrNameLst>
                                          <p:attrName>style.visibility</p:attrName>
                                        </p:attrNameLst>
                                      </p:cBhvr>
                                      <p:to>
                                        <p:strVal val="visible"/>
                                      </p:to>
                                    </p:set>
                                    <p:animEffect transition="in" filter="wipe(left)">
                                      <p:cBhvr>
                                        <p:cTn id="27" dur="500"/>
                                        <p:tgtEl>
                                          <p:spTgt spid="11">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1">
                                            <p:txEl>
                                              <p:pRg st="4" end="4"/>
                                            </p:txEl>
                                          </p:spTgt>
                                        </p:tgtEl>
                                        <p:attrNameLst>
                                          <p:attrName>style.visibility</p:attrName>
                                        </p:attrNameLst>
                                      </p:cBhvr>
                                      <p:to>
                                        <p:strVal val="visible"/>
                                      </p:to>
                                    </p:set>
                                    <p:animEffect transition="in" filter="wipe(left)">
                                      <p:cBhvr>
                                        <p:cTn id="32" dur="500"/>
                                        <p:tgtEl>
                                          <p:spTgt spid="11">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1">
                                            <p:txEl>
                                              <p:pRg st="5" end="5"/>
                                            </p:txEl>
                                          </p:spTgt>
                                        </p:tgtEl>
                                        <p:attrNameLst>
                                          <p:attrName>style.visibility</p:attrName>
                                        </p:attrNameLst>
                                      </p:cBhvr>
                                      <p:to>
                                        <p:strVal val="visible"/>
                                      </p:to>
                                    </p:set>
                                    <p:animEffect transition="in" filter="wipe(left)">
                                      <p:cBhvr>
                                        <p:cTn id="37" dur="500"/>
                                        <p:tgtEl>
                                          <p:spTgt spid="11">
                                            <p:txEl>
                                              <p:pRg st="5" end="5"/>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11">
                                            <p:txEl>
                                              <p:pRg st="6" end="6"/>
                                            </p:txEl>
                                          </p:spTgt>
                                        </p:tgtEl>
                                        <p:attrNameLst>
                                          <p:attrName>style.visibility</p:attrName>
                                        </p:attrNameLst>
                                      </p:cBhvr>
                                      <p:to>
                                        <p:strVal val="visible"/>
                                      </p:to>
                                    </p:set>
                                    <p:animEffect transition="in" filter="wipe(left)">
                                      <p:cBhvr>
                                        <p:cTn id="42" dur="500"/>
                                        <p:tgtEl>
                                          <p:spTgt spid="11">
                                            <p:txEl>
                                              <p:pRg st="6" end="6"/>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11">
                                            <p:txEl>
                                              <p:pRg st="7" end="7"/>
                                            </p:txEl>
                                          </p:spTgt>
                                        </p:tgtEl>
                                        <p:attrNameLst>
                                          <p:attrName>style.visibility</p:attrName>
                                        </p:attrNameLst>
                                      </p:cBhvr>
                                      <p:to>
                                        <p:strVal val="visible"/>
                                      </p:to>
                                    </p:set>
                                    <p:animEffect transition="in" filter="wipe(left)">
                                      <p:cBhvr>
                                        <p:cTn id="47" dur="500"/>
                                        <p:tgtEl>
                                          <p:spTgt spid="11">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P spid="12" grpId="0"/>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7" name="Rectangle 5126">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4D58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129" name="Rectangle 5128">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2C1AFD93-50F1-8C54-1CF0-F374191C4AA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3784" b="96892" l="2000" r="97556">
                        <a14:foregroundMark x1="25222" y1="3784" x2="77444" y2="11216"/>
                        <a14:foregroundMark x1="20667" y1="12027" x2="93556" y2="14730"/>
                        <a14:foregroundMark x1="63000" y1="2432" x2="89333" y2="4324"/>
                        <a14:foregroundMark x1="89333" y1="4324" x2="97222" y2="12568"/>
                        <a14:foregroundMark x1="97222" y1="12568" x2="97556" y2="13784"/>
                        <a14:foregroundMark x1="92333" y1="3784" x2="94222" y2="5676"/>
                        <a14:foregroundMark x1="21556" y1="10946" x2="21778" y2="35000"/>
                        <a14:foregroundMark x1="18000" y1="22027" x2="19778" y2="34054"/>
                        <a14:foregroundMark x1="19778" y1="34054" x2="25667" y2="48378"/>
                        <a14:foregroundMark x1="25667" y1="48378" x2="27111" y2="49865"/>
                        <a14:foregroundMark x1="14556" y1="33514" x2="44556" y2="52703"/>
                        <a14:foregroundMark x1="44556" y1="52703" x2="78222" y2="57838"/>
                        <a14:foregroundMark x1="19444" y1="40135" x2="21667" y2="45811"/>
                        <a14:foregroundMark x1="28000" y1="8243" x2="35000" y2="10676"/>
                        <a14:foregroundMark x1="72000" y1="49595" x2="78556" y2="57838"/>
                        <a14:foregroundMark x1="80667" y1="55946" x2="84556" y2="76757"/>
                        <a14:foregroundMark x1="84556" y1="76757" x2="80667" y2="84595"/>
                        <a14:foregroundMark x1="80667" y1="84595" x2="2000" y2="89324"/>
                        <a14:foregroundMark x1="3000" y1="92162" x2="48556" y2="96892"/>
                        <a14:foregroundMark x1="48556" y1="96892" x2="69556" y2="92568"/>
                        <a14:backgroundMark x1="4111" y1="4865" x2="5667" y2="36622"/>
                        <a14:backgroundMark x1="32889" y1="20946" x2="75333" y2="25135"/>
                      </a14:backgroundRemoval>
                    </a14:imgEffect>
                  </a14:imgLayer>
                </a14:imgProps>
              </a:ext>
            </a:extLst>
          </a:blip>
          <a:stretch>
            <a:fillRect/>
          </a:stretch>
        </p:blipFill>
        <p:spPr>
          <a:xfrm>
            <a:off x="2369422" y="979265"/>
            <a:ext cx="6889064" cy="4771327"/>
          </a:xfrm>
          <a:prstGeom prst="rect">
            <a:avLst/>
          </a:prstGeom>
        </p:spPr>
      </p:pic>
      <p:pic>
        <p:nvPicPr>
          <p:cNvPr id="6" name="Picture 5">
            <a:extLst>
              <a:ext uri="{FF2B5EF4-FFF2-40B4-BE49-F238E27FC236}">
                <a16:creationId xmlns:a16="http://schemas.microsoft.com/office/drawing/2014/main" id="{931BA2A6-39B5-6A73-C79C-6983110C2660}"/>
              </a:ext>
            </a:extLst>
          </p:cNvPr>
          <p:cNvPicPr>
            <a:picLocks noChangeAspect="1"/>
          </p:cNvPicPr>
          <p:nvPr/>
        </p:nvPicPr>
        <p:blipFill>
          <a:blip r:embed="rId6"/>
          <a:stretch>
            <a:fillRect/>
          </a:stretch>
        </p:blipFill>
        <p:spPr>
          <a:xfrm>
            <a:off x="3888190" y="4355462"/>
            <a:ext cx="1805640" cy="1717385"/>
          </a:xfrm>
          <a:prstGeom prst="rect">
            <a:avLst/>
          </a:prstGeom>
        </p:spPr>
      </p:pic>
      <p:pic>
        <p:nvPicPr>
          <p:cNvPr id="7" name="Picture 6">
            <a:extLst>
              <a:ext uri="{FF2B5EF4-FFF2-40B4-BE49-F238E27FC236}">
                <a16:creationId xmlns:a16="http://schemas.microsoft.com/office/drawing/2014/main" id="{A0FC4AFF-E147-52FC-A993-6EBFC3287350}"/>
              </a:ext>
            </a:extLst>
          </p:cNvPr>
          <p:cNvPicPr>
            <a:picLocks noChangeAspect="1"/>
          </p:cNvPicPr>
          <p:nvPr/>
        </p:nvPicPr>
        <p:blipFill>
          <a:blip r:embed="rId6"/>
          <a:stretch>
            <a:fillRect/>
          </a:stretch>
        </p:blipFill>
        <p:spPr>
          <a:xfrm>
            <a:off x="7490472" y="3801863"/>
            <a:ext cx="1805640" cy="1717385"/>
          </a:xfrm>
          <a:prstGeom prst="rect">
            <a:avLst/>
          </a:prstGeom>
        </p:spPr>
      </p:pic>
      <p:pic>
        <p:nvPicPr>
          <p:cNvPr id="8" name="Picture 7">
            <a:extLst>
              <a:ext uri="{FF2B5EF4-FFF2-40B4-BE49-F238E27FC236}">
                <a16:creationId xmlns:a16="http://schemas.microsoft.com/office/drawing/2014/main" id="{F953B314-7198-6DC0-4729-18174EC107D3}"/>
              </a:ext>
            </a:extLst>
          </p:cNvPr>
          <p:cNvPicPr>
            <a:picLocks noChangeAspect="1"/>
          </p:cNvPicPr>
          <p:nvPr/>
        </p:nvPicPr>
        <p:blipFill>
          <a:blip r:embed="rId6"/>
          <a:stretch>
            <a:fillRect/>
          </a:stretch>
        </p:blipFill>
        <p:spPr>
          <a:xfrm>
            <a:off x="3552303" y="2084478"/>
            <a:ext cx="1805640" cy="1717385"/>
          </a:xfrm>
          <a:prstGeom prst="rect">
            <a:avLst/>
          </a:prstGeom>
        </p:spPr>
      </p:pic>
      <p:pic>
        <p:nvPicPr>
          <p:cNvPr id="4" name="Picture 3">
            <a:extLst>
              <a:ext uri="{FF2B5EF4-FFF2-40B4-BE49-F238E27FC236}">
                <a16:creationId xmlns:a16="http://schemas.microsoft.com/office/drawing/2014/main" id="{58F8B7A4-1C8F-5946-6655-522263223583}"/>
              </a:ext>
            </a:extLst>
          </p:cNvPr>
          <p:cNvPicPr>
            <a:picLocks noChangeAspect="1"/>
          </p:cNvPicPr>
          <p:nvPr/>
        </p:nvPicPr>
        <p:blipFill>
          <a:blip r:embed="rId7"/>
          <a:stretch>
            <a:fillRect/>
          </a:stretch>
        </p:blipFill>
        <p:spPr>
          <a:xfrm>
            <a:off x="9296112" y="480060"/>
            <a:ext cx="2381250" cy="2381250"/>
          </a:xfrm>
          <a:prstGeom prst="rect">
            <a:avLst/>
          </a:prstGeom>
        </p:spPr>
      </p:pic>
      <p:pic>
        <p:nvPicPr>
          <p:cNvPr id="10" name="Am-thanh-phep-thuat-www_nhacchuongvui_com">
            <a:hlinkClick r:id="" action="ppaction://media"/>
            <a:extLst>
              <a:ext uri="{FF2B5EF4-FFF2-40B4-BE49-F238E27FC236}">
                <a16:creationId xmlns:a16="http://schemas.microsoft.com/office/drawing/2014/main" id="{E53CE2AC-3D82-D4E7-3980-33653BD6EA64}"/>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374506" y="6172201"/>
            <a:ext cx="640291" cy="640291"/>
          </a:xfrm>
          <a:prstGeom prst="rect">
            <a:avLst/>
          </a:prstGeom>
        </p:spPr>
      </p:pic>
      <p:pic>
        <p:nvPicPr>
          <p:cNvPr id="3" name="Picture 2">
            <a:extLst>
              <a:ext uri="{FF2B5EF4-FFF2-40B4-BE49-F238E27FC236}">
                <a16:creationId xmlns:a16="http://schemas.microsoft.com/office/drawing/2014/main" id="{62B613F1-F4EF-C6A4-8005-705555E95618}"/>
              </a:ext>
            </a:extLst>
          </p:cNvPr>
          <p:cNvPicPr>
            <a:picLocks noChangeAspect="1"/>
          </p:cNvPicPr>
          <p:nvPr/>
        </p:nvPicPr>
        <p:blipFill>
          <a:blip r:embed="rId6"/>
          <a:stretch>
            <a:fillRect/>
          </a:stretch>
        </p:blipFill>
        <p:spPr>
          <a:xfrm>
            <a:off x="5968865" y="406132"/>
            <a:ext cx="1805640" cy="1717385"/>
          </a:xfrm>
          <a:prstGeom prst="rect">
            <a:avLst/>
          </a:prstGeom>
        </p:spPr>
      </p:pic>
      <p:pic>
        <p:nvPicPr>
          <p:cNvPr id="2" name="Picture 1" descr="Không có mô tả ảnh.">
            <a:extLst>
              <a:ext uri="{FF2B5EF4-FFF2-40B4-BE49-F238E27FC236}">
                <a16:creationId xmlns:a16="http://schemas.microsoft.com/office/drawing/2014/main" id="{F5BB7E13-839C-B692-C3CB-11E6531DD443}"/>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4415" b="95791" l="9926" r="89578">
                        <a14:foregroundMark x1="41439" y1="7803" x2="57568" y2="15400"/>
                        <a14:foregroundMark x1="48139" y1="4620" x2="59926" y2="15606"/>
                        <a14:foregroundMark x1="30397" y1="26489" x2="54218" y2="42608"/>
                        <a14:foregroundMark x1="57568" y1="22690" x2="70223" y2="37680"/>
                        <a14:foregroundMark x1="55211" y1="26078" x2="67122" y2="33470"/>
                        <a14:foregroundMark x1="29529" y1="30903" x2="43921" y2="36242"/>
                        <a14:foregroundMark x1="36476" y1="29671" x2="41687" y2="29261"/>
                        <a14:foregroundMark x1="36725" y1="24743" x2="42432" y2="29466"/>
                        <a14:foregroundMark x1="48015" y1="89630" x2="46774" y2="94456"/>
                        <a14:foregroundMark x1="62779" y1="89014" x2="65261" y2="94251"/>
                        <a14:foregroundMark x1="58313" y1="92197" x2="63275" y2="95791"/>
                        <a14:foregroundMark x1="33375" y1="28645" x2="32878" y2="39220"/>
                        <a14:foregroundMark x1="59057" y1="28337" x2="67370" y2="30903"/>
                        <a14:foregroundMark x1="62779" y1="24743" x2="66005" y2="34805"/>
                      </a14:backgroundRemoval>
                    </a14:imgEffect>
                  </a14:imgLayer>
                </a14:imgProps>
              </a:ext>
              <a:ext uri="{28A0092B-C50C-407E-A947-70E740481C1C}">
                <a14:useLocalDpi xmlns:a14="http://schemas.microsoft.com/office/drawing/2010/main" val="0"/>
              </a:ext>
            </a:extLst>
          </a:blip>
          <a:stretch>
            <a:fillRect/>
          </a:stretch>
        </p:blipFill>
        <p:spPr bwMode="auto">
          <a:xfrm>
            <a:off x="5450627" y="-11001"/>
            <a:ext cx="2271134" cy="27445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853863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path" presetSubtype="0" accel="50000" decel="50000" fill="hold" nodeType="clickEffect">
                                  <p:stCondLst>
                                    <p:cond delay="0"/>
                                  </p:stCondLst>
                                  <p:childTnLst>
                                    <p:animMotion origin="layout" path="M 2.70833E-6 1.11111E-6 L 0.0914 0.01204 C 0.11015 0.01412 0.1388 0.01481 0.16966 0.01435 C 0.20482 0.01505 0.23203 0.01458 0.25208 0.01204 L 0.34661 0.00023 " pathEditMode="relative" rAng="0" ptsTypes="AAAAA">
                                      <p:cBhvr>
                                        <p:cTn id="6" dur="2000" fill="hold"/>
                                        <p:tgtEl>
                                          <p:spTgt spid="2"/>
                                        </p:tgtEl>
                                        <p:attrNameLst>
                                          <p:attrName>ppt_x</p:attrName>
                                          <p:attrName>ppt_y</p:attrName>
                                        </p:attrNameLst>
                                      </p:cBhvr>
                                      <p:rCtr x="17331" y="718"/>
                                    </p:animMotion>
                                  </p:childTnLst>
                                </p:cTn>
                              </p:par>
                              <p:par>
                                <p:cTn id="7" presetID="1" presetClass="mediacall" presetSubtype="0" fill="hold" nodeType="withEffect">
                                  <p:stCondLst>
                                    <p:cond delay="0"/>
                                  </p:stCondLst>
                                  <p:childTnLst>
                                    <p:cmd type="call" cmd="playFrom(0.0)">
                                      <p:cBhvr>
                                        <p:cTn id="8" dur="5193"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9" fill="hold" display="0">
                  <p:stCondLst>
                    <p:cond delay="indefinite"/>
                  </p:stCondLst>
                  <p:endCondLst>
                    <p:cond evt="onStopAudio" delay="0">
                      <p:tgtEl>
                        <p:sldTgt/>
                      </p:tgtEl>
                    </p:cond>
                  </p:endCondLst>
                </p:cTn>
                <p:tgtEl>
                  <p:spTgt spid="10"/>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7D904ED-94E2-CE3C-B996-69D22B4B38F0}"/>
              </a:ext>
            </a:extLst>
          </p:cNvPr>
          <p:cNvPicPr>
            <a:picLocks noChangeAspect="1"/>
          </p:cNvPicPr>
          <p:nvPr/>
        </p:nvPicPr>
        <p:blipFill>
          <a:blip r:embed="rId2">
            <a:alphaModFix amt="35000"/>
          </a:blip>
          <a:stretch>
            <a:fillRect/>
          </a:stretch>
        </p:blipFill>
        <p:spPr>
          <a:xfrm>
            <a:off x="0" y="-34006"/>
            <a:ext cx="12247464" cy="6926012"/>
          </a:xfrm>
          <a:prstGeom prst="rect">
            <a:avLst/>
          </a:prstGeom>
        </p:spPr>
      </p:pic>
      <p:sp>
        <p:nvSpPr>
          <p:cNvPr id="4" name="文本框 5">
            <a:extLst>
              <a:ext uri="{FF2B5EF4-FFF2-40B4-BE49-F238E27FC236}">
                <a16:creationId xmlns:a16="http://schemas.microsoft.com/office/drawing/2014/main" id="{ACD9853C-FED8-7687-DFEB-84538C817088}"/>
              </a:ext>
            </a:extLst>
          </p:cNvPr>
          <p:cNvSpPr txBox="1"/>
          <p:nvPr/>
        </p:nvSpPr>
        <p:spPr>
          <a:xfrm>
            <a:off x="309542" y="443436"/>
            <a:ext cx="11264605" cy="1384995"/>
          </a:xfrm>
          <a:custGeom>
            <a:avLst/>
            <a:gdLst>
              <a:gd name="connsiteX0" fmla="*/ 0 w 11264605"/>
              <a:gd name="connsiteY0" fmla="*/ 0 h 1384995"/>
              <a:gd name="connsiteX1" fmla="*/ 662624 w 11264605"/>
              <a:gd name="connsiteY1" fmla="*/ 0 h 1384995"/>
              <a:gd name="connsiteX2" fmla="*/ 1550540 w 11264605"/>
              <a:gd name="connsiteY2" fmla="*/ 0 h 1384995"/>
              <a:gd name="connsiteX3" fmla="*/ 2213164 w 11264605"/>
              <a:gd name="connsiteY3" fmla="*/ 0 h 1384995"/>
              <a:gd name="connsiteX4" fmla="*/ 3101079 w 11264605"/>
              <a:gd name="connsiteY4" fmla="*/ 0 h 1384995"/>
              <a:gd name="connsiteX5" fmla="*/ 3651057 w 11264605"/>
              <a:gd name="connsiteY5" fmla="*/ 0 h 1384995"/>
              <a:gd name="connsiteX6" fmla="*/ 3975743 w 11264605"/>
              <a:gd name="connsiteY6" fmla="*/ 0 h 1384995"/>
              <a:gd name="connsiteX7" fmla="*/ 4638367 w 11264605"/>
              <a:gd name="connsiteY7" fmla="*/ 0 h 1384995"/>
              <a:gd name="connsiteX8" fmla="*/ 4963052 w 11264605"/>
              <a:gd name="connsiteY8" fmla="*/ 0 h 1384995"/>
              <a:gd name="connsiteX9" fmla="*/ 5625676 w 11264605"/>
              <a:gd name="connsiteY9" fmla="*/ 0 h 1384995"/>
              <a:gd name="connsiteX10" fmla="*/ 6400946 w 11264605"/>
              <a:gd name="connsiteY10" fmla="*/ 0 h 1384995"/>
              <a:gd name="connsiteX11" fmla="*/ 7176216 w 11264605"/>
              <a:gd name="connsiteY11" fmla="*/ 0 h 1384995"/>
              <a:gd name="connsiteX12" fmla="*/ 7500902 w 11264605"/>
              <a:gd name="connsiteY12" fmla="*/ 0 h 1384995"/>
              <a:gd name="connsiteX13" fmla="*/ 7938233 w 11264605"/>
              <a:gd name="connsiteY13" fmla="*/ 0 h 1384995"/>
              <a:gd name="connsiteX14" fmla="*/ 8262919 w 11264605"/>
              <a:gd name="connsiteY14" fmla="*/ 0 h 1384995"/>
              <a:gd name="connsiteX15" fmla="*/ 8925543 w 11264605"/>
              <a:gd name="connsiteY15" fmla="*/ 0 h 1384995"/>
              <a:gd name="connsiteX16" fmla="*/ 9588167 w 11264605"/>
              <a:gd name="connsiteY16" fmla="*/ 0 h 1384995"/>
              <a:gd name="connsiteX17" fmla="*/ 10250791 w 11264605"/>
              <a:gd name="connsiteY17" fmla="*/ 0 h 1384995"/>
              <a:gd name="connsiteX18" fmla="*/ 11264605 w 11264605"/>
              <a:gd name="connsiteY18" fmla="*/ 0 h 1384995"/>
              <a:gd name="connsiteX19" fmla="*/ 11264605 w 11264605"/>
              <a:gd name="connsiteY19" fmla="*/ 706347 h 1384995"/>
              <a:gd name="connsiteX20" fmla="*/ 11264605 w 11264605"/>
              <a:gd name="connsiteY20" fmla="*/ 1384995 h 1384995"/>
              <a:gd name="connsiteX21" fmla="*/ 10714627 w 11264605"/>
              <a:gd name="connsiteY21" fmla="*/ 1384995 h 1384995"/>
              <a:gd name="connsiteX22" fmla="*/ 10164649 w 11264605"/>
              <a:gd name="connsiteY22" fmla="*/ 1384995 h 1384995"/>
              <a:gd name="connsiteX23" fmla="*/ 9614672 w 11264605"/>
              <a:gd name="connsiteY23" fmla="*/ 1384995 h 1384995"/>
              <a:gd name="connsiteX24" fmla="*/ 8952048 w 11264605"/>
              <a:gd name="connsiteY24" fmla="*/ 1384995 h 1384995"/>
              <a:gd name="connsiteX25" fmla="*/ 8627362 w 11264605"/>
              <a:gd name="connsiteY25" fmla="*/ 1384995 h 1384995"/>
              <a:gd name="connsiteX26" fmla="*/ 7739446 w 11264605"/>
              <a:gd name="connsiteY26" fmla="*/ 1384995 h 1384995"/>
              <a:gd name="connsiteX27" fmla="*/ 7302115 w 11264605"/>
              <a:gd name="connsiteY27" fmla="*/ 1384995 h 1384995"/>
              <a:gd name="connsiteX28" fmla="*/ 6864783 w 11264605"/>
              <a:gd name="connsiteY28" fmla="*/ 1384995 h 1384995"/>
              <a:gd name="connsiteX29" fmla="*/ 5976867 w 11264605"/>
              <a:gd name="connsiteY29" fmla="*/ 1384995 h 1384995"/>
              <a:gd name="connsiteX30" fmla="*/ 5088951 w 11264605"/>
              <a:gd name="connsiteY30" fmla="*/ 1384995 h 1384995"/>
              <a:gd name="connsiteX31" fmla="*/ 4538973 w 11264605"/>
              <a:gd name="connsiteY31" fmla="*/ 1384995 h 1384995"/>
              <a:gd name="connsiteX32" fmla="*/ 3763703 w 11264605"/>
              <a:gd name="connsiteY32" fmla="*/ 1384995 h 1384995"/>
              <a:gd name="connsiteX33" fmla="*/ 2875787 w 11264605"/>
              <a:gd name="connsiteY33" fmla="*/ 1384995 h 1384995"/>
              <a:gd name="connsiteX34" fmla="*/ 2213164 w 11264605"/>
              <a:gd name="connsiteY34" fmla="*/ 1384995 h 1384995"/>
              <a:gd name="connsiteX35" fmla="*/ 1437894 w 11264605"/>
              <a:gd name="connsiteY35" fmla="*/ 1384995 h 1384995"/>
              <a:gd name="connsiteX36" fmla="*/ 0 w 11264605"/>
              <a:gd name="connsiteY36" fmla="*/ 1384995 h 1384995"/>
              <a:gd name="connsiteX37" fmla="*/ 0 w 11264605"/>
              <a:gd name="connsiteY37" fmla="*/ 692498 h 1384995"/>
              <a:gd name="connsiteX38" fmla="*/ 0 w 11264605"/>
              <a:gd name="connsiteY38" fmla="*/ 0 h 1384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1264605" h="1384995" fill="none" extrusionOk="0">
                <a:moveTo>
                  <a:pt x="0" y="0"/>
                </a:moveTo>
                <a:cubicBezTo>
                  <a:pt x="288853" y="23777"/>
                  <a:pt x="475917" y="18607"/>
                  <a:pt x="662624" y="0"/>
                </a:cubicBezTo>
                <a:cubicBezTo>
                  <a:pt x="849331" y="-18607"/>
                  <a:pt x="1228175" y="-16799"/>
                  <a:pt x="1550540" y="0"/>
                </a:cubicBezTo>
                <a:cubicBezTo>
                  <a:pt x="1872905" y="16799"/>
                  <a:pt x="1915897" y="-9745"/>
                  <a:pt x="2213164" y="0"/>
                </a:cubicBezTo>
                <a:cubicBezTo>
                  <a:pt x="2510431" y="9745"/>
                  <a:pt x="2890554" y="41188"/>
                  <a:pt x="3101079" y="0"/>
                </a:cubicBezTo>
                <a:cubicBezTo>
                  <a:pt x="3311604" y="-41188"/>
                  <a:pt x="3444088" y="4564"/>
                  <a:pt x="3651057" y="0"/>
                </a:cubicBezTo>
                <a:cubicBezTo>
                  <a:pt x="3858026" y="-4564"/>
                  <a:pt x="3862429" y="-8599"/>
                  <a:pt x="3975743" y="0"/>
                </a:cubicBezTo>
                <a:cubicBezTo>
                  <a:pt x="4089057" y="8599"/>
                  <a:pt x="4358216" y="-396"/>
                  <a:pt x="4638367" y="0"/>
                </a:cubicBezTo>
                <a:cubicBezTo>
                  <a:pt x="4918518" y="396"/>
                  <a:pt x="4873998" y="-13705"/>
                  <a:pt x="4963052" y="0"/>
                </a:cubicBezTo>
                <a:cubicBezTo>
                  <a:pt x="5052107" y="13705"/>
                  <a:pt x="5438999" y="-3033"/>
                  <a:pt x="5625676" y="0"/>
                </a:cubicBezTo>
                <a:cubicBezTo>
                  <a:pt x="5812353" y="3033"/>
                  <a:pt x="6071367" y="21235"/>
                  <a:pt x="6400946" y="0"/>
                </a:cubicBezTo>
                <a:cubicBezTo>
                  <a:pt x="6730525" y="-21235"/>
                  <a:pt x="6808152" y="-24231"/>
                  <a:pt x="7176216" y="0"/>
                </a:cubicBezTo>
                <a:cubicBezTo>
                  <a:pt x="7544280" y="24231"/>
                  <a:pt x="7347259" y="-5139"/>
                  <a:pt x="7500902" y="0"/>
                </a:cubicBezTo>
                <a:cubicBezTo>
                  <a:pt x="7654545" y="5139"/>
                  <a:pt x="7736187" y="-15863"/>
                  <a:pt x="7938233" y="0"/>
                </a:cubicBezTo>
                <a:cubicBezTo>
                  <a:pt x="8140279" y="15863"/>
                  <a:pt x="8153330" y="7671"/>
                  <a:pt x="8262919" y="0"/>
                </a:cubicBezTo>
                <a:cubicBezTo>
                  <a:pt x="8372508" y="-7671"/>
                  <a:pt x="8663205" y="29401"/>
                  <a:pt x="8925543" y="0"/>
                </a:cubicBezTo>
                <a:cubicBezTo>
                  <a:pt x="9187881" y="-29401"/>
                  <a:pt x="9370642" y="33110"/>
                  <a:pt x="9588167" y="0"/>
                </a:cubicBezTo>
                <a:cubicBezTo>
                  <a:pt x="9805692" y="-33110"/>
                  <a:pt x="10032440" y="-31588"/>
                  <a:pt x="10250791" y="0"/>
                </a:cubicBezTo>
                <a:cubicBezTo>
                  <a:pt x="10469142" y="31588"/>
                  <a:pt x="10994260" y="33289"/>
                  <a:pt x="11264605" y="0"/>
                </a:cubicBezTo>
                <a:cubicBezTo>
                  <a:pt x="11238291" y="251812"/>
                  <a:pt x="11287451" y="463050"/>
                  <a:pt x="11264605" y="706347"/>
                </a:cubicBezTo>
                <a:cubicBezTo>
                  <a:pt x="11241759" y="949644"/>
                  <a:pt x="11250375" y="1165930"/>
                  <a:pt x="11264605" y="1384995"/>
                </a:cubicBezTo>
                <a:cubicBezTo>
                  <a:pt x="11113727" y="1382633"/>
                  <a:pt x="10848144" y="1390516"/>
                  <a:pt x="10714627" y="1384995"/>
                </a:cubicBezTo>
                <a:cubicBezTo>
                  <a:pt x="10581110" y="1379474"/>
                  <a:pt x="10343470" y="1401202"/>
                  <a:pt x="10164649" y="1384995"/>
                </a:cubicBezTo>
                <a:cubicBezTo>
                  <a:pt x="9985828" y="1368788"/>
                  <a:pt x="9784669" y="1402614"/>
                  <a:pt x="9614672" y="1384995"/>
                </a:cubicBezTo>
                <a:cubicBezTo>
                  <a:pt x="9444675" y="1367376"/>
                  <a:pt x="9128989" y="1380794"/>
                  <a:pt x="8952048" y="1384995"/>
                </a:cubicBezTo>
                <a:cubicBezTo>
                  <a:pt x="8775107" y="1389196"/>
                  <a:pt x="8773046" y="1392743"/>
                  <a:pt x="8627362" y="1384995"/>
                </a:cubicBezTo>
                <a:cubicBezTo>
                  <a:pt x="8481678" y="1377247"/>
                  <a:pt x="8111622" y="1340668"/>
                  <a:pt x="7739446" y="1384995"/>
                </a:cubicBezTo>
                <a:cubicBezTo>
                  <a:pt x="7367270" y="1429322"/>
                  <a:pt x="7465060" y="1384223"/>
                  <a:pt x="7302115" y="1384995"/>
                </a:cubicBezTo>
                <a:cubicBezTo>
                  <a:pt x="7139170" y="1385767"/>
                  <a:pt x="7059247" y="1376735"/>
                  <a:pt x="6864783" y="1384995"/>
                </a:cubicBezTo>
                <a:cubicBezTo>
                  <a:pt x="6670319" y="1393255"/>
                  <a:pt x="6419274" y="1354686"/>
                  <a:pt x="5976867" y="1384995"/>
                </a:cubicBezTo>
                <a:cubicBezTo>
                  <a:pt x="5534460" y="1415304"/>
                  <a:pt x="5489708" y="1382730"/>
                  <a:pt x="5088951" y="1384995"/>
                </a:cubicBezTo>
                <a:cubicBezTo>
                  <a:pt x="4688194" y="1387260"/>
                  <a:pt x="4713000" y="1361432"/>
                  <a:pt x="4538973" y="1384995"/>
                </a:cubicBezTo>
                <a:cubicBezTo>
                  <a:pt x="4364946" y="1408558"/>
                  <a:pt x="4012414" y="1356349"/>
                  <a:pt x="3763703" y="1384995"/>
                </a:cubicBezTo>
                <a:cubicBezTo>
                  <a:pt x="3514992" y="1413642"/>
                  <a:pt x="3178448" y="1424909"/>
                  <a:pt x="2875787" y="1384995"/>
                </a:cubicBezTo>
                <a:cubicBezTo>
                  <a:pt x="2573126" y="1345081"/>
                  <a:pt x="2521283" y="1388921"/>
                  <a:pt x="2213164" y="1384995"/>
                </a:cubicBezTo>
                <a:cubicBezTo>
                  <a:pt x="1905045" y="1381069"/>
                  <a:pt x="1665448" y="1397551"/>
                  <a:pt x="1437894" y="1384995"/>
                </a:cubicBezTo>
                <a:cubicBezTo>
                  <a:pt x="1210340" y="1372440"/>
                  <a:pt x="554050" y="1418607"/>
                  <a:pt x="0" y="1384995"/>
                </a:cubicBezTo>
                <a:cubicBezTo>
                  <a:pt x="-26523" y="1230974"/>
                  <a:pt x="-3906" y="961583"/>
                  <a:pt x="0" y="692498"/>
                </a:cubicBezTo>
                <a:cubicBezTo>
                  <a:pt x="3906" y="423413"/>
                  <a:pt x="-16177" y="196153"/>
                  <a:pt x="0" y="0"/>
                </a:cubicBezTo>
                <a:close/>
              </a:path>
              <a:path w="11264605" h="1384995" stroke="0" extrusionOk="0">
                <a:moveTo>
                  <a:pt x="0" y="0"/>
                </a:moveTo>
                <a:cubicBezTo>
                  <a:pt x="145187" y="-13619"/>
                  <a:pt x="222262" y="5486"/>
                  <a:pt x="324686" y="0"/>
                </a:cubicBezTo>
                <a:cubicBezTo>
                  <a:pt x="427110" y="-5486"/>
                  <a:pt x="797252" y="-29306"/>
                  <a:pt x="1099956" y="0"/>
                </a:cubicBezTo>
                <a:cubicBezTo>
                  <a:pt x="1402660" y="29306"/>
                  <a:pt x="1617895" y="28896"/>
                  <a:pt x="1875225" y="0"/>
                </a:cubicBezTo>
                <a:cubicBezTo>
                  <a:pt x="2132555" y="-28896"/>
                  <a:pt x="2083855" y="-4813"/>
                  <a:pt x="2199911" y="0"/>
                </a:cubicBezTo>
                <a:cubicBezTo>
                  <a:pt x="2315967" y="4813"/>
                  <a:pt x="2686889" y="-22820"/>
                  <a:pt x="3087827" y="0"/>
                </a:cubicBezTo>
                <a:cubicBezTo>
                  <a:pt x="3488765" y="22820"/>
                  <a:pt x="3269654" y="14275"/>
                  <a:pt x="3412513" y="0"/>
                </a:cubicBezTo>
                <a:cubicBezTo>
                  <a:pt x="3555372" y="-14275"/>
                  <a:pt x="4087974" y="-7380"/>
                  <a:pt x="4300429" y="0"/>
                </a:cubicBezTo>
                <a:cubicBezTo>
                  <a:pt x="4512884" y="7380"/>
                  <a:pt x="4573598" y="18777"/>
                  <a:pt x="4737760" y="0"/>
                </a:cubicBezTo>
                <a:cubicBezTo>
                  <a:pt x="4901922" y="-18777"/>
                  <a:pt x="5198613" y="29642"/>
                  <a:pt x="5625676" y="0"/>
                </a:cubicBezTo>
                <a:cubicBezTo>
                  <a:pt x="6052739" y="-29642"/>
                  <a:pt x="5849154" y="9043"/>
                  <a:pt x="6063008" y="0"/>
                </a:cubicBezTo>
                <a:cubicBezTo>
                  <a:pt x="6276862" y="-9043"/>
                  <a:pt x="6412168" y="-13349"/>
                  <a:pt x="6500340" y="0"/>
                </a:cubicBezTo>
                <a:cubicBezTo>
                  <a:pt x="6588512" y="13349"/>
                  <a:pt x="7116976" y="-17362"/>
                  <a:pt x="7388256" y="0"/>
                </a:cubicBezTo>
                <a:cubicBezTo>
                  <a:pt x="7659536" y="17362"/>
                  <a:pt x="7941823" y="40618"/>
                  <a:pt x="8276172" y="0"/>
                </a:cubicBezTo>
                <a:cubicBezTo>
                  <a:pt x="8610521" y="-40618"/>
                  <a:pt x="8844880" y="22518"/>
                  <a:pt x="9051441" y="0"/>
                </a:cubicBezTo>
                <a:cubicBezTo>
                  <a:pt x="9258002" y="-22518"/>
                  <a:pt x="9636904" y="-12921"/>
                  <a:pt x="9939357" y="0"/>
                </a:cubicBezTo>
                <a:cubicBezTo>
                  <a:pt x="10241810" y="12921"/>
                  <a:pt x="10340417" y="-22872"/>
                  <a:pt x="10601981" y="0"/>
                </a:cubicBezTo>
                <a:cubicBezTo>
                  <a:pt x="10863545" y="22872"/>
                  <a:pt x="10971694" y="14060"/>
                  <a:pt x="11264605" y="0"/>
                </a:cubicBezTo>
                <a:cubicBezTo>
                  <a:pt x="11237399" y="270474"/>
                  <a:pt x="11296839" y="446574"/>
                  <a:pt x="11264605" y="650948"/>
                </a:cubicBezTo>
                <a:cubicBezTo>
                  <a:pt x="11232371" y="855322"/>
                  <a:pt x="11275587" y="1047580"/>
                  <a:pt x="11264605" y="1384995"/>
                </a:cubicBezTo>
                <a:cubicBezTo>
                  <a:pt x="11058961" y="1387616"/>
                  <a:pt x="10927332" y="1402744"/>
                  <a:pt x="10601981" y="1384995"/>
                </a:cubicBezTo>
                <a:cubicBezTo>
                  <a:pt x="10276630" y="1367246"/>
                  <a:pt x="9954895" y="1402898"/>
                  <a:pt x="9714065" y="1384995"/>
                </a:cubicBezTo>
                <a:cubicBezTo>
                  <a:pt x="9473235" y="1367092"/>
                  <a:pt x="9507350" y="1369803"/>
                  <a:pt x="9389380" y="1384995"/>
                </a:cubicBezTo>
                <a:cubicBezTo>
                  <a:pt x="9271410" y="1400187"/>
                  <a:pt x="8860892" y="1379042"/>
                  <a:pt x="8501464" y="1384995"/>
                </a:cubicBezTo>
                <a:cubicBezTo>
                  <a:pt x="8142036" y="1390948"/>
                  <a:pt x="8174113" y="1397430"/>
                  <a:pt x="8064132" y="1384995"/>
                </a:cubicBezTo>
                <a:cubicBezTo>
                  <a:pt x="7954151" y="1372560"/>
                  <a:pt x="7694258" y="1374017"/>
                  <a:pt x="7401508" y="1384995"/>
                </a:cubicBezTo>
                <a:cubicBezTo>
                  <a:pt x="7108758" y="1395973"/>
                  <a:pt x="7101973" y="1393941"/>
                  <a:pt x="6851530" y="1384995"/>
                </a:cubicBezTo>
                <a:cubicBezTo>
                  <a:pt x="6601087" y="1376049"/>
                  <a:pt x="6612626" y="1397867"/>
                  <a:pt x="6414199" y="1384995"/>
                </a:cubicBezTo>
                <a:cubicBezTo>
                  <a:pt x="6215772" y="1372123"/>
                  <a:pt x="5949794" y="1412965"/>
                  <a:pt x="5526283" y="1384995"/>
                </a:cubicBezTo>
                <a:cubicBezTo>
                  <a:pt x="5102772" y="1357025"/>
                  <a:pt x="5089901" y="1348389"/>
                  <a:pt x="4751013" y="1384995"/>
                </a:cubicBezTo>
                <a:cubicBezTo>
                  <a:pt x="4412125" y="1421602"/>
                  <a:pt x="4391807" y="1389633"/>
                  <a:pt x="4201035" y="1384995"/>
                </a:cubicBezTo>
                <a:cubicBezTo>
                  <a:pt x="4010263" y="1380357"/>
                  <a:pt x="3701069" y="1405339"/>
                  <a:pt x="3538411" y="1384995"/>
                </a:cubicBezTo>
                <a:cubicBezTo>
                  <a:pt x="3375753" y="1364651"/>
                  <a:pt x="3209003" y="1406322"/>
                  <a:pt x="3101079" y="1384995"/>
                </a:cubicBezTo>
                <a:cubicBezTo>
                  <a:pt x="2993155" y="1363668"/>
                  <a:pt x="2811088" y="1398077"/>
                  <a:pt x="2663748" y="1384995"/>
                </a:cubicBezTo>
                <a:cubicBezTo>
                  <a:pt x="2516408" y="1371913"/>
                  <a:pt x="2491026" y="1400659"/>
                  <a:pt x="2339062" y="1384995"/>
                </a:cubicBezTo>
                <a:cubicBezTo>
                  <a:pt x="2187098" y="1369331"/>
                  <a:pt x="1899252" y="1387158"/>
                  <a:pt x="1789084" y="1384995"/>
                </a:cubicBezTo>
                <a:cubicBezTo>
                  <a:pt x="1678916" y="1382832"/>
                  <a:pt x="1562497" y="1391249"/>
                  <a:pt x="1464399" y="1384995"/>
                </a:cubicBezTo>
                <a:cubicBezTo>
                  <a:pt x="1366301" y="1378741"/>
                  <a:pt x="1135238" y="1380689"/>
                  <a:pt x="914421" y="1384995"/>
                </a:cubicBezTo>
                <a:cubicBezTo>
                  <a:pt x="693604" y="1389301"/>
                  <a:pt x="213646" y="1416666"/>
                  <a:pt x="0" y="1384995"/>
                </a:cubicBezTo>
                <a:cubicBezTo>
                  <a:pt x="-29918" y="1088701"/>
                  <a:pt x="-1959" y="917558"/>
                  <a:pt x="0" y="706347"/>
                </a:cubicBezTo>
                <a:cubicBezTo>
                  <a:pt x="1959" y="495136"/>
                  <a:pt x="-25587" y="222783"/>
                  <a:pt x="0" y="0"/>
                </a:cubicBezTo>
                <a:close/>
              </a:path>
            </a:pathLst>
          </a:custGeom>
          <a:solidFill>
            <a:schemeClr val="bg1"/>
          </a:solidFill>
          <a:ln w="28575">
            <a:solidFill>
              <a:srgbClr val="00B0F0"/>
            </a:solidFill>
            <a:prstDash val="lgDash"/>
            <a:extLst>
              <a:ext uri="{C807C97D-BFC1-408E-A445-0C87EB9F89A2}">
                <ask:lineSketchStyleProps xmlns:ask="http://schemas.microsoft.com/office/drawing/2018/sketchyshapes" sd="2786970889">
                  <a:prstGeom prst="rect">
                    <a:avLst/>
                  </a:prstGeom>
                  <ask:type>
                    <ask:lineSketchFreehand/>
                  </ask:type>
                </ask:lineSketchStyleProps>
              </a:ext>
            </a:extLst>
          </a:ln>
        </p:spPr>
        <p:txBody>
          <a:bodyPr wrap="square" rtlCol="0">
            <a:spAutoFit/>
          </a:bodyPr>
          <a:lstStyle/>
          <a:p>
            <a:pPr algn="just"/>
            <a:r>
              <a:rPr lang="en-US" sz="2800" b="1" i="1" u="sng" dirty="0" err="1">
                <a:solidFill>
                  <a:srgbClr val="0070C0"/>
                </a:solidFill>
                <a:latin typeface="UTM Neo Sans Intel" pitchFamily="18" charset="0"/>
              </a:rPr>
              <a:t>Bài</a:t>
            </a:r>
            <a:r>
              <a:rPr lang="en-US" sz="2800" b="1" i="1" u="sng" dirty="0">
                <a:solidFill>
                  <a:srgbClr val="0070C0"/>
                </a:solidFill>
                <a:latin typeface="UTM Neo Sans Intel" pitchFamily="18" charset="0"/>
              </a:rPr>
              <a:t> 5</a:t>
            </a:r>
            <a:r>
              <a:rPr lang="en-US" sz="2800" b="1" i="1" dirty="0">
                <a:solidFill>
                  <a:srgbClr val="0070C0"/>
                </a:solidFill>
                <a:latin typeface="UTM Neo Sans Intel" pitchFamily="18" charset="0"/>
              </a:rPr>
              <a:t>: </a:t>
            </a:r>
            <a:r>
              <a:rPr lang="vi-VN" sz="2800" b="1" i="1" dirty="0">
                <a:solidFill>
                  <a:srgbClr val="0070C0"/>
                </a:solidFill>
              </a:rPr>
              <a:t>Tổng của ba số bằng 8. Tổng của số thứ nhất và số thứ hai bằng 4,7. Tổng của số thứ hai và số thứ ba bằng 5,5. Hãy tìm số đó.</a:t>
            </a:r>
            <a:endParaRPr lang="zh-CN" altLang="en-US" sz="2800" b="1" i="1" dirty="0">
              <a:solidFill>
                <a:srgbClr val="0070C0"/>
              </a:solidFill>
              <a:latin typeface="UTM Neo Sans Intel" pitchFamily="18" charset="0"/>
            </a:endParaRPr>
          </a:p>
        </p:txBody>
      </p:sp>
      <p:cxnSp>
        <p:nvCxnSpPr>
          <p:cNvPr id="5" name="Straight Connector 4">
            <a:extLst>
              <a:ext uri="{FF2B5EF4-FFF2-40B4-BE49-F238E27FC236}">
                <a16:creationId xmlns:a16="http://schemas.microsoft.com/office/drawing/2014/main" id="{B018ADA7-6861-8C40-E851-FDDFFEAC31C2}"/>
              </a:ext>
            </a:extLst>
          </p:cNvPr>
          <p:cNvCxnSpPr>
            <a:cxnSpLocks/>
          </p:cNvCxnSpPr>
          <p:nvPr/>
        </p:nvCxnSpPr>
        <p:spPr>
          <a:xfrm>
            <a:off x="1443422" y="930232"/>
            <a:ext cx="3839778" cy="0"/>
          </a:xfrm>
          <a:prstGeom prst="line">
            <a:avLst/>
          </a:prstGeom>
          <a:ln w="28575">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6" name="Straight Connector 5">
            <a:extLst>
              <a:ext uri="{FF2B5EF4-FFF2-40B4-BE49-F238E27FC236}">
                <a16:creationId xmlns:a16="http://schemas.microsoft.com/office/drawing/2014/main" id="{58381D40-178C-14C4-853E-4305E3DEB3DD}"/>
              </a:ext>
            </a:extLst>
          </p:cNvPr>
          <p:cNvCxnSpPr>
            <a:cxnSpLocks/>
          </p:cNvCxnSpPr>
          <p:nvPr/>
        </p:nvCxnSpPr>
        <p:spPr>
          <a:xfrm>
            <a:off x="5541749" y="930232"/>
            <a:ext cx="5908571" cy="0"/>
          </a:xfrm>
          <a:prstGeom prst="line">
            <a:avLst/>
          </a:prstGeom>
          <a:ln w="28575">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7" name="Straight Connector 6">
            <a:extLst>
              <a:ext uri="{FF2B5EF4-FFF2-40B4-BE49-F238E27FC236}">
                <a16:creationId xmlns:a16="http://schemas.microsoft.com/office/drawing/2014/main" id="{11514185-EFBE-7E7C-8C19-400E1FA79BF4}"/>
              </a:ext>
            </a:extLst>
          </p:cNvPr>
          <p:cNvCxnSpPr>
            <a:cxnSpLocks/>
          </p:cNvCxnSpPr>
          <p:nvPr/>
        </p:nvCxnSpPr>
        <p:spPr>
          <a:xfrm>
            <a:off x="386782" y="1380459"/>
            <a:ext cx="1350578" cy="0"/>
          </a:xfrm>
          <a:prstGeom prst="line">
            <a:avLst/>
          </a:prstGeom>
          <a:ln w="28575">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8" name="Straight Connector 7">
            <a:extLst>
              <a:ext uri="{FF2B5EF4-FFF2-40B4-BE49-F238E27FC236}">
                <a16:creationId xmlns:a16="http://schemas.microsoft.com/office/drawing/2014/main" id="{5B4CE4D0-7327-0D39-61EF-7007BE034196}"/>
              </a:ext>
            </a:extLst>
          </p:cNvPr>
          <p:cNvCxnSpPr/>
          <p:nvPr/>
        </p:nvCxnSpPr>
        <p:spPr>
          <a:xfrm>
            <a:off x="2122342" y="1380459"/>
            <a:ext cx="2942711" cy="0"/>
          </a:xfrm>
          <a:prstGeom prst="line">
            <a:avLst/>
          </a:prstGeom>
          <a:ln w="28575">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9" name="Straight Connector 8">
            <a:extLst>
              <a:ext uri="{FF2B5EF4-FFF2-40B4-BE49-F238E27FC236}">
                <a16:creationId xmlns:a16="http://schemas.microsoft.com/office/drawing/2014/main" id="{16A07033-1F99-B45F-DC43-CA6AB8278256}"/>
              </a:ext>
            </a:extLst>
          </p:cNvPr>
          <p:cNvCxnSpPr/>
          <p:nvPr/>
        </p:nvCxnSpPr>
        <p:spPr>
          <a:xfrm>
            <a:off x="6096000" y="1380459"/>
            <a:ext cx="1629289" cy="0"/>
          </a:xfrm>
          <a:prstGeom prst="line">
            <a:avLst/>
          </a:prstGeom>
          <a:ln w="28575">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0" name="Straight Connector 9">
            <a:extLst>
              <a:ext uri="{FF2B5EF4-FFF2-40B4-BE49-F238E27FC236}">
                <a16:creationId xmlns:a16="http://schemas.microsoft.com/office/drawing/2014/main" id="{C0116473-BD9A-3CD0-0732-BAF70249862A}"/>
              </a:ext>
            </a:extLst>
          </p:cNvPr>
          <p:cNvCxnSpPr>
            <a:cxnSpLocks/>
          </p:cNvCxnSpPr>
          <p:nvPr/>
        </p:nvCxnSpPr>
        <p:spPr>
          <a:xfrm>
            <a:off x="8036560" y="1380459"/>
            <a:ext cx="701040" cy="0"/>
          </a:xfrm>
          <a:prstGeom prst="line">
            <a:avLst/>
          </a:prstGeom>
          <a:ln w="28575">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1" name="Straight Connector 10">
            <a:extLst>
              <a:ext uri="{FF2B5EF4-FFF2-40B4-BE49-F238E27FC236}">
                <a16:creationId xmlns:a16="http://schemas.microsoft.com/office/drawing/2014/main" id="{BB1B432B-54E2-DE37-9E2E-0EB9B1201AE9}"/>
              </a:ext>
            </a:extLst>
          </p:cNvPr>
          <p:cNvCxnSpPr>
            <a:cxnSpLocks/>
          </p:cNvCxnSpPr>
          <p:nvPr/>
        </p:nvCxnSpPr>
        <p:spPr>
          <a:xfrm>
            <a:off x="10424160" y="1380459"/>
            <a:ext cx="1051526" cy="0"/>
          </a:xfrm>
          <a:prstGeom prst="line">
            <a:avLst/>
          </a:prstGeom>
          <a:ln w="28575">
            <a:solidFill>
              <a:srgbClr val="FF0000"/>
            </a:solidFill>
          </a:ln>
        </p:spPr>
        <p:style>
          <a:lnRef idx="3">
            <a:schemeClr val="accent2"/>
          </a:lnRef>
          <a:fillRef idx="0">
            <a:schemeClr val="accent2"/>
          </a:fillRef>
          <a:effectRef idx="2">
            <a:schemeClr val="accent2"/>
          </a:effectRef>
          <a:fontRef idx="minor">
            <a:schemeClr val="tx1"/>
          </a:fontRef>
        </p:style>
      </p:cxnSp>
      <p:pic>
        <p:nvPicPr>
          <p:cNvPr id="20" name="Picture 19" descr="A cartoon bear holding a yellow number&#10;&#10;Description automatically generated">
            <a:extLst>
              <a:ext uri="{FF2B5EF4-FFF2-40B4-BE49-F238E27FC236}">
                <a16:creationId xmlns:a16="http://schemas.microsoft.com/office/drawing/2014/main" id="{7350205A-A0CE-73DC-6C9A-24410D15CF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76080" y="4178330"/>
            <a:ext cx="2910445" cy="3191117"/>
          </a:xfrm>
          <a:prstGeom prst="rect">
            <a:avLst/>
          </a:prstGeom>
        </p:spPr>
      </p:pic>
    </p:spTree>
    <p:extLst>
      <p:ext uri="{BB962C8B-B14F-4D97-AF65-F5344CB8AC3E}">
        <p14:creationId xmlns:p14="http://schemas.microsoft.com/office/powerpoint/2010/main" val="40157112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left)">
                                      <p:cBhvr>
                                        <p:cTn id="17" dur="500"/>
                                        <p:tgtEl>
                                          <p:spTgt spid="6"/>
                                        </p:tgtEl>
                                      </p:cBhvr>
                                    </p:animEffect>
                                  </p:childTnLst>
                                </p:cTn>
                              </p:par>
                            </p:childTnLst>
                          </p:cTn>
                        </p:par>
                        <p:par>
                          <p:cTn id="18" fill="hold">
                            <p:stCondLst>
                              <p:cond delay="500"/>
                            </p:stCondLst>
                            <p:childTnLst>
                              <p:par>
                                <p:cTn id="19" presetID="22" presetClass="entr" presetSubtype="8" fill="hold"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wipe(left)">
                                      <p:cBhvr>
                                        <p:cTn id="21" dur="500"/>
                                        <p:tgtEl>
                                          <p:spTgt spid="7"/>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wipe(left)">
                                      <p:cBhvr>
                                        <p:cTn id="26" dur="500"/>
                                        <p:tgtEl>
                                          <p:spTgt spid="8"/>
                                        </p:tgtEl>
                                      </p:cBhvr>
                                    </p:animEffect>
                                  </p:childTnLst>
                                </p:cTn>
                              </p:par>
                            </p:childTnLst>
                          </p:cTn>
                        </p:par>
                        <p:par>
                          <p:cTn id="27" fill="hold">
                            <p:stCondLst>
                              <p:cond delay="500"/>
                            </p:stCondLst>
                            <p:childTnLst>
                              <p:par>
                                <p:cTn id="28" presetID="22" presetClass="entr" presetSubtype="8" fill="hold" nodeType="after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wipe(left)">
                                      <p:cBhvr>
                                        <p:cTn id="30" dur="500"/>
                                        <p:tgtEl>
                                          <p:spTgt spid="9"/>
                                        </p:tgtEl>
                                      </p:cBhvr>
                                    </p:animEffect>
                                  </p:childTnLst>
                                </p:cTn>
                              </p:par>
                            </p:childTnLst>
                          </p:cTn>
                        </p:par>
                        <p:par>
                          <p:cTn id="31" fill="hold">
                            <p:stCondLst>
                              <p:cond delay="1000"/>
                            </p:stCondLst>
                            <p:childTnLst>
                              <p:par>
                                <p:cTn id="32" presetID="22" presetClass="entr" presetSubtype="8" fill="hold" nodeType="after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wipe(left)">
                                      <p:cBhvr>
                                        <p:cTn id="34" dur="500"/>
                                        <p:tgtEl>
                                          <p:spTgt spid="10"/>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nodeType="click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wipe(left)">
                                      <p:cBhvr>
                                        <p:cTn id="3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7D904ED-94E2-CE3C-B996-69D22B4B38F0}"/>
              </a:ext>
            </a:extLst>
          </p:cNvPr>
          <p:cNvPicPr>
            <a:picLocks noChangeAspect="1"/>
          </p:cNvPicPr>
          <p:nvPr/>
        </p:nvPicPr>
        <p:blipFill>
          <a:blip r:embed="rId4">
            <a:alphaModFix amt="35000"/>
          </a:blip>
          <a:stretch>
            <a:fillRect/>
          </a:stretch>
        </p:blipFill>
        <p:spPr>
          <a:xfrm>
            <a:off x="0" y="-34006"/>
            <a:ext cx="12247464" cy="6926012"/>
          </a:xfrm>
          <a:prstGeom prst="rect">
            <a:avLst/>
          </a:prstGeom>
        </p:spPr>
      </p:pic>
      <p:sp>
        <p:nvSpPr>
          <p:cNvPr id="4" name="文本框 5">
            <a:extLst>
              <a:ext uri="{FF2B5EF4-FFF2-40B4-BE49-F238E27FC236}">
                <a16:creationId xmlns:a16="http://schemas.microsoft.com/office/drawing/2014/main" id="{ACD9853C-FED8-7687-DFEB-84538C817088}"/>
              </a:ext>
            </a:extLst>
          </p:cNvPr>
          <p:cNvSpPr txBox="1"/>
          <p:nvPr/>
        </p:nvSpPr>
        <p:spPr>
          <a:xfrm>
            <a:off x="309542" y="443436"/>
            <a:ext cx="11264605" cy="1200329"/>
          </a:xfrm>
          <a:custGeom>
            <a:avLst/>
            <a:gdLst>
              <a:gd name="connsiteX0" fmla="*/ 0 w 11264605"/>
              <a:gd name="connsiteY0" fmla="*/ 0 h 1200329"/>
              <a:gd name="connsiteX1" fmla="*/ 662624 w 11264605"/>
              <a:gd name="connsiteY1" fmla="*/ 0 h 1200329"/>
              <a:gd name="connsiteX2" fmla="*/ 1550540 w 11264605"/>
              <a:gd name="connsiteY2" fmla="*/ 0 h 1200329"/>
              <a:gd name="connsiteX3" fmla="*/ 2213164 w 11264605"/>
              <a:gd name="connsiteY3" fmla="*/ 0 h 1200329"/>
              <a:gd name="connsiteX4" fmla="*/ 3101079 w 11264605"/>
              <a:gd name="connsiteY4" fmla="*/ 0 h 1200329"/>
              <a:gd name="connsiteX5" fmla="*/ 3651057 w 11264605"/>
              <a:gd name="connsiteY5" fmla="*/ 0 h 1200329"/>
              <a:gd name="connsiteX6" fmla="*/ 3975743 w 11264605"/>
              <a:gd name="connsiteY6" fmla="*/ 0 h 1200329"/>
              <a:gd name="connsiteX7" fmla="*/ 4638367 w 11264605"/>
              <a:gd name="connsiteY7" fmla="*/ 0 h 1200329"/>
              <a:gd name="connsiteX8" fmla="*/ 4963052 w 11264605"/>
              <a:gd name="connsiteY8" fmla="*/ 0 h 1200329"/>
              <a:gd name="connsiteX9" fmla="*/ 5625676 w 11264605"/>
              <a:gd name="connsiteY9" fmla="*/ 0 h 1200329"/>
              <a:gd name="connsiteX10" fmla="*/ 6400946 w 11264605"/>
              <a:gd name="connsiteY10" fmla="*/ 0 h 1200329"/>
              <a:gd name="connsiteX11" fmla="*/ 7176216 w 11264605"/>
              <a:gd name="connsiteY11" fmla="*/ 0 h 1200329"/>
              <a:gd name="connsiteX12" fmla="*/ 7500902 w 11264605"/>
              <a:gd name="connsiteY12" fmla="*/ 0 h 1200329"/>
              <a:gd name="connsiteX13" fmla="*/ 7938233 w 11264605"/>
              <a:gd name="connsiteY13" fmla="*/ 0 h 1200329"/>
              <a:gd name="connsiteX14" fmla="*/ 8262919 w 11264605"/>
              <a:gd name="connsiteY14" fmla="*/ 0 h 1200329"/>
              <a:gd name="connsiteX15" fmla="*/ 8925543 w 11264605"/>
              <a:gd name="connsiteY15" fmla="*/ 0 h 1200329"/>
              <a:gd name="connsiteX16" fmla="*/ 9588167 w 11264605"/>
              <a:gd name="connsiteY16" fmla="*/ 0 h 1200329"/>
              <a:gd name="connsiteX17" fmla="*/ 10250791 w 11264605"/>
              <a:gd name="connsiteY17" fmla="*/ 0 h 1200329"/>
              <a:gd name="connsiteX18" fmla="*/ 11264605 w 11264605"/>
              <a:gd name="connsiteY18" fmla="*/ 0 h 1200329"/>
              <a:gd name="connsiteX19" fmla="*/ 11264605 w 11264605"/>
              <a:gd name="connsiteY19" fmla="*/ 612168 h 1200329"/>
              <a:gd name="connsiteX20" fmla="*/ 11264605 w 11264605"/>
              <a:gd name="connsiteY20" fmla="*/ 1200329 h 1200329"/>
              <a:gd name="connsiteX21" fmla="*/ 10714627 w 11264605"/>
              <a:gd name="connsiteY21" fmla="*/ 1200329 h 1200329"/>
              <a:gd name="connsiteX22" fmla="*/ 10164649 w 11264605"/>
              <a:gd name="connsiteY22" fmla="*/ 1200329 h 1200329"/>
              <a:gd name="connsiteX23" fmla="*/ 9614672 w 11264605"/>
              <a:gd name="connsiteY23" fmla="*/ 1200329 h 1200329"/>
              <a:gd name="connsiteX24" fmla="*/ 8952048 w 11264605"/>
              <a:gd name="connsiteY24" fmla="*/ 1200329 h 1200329"/>
              <a:gd name="connsiteX25" fmla="*/ 8627362 w 11264605"/>
              <a:gd name="connsiteY25" fmla="*/ 1200329 h 1200329"/>
              <a:gd name="connsiteX26" fmla="*/ 7739446 w 11264605"/>
              <a:gd name="connsiteY26" fmla="*/ 1200329 h 1200329"/>
              <a:gd name="connsiteX27" fmla="*/ 7302115 w 11264605"/>
              <a:gd name="connsiteY27" fmla="*/ 1200329 h 1200329"/>
              <a:gd name="connsiteX28" fmla="*/ 6864783 w 11264605"/>
              <a:gd name="connsiteY28" fmla="*/ 1200329 h 1200329"/>
              <a:gd name="connsiteX29" fmla="*/ 5976867 w 11264605"/>
              <a:gd name="connsiteY29" fmla="*/ 1200329 h 1200329"/>
              <a:gd name="connsiteX30" fmla="*/ 5088951 w 11264605"/>
              <a:gd name="connsiteY30" fmla="*/ 1200329 h 1200329"/>
              <a:gd name="connsiteX31" fmla="*/ 4538973 w 11264605"/>
              <a:gd name="connsiteY31" fmla="*/ 1200329 h 1200329"/>
              <a:gd name="connsiteX32" fmla="*/ 3763703 w 11264605"/>
              <a:gd name="connsiteY32" fmla="*/ 1200329 h 1200329"/>
              <a:gd name="connsiteX33" fmla="*/ 2875787 w 11264605"/>
              <a:gd name="connsiteY33" fmla="*/ 1200329 h 1200329"/>
              <a:gd name="connsiteX34" fmla="*/ 2213164 w 11264605"/>
              <a:gd name="connsiteY34" fmla="*/ 1200329 h 1200329"/>
              <a:gd name="connsiteX35" fmla="*/ 1437894 w 11264605"/>
              <a:gd name="connsiteY35" fmla="*/ 1200329 h 1200329"/>
              <a:gd name="connsiteX36" fmla="*/ 0 w 11264605"/>
              <a:gd name="connsiteY36" fmla="*/ 1200329 h 1200329"/>
              <a:gd name="connsiteX37" fmla="*/ 0 w 11264605"/>
              <a:gd name="connsiteY37" fmla="*/ 600165 h 1200329"/>
              <a:gd name="connsiteX38" fmla="*/ 0 w 11264605"/>
              <a:gd name="connsiteY38" fmla="*/ 0 h 12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1264605" h="1200329" fill="none" extrusionOk="0">
                <a:moveTo>
                  <a:pt x="0" y="0"/>
                </a:moveTo>
                <a:cubicBezTo>
                  <a:pt x="288853" y="23777"/>
                  <a:pt x="475917" y="18607"/>
                  <a:pt x="662624" y="0"/>
                </a:cubicBezTo>
                <a:cubicBezTo>
                  <a:pt x="849331" y="-18607"/>
                  <a:pt x="1228175" y="-16799"/>
                  <a:pt x="1550540" y="0"/>
                </a:cubicBezTo>
                <a:cubicBezTo>
                  <a:pt x="1872905" y="16799"/>
                  <a:pt x="1915897" y="-9745"/>
                  <a:pt x="2213164" y="0"/>
                </a:cubicBezTo>
                <a:cubicBezTo>
                  <a:pt x="2510431" y="9745"/>
                  <a:pt x="2890554" y="41188"/>
                  <a:pt x="3101079" y="0"/>
                </a:cubicBezTo>
                <a:cubicBezTo>
                  <a:pt x="3311604" y="-41188"/>
                  <a:pt x="3444088" y="4564"/>
                  <a:pt x="3651057" y="0"/>
                </a:cubicBezTo>
                <a:cubicBezTo>
                  <a:pt x="3858026" y="-4564"/>
                  <a:pt x="3862429" y="-8599"/>
                  <a:pt x="3975743" y="0"/>
                </a:cubicBezTo>
                <a:cubicBezTo>
                  <a:pt x="4089057" y="8599"/>
                  <a:pt x="4358216" y="-396"/>
                  <a:pt x="4638367" y="0"/>
                </a:cubicBezTo>
                <a:cubicBezTo>
                  <a:pt x="4918518" y="396"/>
                  <a:pt x="4873998" y="-13705"/>
                  <a:pt x="4963052" y="0"/>
                </a:cubicBezTo>
                <a:cubicBezTo>
                  <a:pt x="5052107" y="13705"/>
                  <a:pt x="5438999" y="-3033"/>
                  <a:pt x="5625676" y="0"/>
                </a:cubicBezTo>
                <a:cubicBezTo>
                  <a:pt x="5812353" y="3033"/>
                  <a:pt x="6071367" y="21235"/>
                  <a:pt x="6400946" y="0"/>
                </a:cubicBezTo>
                <a:cubicBezTo>
                  <a:pt x="6730525" y="-21235"/>
                  <a:pt x="6808152" y="-24231"/>
                  <a:pt x="7176216" y="0"/>
                </a:cubicBezTo>
                <a:cubicBezTo>
                  <a:pt x="7544280" y="24231"/>
                  <a:pt x="7347259" y="-5139"/>
                  <a:pt x="7500902" y="0"/>
                </a:cubicBezTo>
                <a:cubicBezTo>
                  <a:pt x="7654545" y="5139"/>
                  <a:pt x="7736187" y="-15863"/>
                  <a:pt x="7938233" y="0"/>
                </a:cubicBezTo>
                <a:cubicBezTo>
                  <a:pt x="8140279" y="15863"/>
                  <a:pt x="8153330" y="7671"/>
                  <a:pt x="8262919" y="0"/>
                </a:cubicBezTo>
                <a:cubicBezTo>
                  <a:pt x="8372508" y="-7671"/>
                  <a:pt x="8663205" y="29401"/>
                  <a:pt x="8925543" y="0"/>
                </a:cubicBezTo>
                <a:cubicBezTo>
                  <a:pt x="9187881" y="-29401"/>
                  <a:pt x="9370642" y="33110"/>
                  <a:pt x="9588167" y="0"/>
                </a:cubicBezTo>
                <a:cubicBezTo>
                  <a:pt x="9805692" y="-33110"/>
                  <a:pt x="10032440" y="-31588"/>
                  <a:pt x="10250791" y="0"/>
                </a:cubicBezTo>
                <a:cubicBezTo>
                  <a:pt x="10469142" y="31588"/>
                  <a:pt x="10994260" y="33289"/>
                  <a:pt x="11264605" y="0"/>
                </a:cubicBezTo>
                <a:cubicBezTo>
                  <a:pt x="11274454" y="202669"/>
                  <a:pt x="11240415" y="356586"/>
                  <a:pt x="11264605" y="612168"/>
                </a:cubicBezTo>
                <a:cubicBezTo>
                  <a:pt x="11288795" y="867750"/>
                  <a:pt x="11260514" y="1067780"/>
                  <a:pt x="11264605" y="1200329"/>
                </a:cubicBezTo>
                <a:cubicBezTo>
                  <a:pt x="11113727" y="1197967"/>
                  <a:pt x="10848144" y="1205850"/>
                  <a:pt x="10714627" y="1200329"/>
                </a:cubicBezTo>
                <a:cubicBezTo>
                  <a:pt x="10581110" y="1194808"/>
                  <a:pt x="10343470" y="1216536"/>
                  <a:pt x="10164649" y="1200329"/>
                </a:cubicBezTo>
                <a:cubicBezTo>
                  <a:pt x="9985828" y="1184122"/>
                  <a:pt x="9784669" y="1217948"/>
                  <a:pt x="9614672" y="1200329"/>
                </a:cubicBezTo>
                <a:cubicBezTo>
                  <a:pt x="9444675" y="1182710"/>
                  <a:pt x="9128989" y="1196128"/>
                  <a:pt x="8952048" y="1200329"/>
                </a:cubicBezTo>
                <a:cubicBezTo>
                  <a:pt x="8775107" y="1204530"/>
                  <a:pt x="8773046" y="1208077"/>
                  <a:pt x="8627362" y="1200329"/>
                </a:cubicBezTo>
                <a:cubicBezTo>
                  <a:pt x="8481678" y="1192581"/>
                  <a:pt x="8111622" y="1156002"/>
                  <a:pt x="7739446" y="1200329"/>
                </a:cubicBezTo>
                <a:cubicBezTo>
                  <a:pt x="7367270" y="1244656"/>
                  <a:pt x="7465060" y="1199557"/>
                  <a:pt x="7302115" y="1200329"/>
                </a:cubicBezTo>
                <a:cubicBezTo>
                  <a:pt x="7139170" y="1201101"/>
                  <a:pt x="7059247" y="1192069"/>
                  <a:pt x="6864783" y="1200329"/>
                </a:cubicBezTo>
                <a:cubicBezTo>
                  <a:pt x="6670319" y="1208589"/>
                  <a:pt x="6419274" y="1170020"/>
                  <a:pt x="5976867" y="1200329"/>
                </a:cubicBezTo>
                <a:cubicBezTo>
                  <a:pt x="5534460" y="1230638"/>
                  <a:pt x="5489708" y="1198064"/>
                  <a:pt x="5088951" y="1200329"/>
                </a:cubicBezTo>
                <a:cubicBezTo>
                  <a:pt x="4688194" y="1202594"/>
                  <a:pt x="4713000" y="1176766"/>
                  <a:pt x="4538973" y="1200329"/>
                </a:cubicBezTo>
                <a:cubicBezTo>
                  <a:pt x="4364946" y="1223892"/>
                  <a:pt x="4012414" y="1171683"/>
                  <a:pt x="3763703" y="1200329"/>
                </a:cubicBezTo>
                <a:cubicBezTo>
                  <a:pt x="3514992" y="1228976"/>
                  <a:pt x="3178448" y="1240243"/>
                  <a:pt x="2875787" y="1200329"/>
                </a:cubicBezTo>
                <a:cubicBezTo>
                  <a:pt x="2573126" y="1160415"/>
                  <a:pt x="2521283" y="1204255"/>
                  <a:pt x="2213164" y="1200329"/>
                </a:cubicBezTo>
                <a:cubicBezTo>
                  <a:pt x="1905045" y="1196403"/>
                  <a:pt x="1665448" y="1212885"/>
                  <a:pt x="1437894" y="1200329"/>
                </a:cubicBezTo>
                <a:cubicBezTo>
                  <a:pt x="1210340" y="1187774"/>
                  <a:pt x="554050" y="1233941"/>
                  <a:pt x="0" y="1200329"/>
                </a:cubicBezTo>
                <a:cubicBezTo>
                  <a:pt x="-21734" y="1064830"/>
                  <a:pt x="28466" y="893958"/>
                  <a:pt x="0" y="600165"/>
                </a:cubicBezTo>
                <a:cubicBezTo>
                  <a:pt x="-28466" y="306372"/>
                  <a:pt x="-2437" y="289625"/>
                  <a:pt x="0" y="0"/>
                </a:cubicBezTo>
                <a:close/>
              </a:path>
              <a:path w="11264605" h="1200329" stroke="0" extrusionOk="0">
                <a:moveTo>
                  <a:pt x="0" y="0"/>
                </a:moveTo>
                <a:cubicBezTo>
                  <a:pt x="145187" y="-13619"/>
                  <a:pt x="222262" y="5486"/>
                  <a:pt x="324686" y="0"/>
                </a:cubicBezTo>
                <a:cubicBezTo>
                  <a:pt x="427110" y="-5486"/>
                  <a:pt x="797252" y="-29306"/>
                  <a:pt x="1099956" y="0"/>
                </a:cubicBezTo>
                <a:cubicBezTo>
                  <a:pt x="1402660" y="29306"/>
                  <a:pt x="1617895" y="28896"/>
                  <a:pt x="1875225" y="0"/>
                </a:cubicBezTo>
                <a:cubicBezTo>
                  <a:pt x="2132555" y="-28896"/>
                  <a:pt x="2083855" y="-4813"/>
                  <a:pt x="2199911" y="0"/>
                </a:cubicBezTo>
                <a:cubicBezTo>
                  <a:pt x="2315967" y="4813"/>
                  <a:pt x="2686889" y="-22820"/>
                  <a:pt x="3087827" y="0"/>
                </a:cubicBezTo>
                <a:cubicBezTo>
                  <a:pt x="3488765" y="22820"/>
                  <a:pt x="3269654" y="14275"/>
                  <a:pt x="3412513" y="0"/>
                </a:cubicBezTo>
                <a:cubicBezTo>
                  <a:pt x="3555372" y="-14275"/>
                  <a:pt x="4087974" y="-7380"/>
                  <a:pt x="4300429" y="0"/>
                </a:cubicBezTo>
                <a:cubicBezTo>
                  <a:pt x="4512884" y="7380"/>
                  <a:pt x="4573598" y="18777"/>
                  <a:pt x="4737760" y="0"/>
                </a:cubicBezTo>
                <a:cubicBezTo>
                  <a:pt x="4901922" y="-18777"/>
                  <a:pt x="5198613" y="29642"/>
                  <a:pt x="5625676" y="0"/>
                </a:cubicBezTo>
                <a:cubicBezTo>
                  <a:pt x="6052739" y="-29642"/>
                  <a:pt x="5849154" y="9043"/>
                  <a:pt x="6063008" y="0"/>
                </a:cubicBezTo>
                <a:cubicBezTo>
                  <a:pt x="6276862" y="-9043"/>
                  <a:pt x="6412168" y="-13349"/>
                  <a:pt x="6500340" y="0"/>
                </a:cubicBezTo>
                <a:cubicBezTo>
                  <a:pt x="6588512" y="13349"/>
                  <a:pt x="7116976" y="-17362"/>
                  <a:pt x="7388256" y="0"/>
                </a:cubicBezTo>
                <a:cubicBezTo>
                  <a:pt x="7659536" y="17362"/>
                  <a:pt x="7941823" y="40618"/>
                  <a:pt x="8276172" y="0"/>
                </a:cubicBezTo>
                <a:cubicBezTo>
                  <a:pt x="8610521" y="-40618"/>
                  <a:pt x="8844880" y="22518"/>
                  <a:pt x="9051441" y="0"/>
                </a:cubicBezTo>
                <a:cubicBezTo>
                  <a:pt x="9258002" y="-22518"/>
                  <a:pt x="9636904" y="-12921"/>
                  <a:pt x="9939357" y="0"/>
                </a:cubicBezTo>
                <a:cubicBezTo>
                  <a:pt x="10241810" y="12921"/>
                  <a:pt x="10340417" y="-22872"/>
                  <a:pt x="10601981" y="0"/>
                </a:cubicBezTo>
                <a:cubicBezTo>
                  <a:pt x="10863545" y="22872"/>
                  <a:pt x="10971694" y="14060"/>
                  <a:pt x="11264605" y="0"/>
                </a:cubicBezTo>
                <a:cubicBezTo>
                  <a:pt x="11246555" y="200796"/>
                  <a:pt x="11240695" y="429197"/>
                  <a:pt x="11264605" y="564155"/>
                </a:cubicBezTo>
                <a:cubicBezTo>
                  <a:pt x="11288515" y="699113"/>
                  <a:pt x="11255901" y="1057944"/>
                  <a:pt x="11264605" y="1200329"/>
                </a:cubicBezTo>
                <a:cubicBezTo>
                  <a:pt x="11058961" y="1202950"/>
                  <a:pt x="10927332" y="1218078"/>
                  <a:pt x="10601981" y="1200329"/>
                </a:cubicBezTo>
                <a:cubicBezTo>
                  <a:pt x="10276630" y="1182580"/>
                  <a:pt x="9954895" y="1218232"/>
                  <a:pt x="9714065" y="1200329"/>
                </a:cubicBezTo>
                <a:cubicBezTo>
                  <a:pt x="9473235" y="1182426"/>
                  <a:pt x="9507350" y="1185137"/>
                  <a:pt x="9389380" y="1200329"/>
                </a:cubicBezTo>
                <a:cubicBezTo>
                  <a:pt x="9271410" y="1215521"/>
                  <a:pt x="8860892" y="1194376"/>
                  <a:pt x="8501464" y="1200329"/>
                </a:cubicBezTo>
                <a:cubicBezTo>
                  <a:pt x="8142036" y="1206282"/>
                  <a:pt x="8174113" y="1212764"/>
                  <a:pt x="8064132" y="1200329"/>
                </a:cubicBezTo>
                <a:cubicBezTo>
                  <a:pt x="7954151" y="1187894"/>
                  <a:pt x="7694258" y="1189351"/>
                  <a:pt x="7401508" y="1200329"/>
                </a:cubicBezTo>
                <a:cubicBezTo>
                  <a:pt x="7108758" y="1211307"/>
                  <a:pt x="7101973" y="1209275"/>
                  <a:pt x="6851530" y="1200329"/>
                </a:cubicBezTo>
                <a:cubicBezTo>
                  <a:pt x="6601087" y="1191383"/>
                  <a:pt x="6612626" y="1213201"/>
                  <a:pt x="6414199" y="1200329"/>
                </a:cubicBezTo>
                <a:cubicBezTo>
                  <a:pt x="6215772" y="1187457"/>
                  <a:pt x="5949794" y="1228299"/>
                  <a:pt x="5526283" y="1200329"/>
                </a:cubicBezTo>
                <a:cubicBezTo>
                  <a:pt x="5102772" y="1172359"/>
                  <a:pt x="5089901" y="1163723"/>
                  <a:pt x="4751013" y="1200329"/>
                </a:cubicBezTo>
                <a:cubicBezTo>
                  <a:pt x="4412125" y="1236936"/>
                  <a:pt x="4391807" y="1204967"/>
                  <a:pt x="4201035" y="1200329"/>
                </a:cubicBezTo>
                <a:cubicBezTo>
                  <a:pt x="4010263" y="1195691"/>
                  <a:pt x="3701069" y="1220673"/>
                  <a:pt x="3538411" y="1200329"/>
                </a:cubicBezTo>
                <a:cubicBezTo>
                  <a:pt x="3375753" y="1179985"/>
                  <a:pt x="3209003" y="1221656"/>
                  <a:pt x="3101079" y="1200329"/>
                </a:cubicBezTo>
                <a:cubicBezTo>
                  <a:pt x="2993155" y="1179002"/>
                  <a:pt x="2811088" y="1213411"/>
                  <a:pt x="2663748" y="1200329"/>
                </a:cubicBezTo>
                <a:cubicBezTo>
                  <a:pt x="2516408" y="1187247"/>
                  <a:pt x="2491026" y="1215993"/>
                  <a:pt x="2339062" y="1200329"/>
                </a:cubicBezTo>
                <a:cubicBezTo>
                  <a:pt x="2187098" y="1184665"/>
                  <a:pt x="1899252" y="1202492"/>
                  <a:pt x="1789084" y="1200329"/>
                </a:cubicBezTo>
                <a:cubicBezTo>
                  <a:pt x="1678916" y="1198166"/>
                  <a:pt x="1562497" y="1206583"/>
                  <a:pt x="1464399" y="1200329"/>
                </a:cubicBezTo>
                <a:cubicBezTo>
                  <a:pt x="1366301" y="1194075"/>
                  <a:pt x="1135238" y="1196023"/>
                  <a:pt x="914421" y="1200329"/>
                </a:cubicBezTo>
                <a:cubicBezTo>
                  <a:pt x="693604" y="1204635"/>
                  <a:pt x="213646" y="1232000"/>
                  <a:pt x="0" y="1200329"/>
                </a:cubicBezTo>
                <a:cubicBezTo>
                  <a:pt x="15771" y="989890"/>
                  <a:pt x="-26679" y="818560"/>
                  <a:pt x="0" y="612168"/>
                </a:cubicBezTo>
                <a:cubicBezTo>
                  <a:pt x="26679" y="405776"/>
                  <a:pt x="2351" y="261808"/>
                  <a:pt x="0" y="0"/>
                </a:cubicBezTo>
                <a:close/>
              </a:path>
            </a:pathLst>
          </a:custGeom>
          <a:solidFill>
            <a:schemeClr val="bg1"/>
          </a:solidFill>
          <a:ln w="28575">
            <a:solidFill>
              <a:srgbClr val="00B0F0"/>
            </a:solidFill>
            <a:prstDash val="lgDash"/>
            <a:extLst>
              <a:ext uri="{C807C97D-BFC1-408E-A445-0C87EB9F89A2}">
                <ask:lineSketchStyleProps xmlns:ask="http://schemas.microsoft.com/office/drawing/2018/sketchyshapes" sd="2786970889">
                  <a:prstGeom prst="rect">
                    <a:avLst/>
                  </a:prstGeom>
                  <ask:type>
                    <ask:lineSketchFreehand/>
                  </ask:type>
                </ask:lineSketchStyleProps>
              </a:ext>
            </a:extLst>
          </a:ln>
        </p:spPr>
        <p:txBody>
          <a:bodyPr wrap="square" rtlCol="0">
            <a:spAutoFit/>
          </a:bodyPr>
          <a:lstStyle/>
          <a:p>
            <a:pPr algn="ctr"/>
            <a:r>
              <a:rPr lang="en-US" altLang="zh-CN" sz="7200" b="1" i="1">
                <a:solidFill>
                  <a:srgbClr val="002060"/>
                </a:solidFill>
                <a:latin typeface="UTM Neo Sans Intel" pitchFamily="18" charset="0"/>
              </a:rPr>
              <a:t>Các số cần tìm lần lượt là?</a:t>
            </a:r>
            <a:endParaRPr lang="zh-CN" altLang="en-US" sz="7200" b="1" i="1" dirty="0">
              <a:solidFill>
                <a:srgbClr val="002060"/>
              </a:solidFill>
              <a:latin typeface="UTM Neo Sans Intel" pitchFamily="18" charset="0"/>
            </a:endParaRPr>
          </a:p>
        </p:txBody>
      </p:sp>
      <p:pic>
        <p:nvPicPr>
          <p:cNvPr id="20" name="Picture 19" descr="A cartoon bear holding a yellow number&#10;&#10;Description automatically generated">
            <a:extLst>
              <a:ext uri="{FF2B5EF4-FFF2-40B4-BE49-F238E27FC236}">
                <a16:creationId xmlns:a16="http://schemas.microsoft.com/office/drawing/2014/main" id="{7350205A-A0CE-73DC-6C9A-24410D15CF6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76080" y="4178330"/>
            <a:ext cx="2910445" cy="3191117"/>
          </a:xfrm>
          <a:prstGeom prst="rect">
            <a:avLst/>
          </a:prstGeom>
        </p:spPr>
      </p:pic>
      <p:sp>
        <p:nvSpPr>
          <p:cNvPr id="2" name="Dap An A - 9Slide.vn">
            <a:extLst>
              <a:ext uri="{FF2B5EF4-FFF2-40B4-BE49-F238E27FC236}">
                <a16:creationId xmlns:a16="http://schemas.microsoft.com/office/drawing/2014/main" id="{6F5A99CC-3986-8569-225E-AF8DF5A88346}"/>
              </a:ext>
            </a:extLst>
          </p:cNvPr>
          <p:cNvSpPr/>
          <p:nvPr/>
        </p:nvSpPr>
        <p:spPr>
          <a:xfrm>
            <a:off x="171119" y="2278657"/>
            <a:ext cx="2544605" cy="4552018"/>
          </a:xfrm>
          <a:prstGeom prst="roundRect">
            <a:avLst>
              <a:gd name="adj" fmla="val 43919"/>
            </a:avLst>
          </a:prstGeom>
          <a:solidFill>
            <a:schemeClr val="bg1"/>
          </a:solidFill>
          <a:ln w="38100">
            <a:solidFill>
              <a:srgbClr val="E65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48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8</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48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4,7</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lang="en-US" sz="4800" b="1">
                <a:solidFill>
                  <a:srgbClr val="FF0000"/>
                </a:solidFill>
                <a:latin typeface="Tahoma" panose="020B0604030504040204" pitchFamily="34" charset="0"/>
                <a:ea typeface="Tahoma" panose="020B0604030504040204" pitchFamily="34" charset="0"/>
                <a:cs typeface="Tahoma" panose="020B0604030504040204" pitchFamily="34" charset="0"/>
                <a:sym typeface="Lato Regular"/>
              </a:rPr>
              <a:t>5,5</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36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p:txBody>
      </p:sp>
      <p:pic>
        <p:nvPicPr>
          <p:cNvPr id="12" name="Picture 11">
            <a:extLst>
              <a:ext uri="{FF2B5EF4-FFF2-40B4-BE49-F238E27FC236}">
                <a16:creationId xmlns:a16="http://schemas.microsoft.com/office/drawing/2014/main" id="{13B3BE0B-E7FB-2071-92BB-C8E158AF963C}"/>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734656" y="2135648"/>
            <a:ext cx="1199765" cy="1168851"/>
          </a:xfrm>
          <a:prstGeom prst="rect">
            <a:avLst/>
          </a:prstGeom>
        </p:spPr>
      </p:pic>
      <p:sp>
        <p:nvSpPr>
          <p:cNvPr id="14" name="Dap An B - 9Slide.vn">
            <a:extLst>
              <a:ext uri="{FF2B5EF4-FFF2-40B4-BE49-F238E27FC236}">
                <a16:creationId xmlns:a16="http://schemas.microsoft.com/office/drawing/2014/main" id="{EABCDFA4-2F6F-9E71-3121-770611326C77}"/>
              </a:ext>
            </a:extLst>
          </p:cNvPr>
          <p:cNvSpPr/>
          <p:nvPr/>
        </p:nvSpPr>
        <p:spPr>
          <a:xfrm>
            <a:off x="8400206" y="2271384"/>
            <a:ext cx="2514986" cy="4496095"/>
          </a:xfrm>
          <a:prstGeom prst="roundRect">
            <a:avLst>
              <a:gd name="adj" fmla="val 43919"/>
            </a:avLst>
          </a:prstGeom>
          <a:solidFill>
            <a:schemeClr val="bg1"/>
          </a:solidFill>
          <a:ln w="38100">
            <a:solidFill>
              <a:srgbClr val="E65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defTabSz="1219170">
              <a:buClr>
                <a:srgbClr val="000000"/>
              </a:buClr>
              <a:defRPr/>
            </a:pPr>
            <a:endParaRPr lang="en-US" sz="4800" b="1">
              <a:solidFill>
                <a:srgbClr val="FF0000"/>
              </a:solidFill>
              <a:latin typeface="Tahoma" panose="020B0604030504040204" pitchFamily="34" charset="0"/>
              <a:ea typeface="Tahoma" panose="020B0604030504040204" pitchFamily="34" charset="0"/>
              <a:cs typeface="Tahoma" panose="020B0604030504040204" pitchFamily="34" charset="0"/>
              <a:sym typeface="Lato Regular"/>
            </a:endParaRPr>
          </a:p>
          <a:p>
            <a:pPr lvl="0" algn="ctr" defTabSz="1219170">
              <a:buClr>
                <a:srgbClr val="000000"/>
              </a:buClr>
              <a:defRPr/>
            </a:pPr>
            <a:r>
              <a:rPr lang="en-US" sz="4800" b="1">
                <a:solidFill>
                  <a:srgbClr val="FF0000"/>
                </a:solidFill>
                <a:latin typeface="Tahoma" panose="020B0604030504040204" pitchFamily="34" charset="0"/>
                <a:ea typeface="Tahoma" panose="020B0604030504040204" pitchFamily="34" charset="0"/>
                <a:cs typeface="Tahoma" panose="020B0604030504040204" pitchFamily="34" charset="0"/>
                <a:sym typeface="Lato Regular"/>
              </a:rPr>
              <a:t>2,5</a:t>
            </a:r>
          </a:p>
          <a:p>
            <a:pPr lvl="0" algn="ctr" defTabSz="1219170">
              <a:buClr>
                <a:srgbClr val="000000"/>
              </a:buClr>
              <a:defRPr/>
            </a:pPr>
            <a:r>
              <a:rPr lang="en-US" sz="4800" b="1">
                <a:solidFill>
                  <a:srgbClr val="FF0000"/>
                </a:solidFill>
                <a:latin typeface="Tahoma" panose="020B0604030504040204" pitchFamily="34" charset="0"/>
                <a:ea typeface="Tahoma" panose="020B0604030504040204" pitchFamily="34" charset="0"/>
                <a:cs typeface="Tahoma" panose="020B0604030504040204" pitchFamily="34" charset="0"/>
                <a:sym typeface="Lato Regular"/>
              </a:rPr>
              <a:t>2,2</a:t>
            </a:r>
          </a:p>
          <a:p>
            <a:pPr lvl="0" algn="ctr" defTabSz="1219170">
              <a:buClr>
                <a:srgbClr val="000000"/>
              </a:buClr>
              <a:defRPr/>
            </a:pPr>
            <a:r>
              <a:rPr lang="en-US" sz="4800" b="1">
                <a:solidFill>
                  <a:srgbClr val="FF0000"/>
                </a:solidFill>
                <a:latin typeface="Tahoma" panose="020B0604030504040204" pitchFamily="34" charset="0"/>
                <a:ea typeface="Tahoma" panose="020B0604030504040204" pitchFamily="34" charset="0"/>
                <a:cs typeface="Tahoma" panose="020B0604030504040204" pitchFamily="34" charset="0"/>
                <a:sym typeface="Lato Regular"/>
              </a:rPr>
              <a:t>3,3</a:t>
            </a:r>
          </a:p>
        </p:txBody>
      </p:sp>
      <p:sp>
        <p:nvSpPr>
          <p:cNvPr id="15" name="Dap An C - 9Slide.vn">
            <a:extLst>
              <a:ext uri="{FF2B5EF4-FFF2-40B4-BE49-F238E27FC236}">
                <a16:creationId xmlns:a16="http://schemas.microsoft.com/office/drawing/2014/main" id="{18A76CEA-5388-724A-41F5-9F260EAF2C84}"/>
              </a:ext>
            </a:extLst>
          </p:cNvPr>
          <p:cNvSpPr/>
          <p:nvPr/>
        </p:nvSpPr>
        <p:spPr>
          <a:xfrm>
            <a:off x="2822531" y="2278657"/>
            <a:ext cx="2676717" cy="4496095"/>
          </a:xfrm>
          <a:prstGeom prst="roundRect">
            <a:avLst>
              <a:gd name="adj" fmla="val 43919"/>
            </a:avLst>
          </a:prstGeom>
          <a:solidFill>
            <a:schemeClr val="bg1"/>
          </a:solidFill>
          <a:ln w="38100">
            <a:solidFill>
              <a:srgbClr val="E65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257175" algn="ctr" defTabSz="4572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a:p>
            <a:pPr lvl="0" algn="ctr" defTabSz="1219170">
              <a:buClr>
                <a:srgbClr val="000000"/>
              </a:buClr>
              <a:defRPr/>
            </a:pPr>
            <a:r>
              <a:rPr lang="en-US" sz="4800" b="1">
                <a:solidFill>
                  <a:srgbClr val="FF0000"/>
                </a:solidFill>
                <a:latin typeface="Tahoma" panose="020B0604030504040204" pitchFamily="34" charset="0"/>
                <a:ea typeface="Tahoma" panose="020B0604030504040204" pitchFamily="34" charset="0"/>
                <a:cs typeface="Tahoma" panose="020B0604030504040204" pitchFamily="34" charset="0"/>
                <a:sym typeface="Lato Regular"/>
              </a:rPr>
              <a:t>2,5</a:t>
            </a:r>
          </a:p>
          <a:p>
            <a:pPr lvl="0" algn="ctr" defTabSz="1219170">
              <a:buClr>
                <a:srgbClr val="000000"/>
              </a:buClr>
              <a:defRPr/>
            </a:pPr>
            <a:r>
              <a:rPr lang="en-US" sz="4800" b="1">
                <a:solidFill>
                  <a:srgbClr val="FF0000"/>
                </a:solidFill>
                <a:latin typeface="Tahoma" panose="020B0604030504040204" pitchFamily="34" charset="0"/>
                <a:ea typeface="Tahoma" panose="020B0604030504040204" pitchFamily="34" charset="0"/>
                <a:cs typeface="Tahoma" panose="020B0604030504040204" pitchFamily="34" charset="0"/>
                <a:sym typeface="Lato Regular"/>
              </a:rPr>
              <a:t>7,2</a:t>
            </a:r>
          </a:p>
          <a:p>
            <a:pPr lvl="0" algn="ctr" defTabSz="1219170">
              <a:buClr>
                <a:srgbClr val="000000"/>
              </a:buClr>
              <a:defRPr/>
            </a:pPr>
            <a:r>
              <a:rPr lang="en-US" sz="4800" b="1">
                <a:solidFill>
                  <a:srgbClr val="FF0000"/>
                </a:solidFill>
                <a:latin typeface="Tahoma" panose="020B0604030504040204" pitchFamily="34" charset="0"/>
                <a:ea typeface="Tahoma" panose="020B0604030504040204" pitchFamily="34" charset="0"/>
                <a:cs typeface="Tahoma" panose="020B0604030504040204" pitchFamily="34" charset="0"/>
                <a:sym typeface="Lato Regular"/>
              </a:rPr>
              <a:t>3,3</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4800" b="1" i="0" u="none" strike="noStrike" kern="1200" cap="none" spc="0" normalizeH="0" baseline="0" noProof="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 </a:t>
            </a:r>
            <a:endParaRPr kumimoji="0" lang="vi-VN" sz="4800" b="1" i="0" u="none" strike="noStrike" kern="1200" cap="none" spc="0" normalizeH="0" baseline="0" noProof="0" dirty="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16" name="Picture 15">
            <a:extLst>
              <a:ext uri="{FF2B5EF4-FFF2-40B4-BE49-F238E27FC236}">
                <a16:creationId xmlns:a16="http://schemas.microsoft.com/office/drawing/2014/main" id="{C0BB3DF1-2004-70F8-1042-8F97B9210FD7}"/>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9839208" y="1808936"/>
            <a:ext cx="1401950" cy="1256577"/>
          </a:xfrm>
          <a:prstGeom prst="rect">
            <a:avLst/>
          </a:prstGeom>
        </p:spPr>
      </p:pic>
      <p:pic>
        <p:nvPicPr>
          <p:cNvPr id="17" name="Picture 16">
            <a:extLst>
              <a:ext uri="{FF2B5EF4-FFF2-40B4-BE49-F238E27FC236}">
                <a16:creationId xmlns:a16="http://schemas.microsoft.com/office/drawing/2014/main" id="{9FD15212-43DA-2B50-81FA-5232F8F5C363}"/>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422945" y="2085683"/>
            <a:ext cx="1302341" cy="1268783"/>
          </a:xfrm>
          <a:prstGeom prst="rect">
            <a:avLst/>
          </a:prstGeom>
        </p:spPr>
      </p:pic>
      <p:sp>
        <p:nvSpPr>
          <p:cNvPr id="18" name="Dap An C - 9Slide.vn">
            <a:extLst>
              <a:ext uri="{FF2B5EF4-FFF2-40B4-BE49-F238E27FC236}">
                <a16:creationId xmlns:a16="http://schemas.microsoft.com/office/drawing/2014/main" id="{FBBB748E-0940-8190-1522-71E3C48C832E}"/>
              </a:ext>
            </a:extLst>
          </p:cNvPr>
          <p:cNvSpPr/>
          <p:nvPr/>
        </p:nvSpPr>
        <p:spPr>
          <a:xfrm>
            <a:off x="5634263" y="2242762"/>
            <a:ext cx="2607973" cy="4496095"/>
          </a:xfrm>
          <a:prstGeom prst="roundRect">
            <a:avLst>
              <a:gd name="adj" fmla="val 43919"/>
            </a:avLst>
          </a:prstGeom>
          <a:solidFill>
            <a:schemeClr val="bg1"/>
          </a:solidFill>
          <a:ln w="38100">
            <a:solidFill>
              <a:srgbClr val="E65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defTabSz="1219170">
              <a:buClr>
                <a:srgbClr val="000000"/>
              </a:buClr>
              <a:defRPr/>
            </a:pPr>
            <a:endParaRPr lang="en-US" sz="4800" b="1">
              <a:solidFill>
                <a:srgbClr val="FF0000"/>
              </a:solidFill>
              <a:latin typeface="Tahoma" panose="020B0604030504040204" pitchFamily="34" charset="0"/>
              <a:ea typeface="Tahoma" panose="020B0604030504040204" pitchFamily="34" charset="0"/>
              <a:cs typeface="Tahoma" panose="020B0604030504040204" pitchFamily="34" charset="0"/>
              <a:sym typeface="Lato Regular"/>
            </a:endParaRPr>
          </a:p>
          <a:p>
            <a:pPr lvl="0" algn="ctr" defTabSz="1219170">
              <a:buClr>
                <a:srgbClr val="000000"/>
              </a:buClr>
              <a:defRPr/>
            </a:pPr>
            <a:r>
              <a:rPr lang="en-US" sz="4800" b="1">
                <a:solidFill>
                  <a:srgbClr val="FF0000"/>
                </a:solidFill>
                <a:latin typeface="Tahoma" panose="020B0604030504040204" pitchFamily="34" charset="0"/>
                <a:ea typeface="Tahoma" panose="020B0604030504040204" pitchFamily="34" charset="0"/>
                <a:cs typeface="Tahoma" panose="020B0604030504040204" pitchFamily="34" charset="0"/>
                <a:sym typeface="Lato Regular"/>
              </a:rPr>
              <a:t>3,3</a:t>
            </a:r>
          </a:p>
          <a:p>
            <a:pPr lvl="0" algn="ctr" defTabSz="1219170">
              <a:buClr>
                <a:srgbClr val="000000"/>
              </a:buClr>
              <a:defRPr/>
            </a:pPr>
            <a:r>
              <a:rPr lang="en-US" sz="4800" b="1">
                <a:solidFill>
                  <a:srgbClr val="FF0000"/>
                </a:solidFill>
                <a:latin typeface="Tahoma" panose="020B0604030504040204" pitchFamily="34" charset="0"/>
                <a:ea typeface="Tahoma" panose="020B0604030504040204" pitchFamily="34" charset="0"/>
                <a:cs typeface="Tahoma" panose="020B0604030504040204" pitchFamily="34" charset="0"/>
                <a:sym typeface="Lato Regular"/>
              </a:rPr>
              <a:t>2,2</a:t>
            </a:r>
          </a:p>
          <a:p>
            <a:pPr lvl="0" algn="ctr" defTabSz="1219170">
              <a:buClr>
                <a:srgbClr val="000000"/>
              </a:buClr>
              <a:defRPr/>
            </a:pPr>
            <a:r>
              <a:rPr lang="en-US" sz="4800" b="1">
                <a:solidFill>
                  <a:srgbClr val="FF0000"/>
                </a:solidFill>
                <a:latin typeface="Tahoma" panose="020B0604030504040204" pitchFamily="34" charset="0"/>
                <a:ea typeface="Tahoma" panose="020B0604030504040204" pitchFamily="34" charset="0"/>
                <a:cs typeface="Tahoma" panose="020B0604030504040204" pitchFamily="34" charset="0"/>
                <a:sym typeface="Lato Regular"/>
              </a:rPr>
              <a:t>2,5</a:t>
            </a:r>
          </a:p>
        </p:txBody>
      </p:sp>
      <p:pic>
        <p:nvPicPr>
          <p:cNvPr id="19" name="Picture 18">
            <a:extLst>
              <a:ext uri="{FF2B5EF4-FFF2-40B4-BE49-F238E27FC236}">
                <a16:creationId xmlns:a16="http://schemas.microsoft.com/office/drawing/2014/main" id="{4687A5A6-820E-4DE8-DFD9-ABEC06984188}"/>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184780" y="2001906"/>
            <a:ext cx="1271500" cy="1238737"/>
          </a:xfrm>
          <a:prstGeom prst="rect">
            <a:avLst/>
          </a:prstGeom>
        </p:spPr>
      </p:pic>
      <p:sp>
        <p:nvSpPr>
          <p:cNvPr id="21" name="Rectangle 20">
            <a:extLst>
              <a:ext uri="{FF2B5EF4-FFF2-40B4-BE49-F238E27FC236}">
                <a16:creationId xmlns:a16="http://schemas.microsoft.com/office/drawing/2014/main" id="{ECF72CB4-A4F5-2F7A-68B8-376DBE1FA41A}"/>
              </a:ext>
            </a:extLst>
          </p:cNvPr>
          <p:cNvSpPr/>
          <p:nvPr/>
        </p:nvSpPr>
        <p:spPr>
          <a:xfrm>
            <a:off x="843434" y="5280040"/>
            <a:ext cx="957313" cy="144655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8800" b="1" cap="none" spc="0">
                <a:ln/>
                <a:solidFill>
                  <a:srgbClr val="00B050"/>
                </a:solidFill>
                <a:effectLst/>
                <a:latin typeface="Tahoma" panose="020B0604030504040204" pitchFamily="34" charset="0"/>
                <a:ea typeface="Tahoma" panose="020B0604030504040204" pitchFamily="34" charset="0"/>
                <a:cs typeface="Tahoma" panose="020B0604030504040204" pitchFamily="34" charset="0"/>
              </a:rPr>
              <a:t>A</a:t>
            </a:r>
          </a:p>
        </p:txBody>
      </p:sp>
      <p:sp>
        <p:nvSpPr>
          <p:cNvPr id="22" name="Rectangle 21">
            <a:extLst>
              <a:ext uri="{FF2B5EF4-FFF2-40B4-BE49-F238E27FC236}">
                <a16:creationId xmlns:a16="http://schemas.microsoft.com/office/drawing/2014/main" id="{EA84BBBB-E18A-CE2A-D0E7-9EE8FA21B1D7}"/>
              </a:ext>
            </a:extLst>
          </p:cNvPr>
          <p:cNvSpPr/>
          <p:nvPr/>
        </p:nvSpPr>
        <p:spPr>
          <a:xfrm>
            <a:off x="3639085" y="5328203"/>
            <a:ext cx="958917" cy="144655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8800" b="1" cap="none" spc="0">
                <a:ln/>
                <a:solidFill>
                  <a:srgbClr val="00B050"/>
                </a:solidFill>
                <a:effectLst/>
                <a:latin typeface="Tahoma" panose="020B0604030504040204" pitchFamily="34" charset="0"/>
                <a:ea typeface="Tahoma" panose="020B0604030504040204" pitchFamily="34" charset="0"/>
                <a:cs typeface="Tahoma" panose="020B0604030504040204" pitchFamily="34" charset="0"/>
              </a:rPr>
              <a:t>B</a:t>
            </a:r>
          </a:p>
        </p:txBody>
      </p:sp>
      <p:sp>
        <p:nvSpPr>
          <p:cNvPr id="23" name="Rectangle 22">
            <a:extLst>
              <a:ext uri="{FF2B5EF4-FFF2-40B4-BE49-F238E27FC236}">
                <a16:creationId xmlns:a16="http://schemas.microsoft.com/office/drawing/2014/main" id="{72407B56-A3B8-1D26-2E12-72353F4CF66D}"/>
              </a:ext>
            </a:extLst>
          </p:cNvPr>
          <p:cNvSpPr/>
          <p:nvPr/>
        </p:nvSpPr>
        <p:spPr>
          <a:xfrm>
            <a:off x="6492871" y="5356163"/>
            <a:ext cx="938077" cy="144655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8800" b="1">
                <a:ln/>
                <a:solidFill>
                  <a:srgbClr val="00B050"/>
                </a:solidFill>
                <a:latin typeface="Tahoma" panose="020B0604030504040204" pitchFamily="34" charset="0"/>
                <a:ea typeface="Tahoma" panose="020B0604030504040204" pitchFamily="34" charset="0"/>
                <a:cs typeface="Tahoma" panose="020B0604030504040204" pitchFamily="34" charset="0"/>
              </a:rPr>
              <a:t>C</a:t>
            </a:r>
            <a:endParaRPr lang="en-US" sz="8800" b="1" cap="none" spc="0">
              <a:ln/>
              <a:solidFill>
                <a:srgbClr val="00B050"/>
              </a:solidFill>
              <a:effectLst/>
              <a:latin typeface="Tahoma" panose="020B0604030504040204" pitchFamily="34" charset="0"/>
              <a:ea typeface="Tahoma" panose="020B0604030504040204" pitchFamily="34" charset="0"/>
              <a:cs typeface="Tahoma" panose="020B0604030504040204" pitchFamily="34" charset="0"/>
            </a:endParaRPr>
          </a:p>
        </p:txBody>
      </p:sp>
      <p:sp>
        <p:nvSpPr>
          <p:cNvPr id="24" name="Rectangle 23">
            <a:extLst>
              <a:ext uri="{FF2B5EF4-FFF2-40B4-BE49-F238E27FC236}">
                <a16:creationId xmlns:a16="http://schemas.microsoft.com/office/drawing/2014/main" id="{2EFD3D63-EA1A-4A48-8A3C-A18961EAED5F}"/>
              </a:ext>
            </a:extLst>
          </p:cNvPr>
          <p:cNvSpPr/>
          <p:nvPr/>
        </p:nvSpPr>
        <p:spPr>
          <a:xfrm>
            <a:off x="9263996" y="5284243"/>
            <a:ext cx="1039067" cy="144655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8800" b="1" cap="none" spc="0">
                <a:ln/>
                <a:solidFill>
                  <a:srgbClr val="00B050"/>
                </a:solidFill>
                <a:effectLst/>
                <a:latin typeface="Tahoma" panose="020B0604030504040204" pitchFamily="34" charset="0"/>
                <a:ea typeface="Tahoma" panose="020B0604030504040204" pitchFamily="34" charset="0"/>
                <a:cs typeface="Tahoma" panose="020B0604030504040204" pitchFamily="34" charset="0"/>
              </a:rPr>
              <a:t>D</a:t>
            </a:r>
          </a:p>
        </p:txBody>
      </p:sp>
    </p:spTree>
    <p:extLst>
      <p:ext uri="{BB962C8B-B14F-4D97-AF65-F5344CB8AC3E}">
        <p14:creationId xmlns:p14="http://schemas.microsoft.com/office/powerpoint/2010/main" val="407639262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14:presetBounceEnd="69000">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14:bounceEnd="69000">
                                          <p:cBhvr additive="base">
                                            <p:cTn id="12" dur="1000" fill="hold"/>
                                            <p:tgtEl>
                                              <p:spTgt spid="2"/>
                                            </p:tgtEl>
                                            <p:attrNameLst>
                                              <p:attrName>ppt_x</p:attrName>
                                            </p:attrNameLst>
                                          </p:cBhvr>
                                          <p:tavLst>
                                            <p:tav tm="0">
                                              <p:val>
                                                <p:strVal val="#ppt_x"/>
                                              </p:val>
                                            </p:tav>
                                            <p:tav tm="100000">
                                              <p:val>
                                                <p:strVal val="#ppt_x"/>
                                              </p:val>
                                            </p:tav>
                                          </p:tavLst>
                                        </p:anim>
                                        <p:anim calcmode="lin" valueType="num" p14:bounceEnd="69000">
                                          <p:cBhvr additive="base">
                                            <p:cTn id="13" dur="1000" fill="hold"/>
                                            <p:tgtEl>
                                              <p:spTgt spid="2"/>
                                            </p:tgtEl>
                                            <p:attrNameLst>
                                              <p:attrName>ppt_y</p:attrName>
                                            </p:attrNameLst>
                                          </p:cBhvr>
                                          <p:tavLst>
                                            <p:tav tm="0">
                                              <p:val>
                                                <p:strVal val="1+#ppt_h/2"/>
                                              </p:val>
                                            </p:tav>
                                            <p:tav tm="100000">
                                              <p:val>
                                                <p:strVal val="#ppt_y"/>
                                              </p:val>
                                            </p:tav>
                                          </p:tavLst>
                                        </p:anim>
                                      </p:childTnLst>
                                    </p:cTn>
                                  </p:par>
                                  <p:par>
                                    <p:cTn id="14" presetID="2" presetClass="entr" presetSubtype="4" fill="hold" grpId="0" nodeType="withEffect" p14:presetBounceEnd="69000">
                                      <p:stCondLst>
                                        <p:cond delay="200"/>
                                      </p:stCondLst>
                                      <p:childTnLst>
                                        <p:set>
                                          <p:cBhvr>
                                            <p:cTn id="15" dur="1" fill="hold">
                                              <p:stCondLst>
                                                <p:cond delay="0"/>
                                              </p:stCondLst>
                                            </p:cTn>
                                            <p:tgtEl>
                                              <p:spTgt spid="14"/>
                                            </p:tgtEl>
                                            <p:attrNameLst>
                                              <p:attrName>style.visibility</p:attrName>
                                            </p:attrNameLst>
                                          </p:cBhvr>
                                          <p:to>
                                            <p:strVal val="visible"/>
                                          </p:to>
                                        </p:set>
                                        <p:anim calcmode="lin" valueType="num" p14:bounceEnd="69000">
                                          <p:cBhvr additive="base">
                                            <p:cTn id="16" dur="1000" fill="hold"/>
                                            <p:tgtEl>
                                              <p:spTgt spid="14"/>
                                            </p:tgtEl>
                                            <p:attrNameLst>
                                              <p:attrName>ppt_x</p:attrName>
                                            </p:attrNameLst>
                                          </p:cBhvr>
                                          <p:tavLst>
                                            <p:tav tm="0">
                                              <p:val>
                                                <p:strVal val="#ppt_x"/>
                                              </p:val>
                                            </p:tav>
                                            <p:tav tm="100000">
                                              <p:val>
                                                <p:strVal val="#ppt_x"/>
                                              </p:val>
                                            </p:tav>
                                          </p:tavLst>
                                        </p:anim>
                                        <p:anim calcmode="lin" valueType="num" p14:bounceEnd="69000">
                                          <p:cBhvr additive="base">
                                            <p:cTn id="17" dur="1000" fill="hold"/>
                                            <p:tgtEl>
                                              <p:spTgt spid="14"/>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14:presetBounceEnd="69000">
                                      <p:stCondLst>
                                        <p:cond delay="600"/>
                                      </p:stCondLst>
                                      <p:childTnLst>
                                        <p:set>
                                          <p:cBhvr>
                                            <p:cTn id="19" dur="1" fill="hold">
                                              <p:stCondLst>
                                                <p:cond delay="0"/>
                                              </p:stCondLst>
                                            </p:cTn>
                                            <p:tgtEl>
                                              <p:spTgt spid="15"/>
                                            </p:tgtEl>
                                            <p:attrNameLst>
                                              <p:attrName>style.visibility</p:attrName>
                                            </p:attrNameLst>
                                          </p:cBhvr>
                                          <p:to>
                                            <p:strVal val="visible"/>
                                          </p:to>
                                        </p:set>
                                        <p:anim calcmode="lin" valueType="num" p14:bounceEnd="69000">
                                          <p:cBhvr additive="base">
                                            <p:cTn id="20" dur="1000" fill="hold"/>
                                            <p:tgtEl>
                                              <p:spTgt spid="15"/>
                                            </p:tgtEl>
                                            <p:attrNameLst>
                                              <p:attrName>ppt_x</p:attrName>
                                            </p:attrNameLst>
                                          </p:cBhvr>
                                          <p:tavLst>
                                            <p:tav tm="0">
                                              <p:val>
                                                <p:strVal val="#ppt_x"/>
                                              </p:val>
                                            </p:tav>
                                            <p:tav tm="100000">
                                              <p:val>
                                                <p:strVal val="#ppt_x"/>
                                              </p:val>
                                            </p:tav>
                                          </p:tavLst>
                                        </p:anim>
                                        <p:anim calcmode="lin" valueType="num" p14:bounceEnd="69000">
                                          <p:cBhvr additive="base">
                                            <p:cTn id="21" dur="1000" fill="hold"/>
                                            <p:tgtEl>
                                              <p:spTgt spid="15"/>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14:presetBounceEnd="69000">
                                      <p:stCondLst>
                                        <p:cond delay="600"/>
                                      </p:stCondLst>
                                      <p:childTnLst>
                                        <p:set>
                                          <p:cBhvr>
                                            <p:cTn id="23" dur="1" fill="hold">
                                              <p:stCondLst>
                                                <p:cond delay="0"/>
                                              </p:stCondLst>
                                            </p:cTn>
                                            <p:tgtEl>
                                              <p:spTgt spid="18"/>
                                            </p:tgtEl>
                                            <p:attrNameLst>
                                              <p:attrName>style.visibility</p:attrName>
                                            </p:attrNameLst>
                                          </p:cBhvr>
                                          <p:to>
                                            <p:strVal val="visible"/>
                                          </p:to>
                                        </p:set>
                                        <p:anim calcmode="lin" valueType="num" p14:bounceEnd="69000">
                                          <p:cBhvr additive="base">
                                            <p:cTn id="24" dur="1000" fill="hold"/>
                                            <p:tgtEl>
                                              <p:spTgt spid="18"/>
                                            </p:tgtEl>
                                            <p:attrNameLst>
                                              <p:attrName>ppt_x</p:attrName>
                                            </p:attrNameLst>
                                          </p:cBhvr>
                                          <p:tavLst>
                                            <p:tav tm="0">
                                              <p:val>
                                                <p:strVal val="#ppt_x"/>
                                              </p:val>
                                            </p:tav>
                                            <p:tav tm="100000">
                                              <p:val>
                                                <p:strVal val="#ppt_x"/>
                                              </p:val>
                                            </p:tav>
                                          </p:tavLst>
                                        </p:anim>
                                        <p:anim calcmode="lin" valueType="num" p14:bounceEnd="69000">
                                          <p:cBhvr additive="base">
                                            <p:cTn id="25" dur="10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seq concurrent="1" nextAc="seek">
                  <p:cTn id="26" restart="whenNotActive" fill="hold" evtFilter="cancelBubble" nodeType="interactiveSeq">
                    <p:stCondLst>
                      <p:cond evt="onClick" delay="0">
                        <p:tgtEl>
                          <p:spTgt spid="2"/>
                        </p:tgtEl>
                      </p:cond>
                    </p:stCondLst>
                    <p:endSync evt="end" delay="0">
                      <p:rtn val="all"/>
                    </p:endSync>
                    <p:childTnLst>
                      <p:par>
                        <p:cTn id="27" fill="hold">
                          <p:stCondLst>
                            <p:cond delay="0"/>
                          </p:stCondLst>
                          <p:childTnLst>
                            <p:par>
                              <p:cTn id="28" fill="hold">
                                <p:stCondLst>
                                  <p:cond delay="0"/>
                                </p:stCondLst>
                                <p:childTnLst>
                                  <p:par>
                                    <p:cTn id="29" presetID="1" presetClass="emph" presetSubtype="2" fill="hold" nodeType="clickEffect">
                                      <p:stCondLst>
                                        <p:cond delay="0"/>
                                      </p:stCondLst>
                                      <p:childTnLst>
                                        <p:animClr clrSpc="rgb" dir="cw">
                                          <p:cBhvr>
                                            <p:cTn id="30" dur="500" fill="hold"/>
                                            <p:tgtEl>
                                              <p:spTgt spid="2"/>
                                            </p:tgtEl>
                                            <p:attrNameLst>
                                              <p:attrName>fillcolor</p:attrName>
                                            </p:attrNameLst>
                                          </p:cBhvr>
                                          <p:to>
                                            <a:srgbClr val="FCECD0"/>
                                          </p:to>
                                        </p:animClr>
                                        <p:set>
                                          <p:cBhvr>
                                            <p:cTn id="31" dur="500" fill="hold"/>
                                            <p:tgtEl>
                                              <p:spTgt spid="2"/>
                                            </p:tgtEl>
                                            <p:attrNameLst>
                                              <p:attrName>fill.type</p:attrName>
                                            </p:attrNameLst>
                                          </p:cBhvr>
                                          <p:to>
                                            <p:strVal val="solid"/>
                                          </p:to>
                                        </p:set>
                                        <p:set>
                                          <p:cBhvr>
                                            <p:cTn id="32" dur="500" fill="hold"/>
                                            <p:tgtEl>
                                              <p:spTgt spid="2"/>
                                            </p:tgtEl>
                                            <p:attrNameLst>
                                              <p:attrName>fill.on</p:attrName>
                                            </p:attrNameLst>
                                          </p:cBhvr>
                                          <p:to>
                                            <p:strVal val="true"/>
                                          </p:to>
                                        </p:set>
                                      </p:childTnLst>
                                    </p:cTn>
                                  </p:par>
                                  <p:par>
                                    <p:cTn id="33" presetID="23" presetClass="entr" presetSubtype="32" fill="hold" nodeType="withEffect">
                                      <p:stCondLst>
                                        <p:cond delay="1500"/>
                                      </p:stCondLst>
                                      <p:childTnLst>
                                        <p:set>
                                          <p:cBhvr>
                                            <p:cTn id="34" dur="1" fill="hold">
                                              <p:stCondLst>
                                                <p:cond delay="0"/>
                                              </p:stCondLst>
                                            </p:cTn>
                                            <p:tgtEl>
                                              <p:spTgt spid="12"/>
                                            </p:tgtEl>
                                            <p:attrNameLst>
                                              <p:attrName>style.visibility</p:attrName>
                                            </p:attrNameLst>
                                          </p:cBhvr>
                                          <p:to>
                                            <p:strVal val="visible"/>
                                          </p:to>
                                        </p:set>
                                        <p:anim calcmode="lin" valueType="num">
                                          <p:cBhvr>
                                            <p:cTn id="35" dur="250" fill="hold"/>
                                            <p:tgtEl>
                                              <p:spTgt spid="12"/>
                                            </p:tgtEl>
                                            <p:attrNameLst>
                                              <p:attrName>ppt_w</p:attrName>
                                            </p:attrNameLst>
                                          </p:cBhvr>
                                          <p:tavLst>
                                            <p:tav tm="0">
                                              <p:val>
                                                <p:strVal val="4*#ppt_w"/>
                                              </p:val>
                                            </p:tav>
                                            <p:tav tm="100000">
                                              <p:val>
                                                <p:strVal val="#ppt_w"/>
                                              </p:val>
                                            </p:tav>
                                          </p:tavLst>
                                        </p:anim>
                                        <p:anim calcmode="lin" valueType="num">
                                          <p:cBhvr>
                                            <p:cTn id="36" dur="250" fill="hold"/>
                                            <p:tgtEl>
                                              <p:spTgt spid="12"/>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33"/>
                                                </p:cond>
                                              </p:stCondLst>
                                              <p:endCondLst>
                                                <p:cond evt="onStopAudio" delay="0">
                                                  <p:tgtEl>
                                                    <p:sldTgt/>
                                                  </p:tgtEl>
                                                </p:cond>
                                              </p:endCondLst>
                                            </p:cTn>
                                            <p:tgtEl>
                                              <p:sndTgt r:embed="rId2" name="Wrong Buzzer.wav"/>
                                            </p:tgtEl>
                                          </p:cMediaNode>
                                        </p:audio>
                                      </p:subTnLst>
                                    </p:cTn>
                                  </p:par>
                                  <p:par>
                                    <p:cTn id="37" presetID="1" presetClass="emph" presetSubtype="2" fill="hold" nodeType="withEffect">
                                      <p:stCondLst>
                                        <p:cond delay="1500"/>
                                      </p:stCondLst>
                                      <p:childTnLst>
                                        <p:animClr clrSpc="rgb" dir="cw">
                                          <p:cBhvr>
                                            <p:cTn id="38" dur="250" fill="hold"/>
                                            <p:tgtEl>
                                              <p:spTgt spid="2"/>
                                            </p:tgtEl>
                                            <p:attrNameLst>
                                              <p:attrName>fillcolor</p:attrName>
                                            </p:attrNameLst>
                                          </p:cBhvr>
                                          <p:to>
                                            <a:srgbClr val="ED5565"/>
                                          </p:to>
                                        </p:animClr>
                                        <p:set>
                                          <p:cBhvr>
                                            <p:cTn id="39" dur="250" fill="hold"/>
                                            <p:tgtEl>
                                              <p:spTgt spid="2"/>
                                            </p:tgtEl>
                                            <p:attrNameLst>
                                              <p:attrName>fill.type</p:attrName>
                                            </p:attrNameLst>
                                          </p:cBhvr>
                                          <p:to>
                                            <p:strVal val="solid"/>
                                          </p:to>
                                        </p:set>
                                        <p:set>
                                          <p:cBhvr>
                                            <p:cTn id="40" dur="250" fill="hold"/>
                                            <p:tgtEl>
                                              <p:spTgt spid="2"/>
                                            </p:tgtEl>
                                            <p:attrNameLst>
                                              <p:attrName>fill.on</p:attrName>
                                            </p:attrNameLst>
                                          </p:cBhvr>
                                          <p:to>
                                            <p:strVal val="true"/>
                                          </p:to>
                                        </p:set>
                                      </p:childTnLst>
                                    </p:cTn>
                                  </p:par>
                                </p:childTnLst>
                              </p:cTn>
                            </p:par>
                          </p:childTnLst>
                        </p:cTn>
                      </p:par>
                    </p:childTnLst>
                  </p:cTn>
                  <p:nextCondLst>
                    <p:cond evt="onClick" delay="0">
                      <p:tgtEl>
                        <p:spTgt spid="2"/>
                      </p:tgtEl>
                    </p:cond>
                  </p:nextCondLst>
                </p:seq>
                <p:seq concurrent="1" nextAc="seek">
                  <p:cTn id="41" restart="whenNotActive" fill="hold" evtFilter="cancelBubble" nodeType="interactiveSeq">
                    <p:stCondLst>
                      <p:cond evt="onClick" delay="0">
                        <p:tgtEl>
                          <p:spTgt spid="14"/>
                        </p:tgtEl>
                      </p:cond>
                    </p:stCondLst>
                    <p:endSync evt="end" delay="0">
                      <p:rtn val="all"/>
                    </p:endSync>
                    <p:childTnLst>
                      <p:par>
                        <p:cTn id="42" fill="hold">
                          <p:stCondLst>
                            <p:cond delay="0"/>
                          </p:stCondLst>
                          <p:childTnLst>
                            <p:par>
                              <p:cTn id="43" fill="hold">
                                <p:stCondLst>
                                  <p:cond delay="0"/>
                                </p:stCondLst>
                                <p:childTnLst>
                                  <p:par>
                                    <p:cTn id="44" presetID="1" presetClass="emph" presetSubtype="2" fill="hold" nodeType="clickEffect">
                                      <p:stCondLst>
                                        <p:cond delay="0"/>
                                      </p:stCondLst>
                                      <p:childTnLst>
                                        <p:animClr clrSpc="rgb" dir="cw">
                                          <p:cBhvr>
                                            <p:cTn id="45" dur="500" fill="hold"/>
                                            <p:tgtEl>
                                              <p:spTgt spid="14"/>
                                            </p:tgtEl>
                                            <p:attrNameLst>
                                              <p:attrName>fillcolor</p:attrName>
                                            </p:attrNameLst>
                                          </p:cBhvr>
                                          <p:to>
                                            <a:srgbClr val="FCECD0"/>
                                          </p:to>
                                        </p:animClr>
                                        <p:set>
                                          <p:cBhvr>
                                            <p:cTn id="46" dur="500" fill="hold"/>
                                            <p:tgtEl>
                                              <p:spTgt spid="14"/>
                                            </p:tgtEl>
                                            <p:attrNameLst>
                                              <p:attrName>fill.type</p:attrName>
                                            </p:attrNameLst>
                                          </p:cBhvr>
                                          <p:to>
                                            <p:strVal val="solid"/>
                                          </p:to>
                                        </p:set>
                                        <p:set>
                                          <p:cBhvr>
                                            <p:cTn id="47" dur="500" fill="hold"/>
                                            <p:tgtEl>
                                              <p:spTgt spid="14"/>
                                            </p:tgtEl>
                                            <p:attrNameLst>
                                              <p:attrName>fill.on</p:attrName>
                                            </p:attrNameLst>
                                          </p:cBhvr>
                                          <p:to>
                                            <p:strVal val="true"/>
                                          </p:to>
                                        </p:set>
                                      </p:childTnLst>
                                    </p:cTn>
                                  </p:par>
                                  <p:par>
                                    <p:cTn id="48" presetID="1" presetClass="emph" presetSubtype="2" fill="hold" nodeType="withEffect">
                                      <p:stCondLst>
                                        <p:cond delay="1500"/>
                                      </p:stCondLst>
                                      <p:childTnLst>
                                        <p:animClr clrSpc="rgb" dir="cw">
                                          <p:cBhvr>
                                            <p:cTn id="49" dur="250" fill="hold"/>
                                            <p:tgtEl>
                                              <p:spTgt spid="14"/>
                                            </p:tgtEl>
                                            <p:attrNameLst>
                                              <p:attrName>fillcolor</p:attrName>
                                            </p:attrNameLst>
                                          </p:cBhvr>
                                          <p:to>
                                            <a:srgbClr val="A0D468"/>
                                          </p:to>
                                        </p:animClr>
                                        <p:set>
                                          <p:cBhvr>
                                            <p:cTn id="50" dur="250" fill="hold"/>
                                            <p:tgtEl>
                                              <p:spTgt spid="14"/>
                                            </p:tgtEl>
                                            <p:attrNameLst>
                                              <p:attrName>fill.type</p:attrName>
                                            </p:attrNameLst>
                                          </p:cBhvr>
                                          <p:to>
                                            <p:strVal val="solid"/>
                                          </p:to>
                                        </p:set>
                                        <p:set>
                                          <p:cBhvr>
                                            <p:cTn id="51" dur="250" fill="hold"/>
                                            <p:tgtEl>
                                              <p:spTgt spid="14"/>
                                            </p:tgtEl>
                                            <p:attrNameLst>
                                              <p:attrName>fill.on</p:attrName>
                                            </p:attrNameLst>
                                          </p:cBhvr>
                                          <p:to>
                                            <p:strVal val="true"/>
                                          </p:to>
                                        </p:set>
                                      </p:childTnLst>
                                    </p:cTn>
                                  </p:par>
                                  <p:par>
                                    <p:cTn id="52" presetID="23" presetClass="entr" presetSubtype="32" fill="hold" nodeType="withEffect">
                                      <p:stCondLst>
                                        <p:cond delay="1500"/>
                                      </p:stCondLst>
                                      <p:childTnLst>
                                        <p:set>
                                          <p:cBhvr>
                                            <p:cTn id="53" dur="1" fill="hold">
                                              <p:stCondLst>
                                                <p:cond delay="0"/>
                                              </p:stCondLst>
                                            </p:cTn>
                                            <p:tgtEl>
                                              <p:spTgt spid="16"/>
                                            </p:tgtEl>
                                            <p:attrNameLst>
                                              <p:attrName>style.visibility</p:attrName>
                                            </p:attrNameLst>
                                          </p:cBhvr>
                                          <p:to>
                                            <p:strVal val="visible"/>
                                          </p:to>
                                        </p:set>
                                        <p:anim calcmode="lin" valueType="num">
                                          <p:cBhvr>
                                            <p:cTn id="54" dur="250" fill="hold"/>
                                            <p:tgtEl>
                                              <p:spTgt spid="16"/>
                                            </p:tgtEl>
                                            <p:attrNameLst>
                                              <p:attrName>ppt_w</p:attrName>
                                            </p:attrNameLst>
                                          </p:cBhvr>
                                          <p:tavLst>
                                            <p:tav tm="0">
                                              <p:val>
                                                <p:strVal val="4*#ppt_w"/>
                                              </p:val>
                                            </p:tav>
                                            <p:tav tm="100000">
                                              <p:val>
                                                <p:strVal val="#ppt_w"/>
                                              </p:val>
                                            </p:tav>
                                          </p:tavLst>
                                        </p:anim>
                                        <p:anim calcmode="lin" valueType="num">
                                          <p:cBhvr>
                                            <p:cTn id="55" dur="250" fill="hold"/>
                                            <p:tgtEl>
                                              <p:spTgt spid="16"/>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52"/>
                                                </p:cond>
                                              </p:stCondLst>
                                              <p:endCondLst>
                                                <p:cond evt="onStopAudio" delay="0">
                                                  <p:tgtEl>
                                                    <p:sldTgt/>
                                                  </p:tgtEl>
                                                </p:cond>
                                              </p:endCondLst>
                                            </p:cTn>
                                            <p:tgtEl>
                                              <p:sndTgt r:embed="rId3" name="Check mark.wav"/>
                                            </p:tgtEl>
                                          </p:cMediaNode>
                                        </p:audio>
                                      </p:subTnLst>
                                    </p:cTn>
                                  </p:par>
                                </p:childTnLst>
                              </p:cTn>
                            </p:par>
                          </p:childTnLst>
                        </p:cTn>
                      </p:par>
                    </p:childTnLst>
                  </p:cTn>
                  <p:nextCondLst>
                    <p:cond evt="onClick" delay="0">
                      <p:tgtEl>
                        <p:spTgt spid="14"/>
                      </p:tgtEl>
                    </p:cond>
                  </p:nextCondLst>
                </p:seq>
                <p:seq concurrent="1" nextAc="seek">
                  <p:cTn id="56" restart="whenNotActive" fill="hold" evtFilter="cancelBubble" nodeType="interactiveSeq">
                    <p:stCondLst>
                      <p:cond evt="onClick" delay="0">
                        <p:tgtEl>
                          <p:spTgt spid="15"/>
                        </p:tgtEl>
                      </p:cond>
                    </p:stCondLst>
                    <p:endSync evt="end" delay="0">
                      <p:rtn val="all"/>
                    </p:endSync>
                    <p:childTnLst>
                      <p:par>
                        <p:cTn id="57" fill="hold">
                          <p:stCondLst>
                            <p:cond delay="0"/>
                          </p:stCondLst>
                          <p:childTnLst>
                            <p:par>
                              <p:cTn id="58" fill="hold">
                                <p:stCondLst>
                                  <p:cond delay="0"/>
                                </p:stCondLst>
                                <p:childTnLst>
                                  <p:par>
                                    <p:cTn id="59" presetID="1" presetClass="emph" presetSubtype="2" fill="hold" nodeType="clickEffect">
                                      <p:stCondLst>
                                        <p:cond delay="0"/>
                                      </p:stCondLst>
                                      <p:childTnLst>
                                        <p:animClr clrSpc="rgb" dir="cw">
                                          <p:cBhvr>
                                            <p:cTn id="60" dur="500" fill="hold"/>
                                            <p:tgtEl>
                                              <p:spTgt spid="15"/>
                                            </p:tgtEl>
                                            <p:attrNameLst>
                                              <p:attrName>fillcolor</p:attrName>
                                            </p:attrNameLst>
                                          </p:cBhvr>
                                          <p:to>
                                            <a:srgbClr val="FCECD0"/>
                                          </p:to>
                                        </p:animClr>
                                        <p:set>
                                          <p:cBhvr>
                                            <p:cTn id="61" dur="500" fill="hold"/>
                                            <p:tgtEl>
                                              <p:spTgt spid="15"/>
                                            </p:tgtEl>
                                            <p:attrNameLst>
                                              <p:attrName>fill.type</p:attrName>
                                            </p:attrNameLst>
                                          </p:cBhvr>
                                          <p:to>
                                            <p:strVal val="solid"/>
                                          </p:to>
                                        </p:set>
                                        <p:set>
                                          <p:cBhvr>
                                            <p:cTn id="62" dur="500" fill="hold"/>
                                            <p:tgtEl>
                                              <p:spTgt spid="15"/>
                                            </p:tgtEl>
                                            <p:attrNameLst>
                                              <p:attrName>fill.on</p:attrName>
                                            </p:attrNameLst>
                                          </p:cBhvr>
                                          <p:to>
                                            <p:strVal val="true"/>
                                          </p:to>
                                        </p:set>
                                      </p:childTnLst>
                                    </p:cTn>
                                  </p:par>
                                  <p:par>
                                    <p:cTn id="63" presetID="1" presetClass="emph" presetSubtype="2" fill="hold" nodeType="withEffect">
                                      <p:stCondLst>
                                        <p:cond delay="1500"/>
                                      </p:stCondLst>
                                      <p:childTnLst>
                                        <p:animClr clrSpc="rgb" dir="cw">
                                          <p:cBhvr>
                                            <p:cTn id="64" dur="250" fill="hold"/>
                                            <p:tgtEl>
                                              <p:spTgt spid="15"/>
                                            </p:tgtEl>
                                            <p:attrNameLst>
                                              <p:attrName>fillcolor</p:attrName>
                                            </p:attrNameLst>
                                          </p:cBhvr>
                                          <p:to>
                                            <a:srgbClr val="ED5565"/>
                                          </p:to>
                                        </p:animClr>
                                        <p:set>
                                          <p:cBhvr>
                                            <p:cTn id="65" dur="250" fill="hold"/>
                                            <p:tgtEl>
                                              <p:spTgt spid="15"/>
                                            </p:tgtEl>
                                            <p:attrNameLst>
                                              <p:attrName>fill.type</p:attrName>
                                            </p:attrNameLst>
                                          </p:cBhvr>
                                          <p:to>
                                            <p:strVal val="solid"/>
                                          </p:to>
                                        </p:set>
                                        <p:set>
                                          <p:cBhvr>
                                            <p:cTn id="66" dur="250" fill="hold"/>
                                            <p:tgtEl>
                                              <p:spTgt spid="15"/>
                                            </p:tgtEl>
                                            <p:attrNameLst>
                                              <p:attrName>fill.on</p:attrName>
                                            </p:attrNameLst>
                                          </p:cBhvr>
                                          <p:to>
                                            <p:strVal val="true"/>
                                          </p:to>
                                        </p:set>
                                      </p:childTnLst>
                                    </p:cTn>
                                  </p:par>
                                  <p:par>
                                    <p:cTn id="67" presetID="23" presetClass="entr" presetSubtype="32" fill="hold" nodeType="withEffect">
                                      <p:stCondLst>
                                        <p:cond delay="1500"/>
                                      </p:stCondLst>
                                      <p:childTnLst>
                                        <p:set>
                                          <p:cBhvr>
                                            <p:cTn id="68" dur="1" fill="hold">
                                              <p:stCondLst>
                                                <p:cond delay="0"/>
                                              </p:stCondLst>
                                            </p:cTn>
                                            <p:tgtEl>
                                              <p:spTgt spid="17"/>
                                            </p:tgtEl>
                                            <p:attrNameLst>
                                              <p:attrName>style.visibility</p:attrName>
                                            </p:attrNameLst>
                                          </p:cBhvr>
                                          <p:to>
                                            <p:strVal val="visible"/>
                                          </p:to>
                                        </p:set>
                                        <p:anim calcmode="lin" valueType="num">
                                          <p:cBhvr>
                                            <p:cTn id="69" dur="250" fill="hold"/>
                                            <p:tgtEl>
                                              <p:spTgt spid="17"/>
                                            </p:tgtEl>
                                            <p:attrNameLst>
                                              <p:attrName>ppt_w</p:attrName>
                                            </p:attrNameLst>
                                          </p:cBhvr>
                                          <p:tavLst>
                                            <p:tav tm="0">
                                              <p:val>
                                                <p:strVal val="4*#ppt_w"/>
                                              </p:val>
                                            </p:tav>
                                            <p:tav tm="100000">
                                              <p:val>
                                                <p:strVal val="#ppt_w"/>
                                              </p:val>
                                            </p:tav>
                                          </p:tavLst>
                                        </p:anim>
                                        <p:anim calcmode="lin" valueType="num">
                                          <p:cBhvr>
                                            <p:cTn id="70" dur="250" fill="hold"/>
                                            <p:tgtEl>
                                              <p:spTgt spid="17"/>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67"/>
                                                </p:cond>
                                              </p:stCondLst>
                                              <p:endCondLst>
                                                <p:cond evt="onStopAudio" delay="0">
                                                  <p:tgtEl>
                                                    <p:sldTgt/>
                                                  </p:tgtEl>
                                                </p:cond>
                                              </p:endCondLst>
                                            </p:cTn>
                                            <p:tgtEl>
                                              <p:sndTgt r:embed="rId2" name="Wrong Buzzer.wav"/>
                                            </p:tgtEl>
                                          </p:cMediaNode>
                                        </p:audio>
                                      </p:subTnLst>
                                    </p:cTn>
                                  </p:par>
                                </p:childTnLst>
                              </p:cTn>
                            </p:par>
                          </p:childTnLst>
                        </p:cTn>
                      </p:par>
                    </p:childTnLst>
                  </p:cTn>
                  <p:nextCondLst>
                    <p:cond evt="onClick" delay="0">
                      <p:tgtEl>
                        <p:spTgt spid="15"/>
                      </p:tgtEl>
                    </p:cond>
                  </p:nextCondLst>
                </p:seq>
                <p:seq concurrent="1" nextAc="seek">
                  <p:cTn id="71" restart="whenNotActive" fill="hold" evtFilter="cancelBubble" nodeType="interactiveSeq">
                    <p:stCondLst>
                      <p:cond evt="onClick" delay="0">
                        <p:tgtEl>
                          <p:spTgt spid="18"/>
                        </p:tgtEl>
                      </p:cond>
                    </p:stCondLst>
                    <p:endSync evt="end" delay="0">
                      <p:rtn val="all"/>
                    </p:endSync>
                    <p:childTnLst>
                      <p:par>
                        <p:cTn id="72" fill="hold">
                          <p:stCondLst>
                            <p:cond delay="0"/>
                          </p:stCondLst>
                          <p:childTnLst>
                            <p:par>
                              <p:cTn id="73" fill="hold">
                                <p:stCondLst>
                                  <p:cond delay="0"/>
                                </p:stCondLst>
                                <p:childTnLst>
                                  <p:par>
                                    <p:cTn id="74" presetID="1" presetClass="emph" presetSubtype="2" fill="hold" nodeType="clickEffect">
                                      <p:stCondLst>
                                        <p:cond delay="0"/>
                                      </p:stCondLst>
                                      <p:childTnLst>
                                        <p:animClr clrSpc="rgb" dir="cw">
                                          <p:cBhvr>
                                            <p:cTn id="75" dur="500" fill="hold"/>
                                            <p:tgtEl>
                                              <p:spTgt spid="18"/>
                                            </p:tgtEl>
                                            <p:attrNameLst>
                                              <p:attrName>fillcolor</p:attrName>
                                            </p:attrNameLst>
                                          </p:cBhvr>
                                          <p:to>
                                            <a:srgbClr val="FCECD0"/>
                                          </p:to>
                                        </p:animClr>
                                        <p:set>
                                          <p:cBhvr>
                                            <p:cTn id="76" dur="500" fill="hold"/>
                                            <p:tgtEl>
                                              <p:spTgt spid="18"/>
                                            </p:tgtEl>
                                            <p:attrNameLst>
                                              <p:attrName>fill.type</p:attrName>
                                            </p:attrNameLst>
                                          </p:cBhvr>
                                          <p:to>
                                            <p:strVal val="solid"/>
                                          </p:to>
                                        </p:set>
                                        <p:set>
                                          <p:cBhvr>
                                            <p:cTn id="77" dur="500" fill="hold"/>
                                            <p:tgtEl>
                                              <p:spTgt spid="18"/>
                                            </p:tgtEl>
                                            <p:attrNameLst>
                                              <p:attrName>fill.on</p:attrName>
                                            </p:attrNameLst>
                                          </p:cBhvr>
                                          <p:to>
                                            <p:strVal val="true"/>
                                          </p:to>
                                        </p:set>
                                      </p:childTnLst>
                                    </p:cTn>
                                  </p:par>
                                  <p:par>
                                    <p:cTn id="78" presetID="1" presetClass="emph" presetSubtype="2" fill="hold" nodeType="withEffect">
                                      <p:stCondLst>
                                        <p:cond delay="1500"/>
                                      </p:stCondLst>
                                      <p:childTnLst>
                                        <p:animClr clrSpc="rgb" dir="cw">
                                          <p:cBhvr>
                                            <p:cTn id="79" dur="250" fill="hold"/>
                                            <p:tgtEl>
                                              <p:spTgt spid="18"/>
                                            </p:tgtEl>
                                            <p:attrNameLst>
                                              <p:attrName>fillcolor</p:attrName>
                                            </p:attrNameLst>
                                          </p:cBhvr>
                                          <p:to>
                                            <a:srgbClr val="ED5565"/>
                                          </p:to>
                                        </p:animClr>
                                        <p:set>
                                          <p:cBhvr>
                                            <p:cTn id="80" dur="250" fill="hold"/>
                                            <p:tgtEl>
                                              <p:spTgt spid="18"/>
                                            </p:tgtEl>
                                            <p:attrNameLst>
                                              <p:attrName>fill.type</p:attrName>
                                            </p:attrNameLst>
                                          </p:cBhvr>
                                          <p:to>
                                            <p:strVal val="solid"/>
                                          </p:to>
                                        </p:set>
                                        <p:set>
                                          <p:cBhvr>
                                            <p:cTn id="81" dur="250" fill="hold"/>
                                            <p:tgtEl>
                                              <p:spTgt spid="18"/>
                                            </p:tgtEl>
                                            <p:attrNameLst>
                                              <p:attrName>fill.on</p:attrName>
                                            </p:attrNameLst>
                                          </p:cBhvr>
                                          <p:to>
                                            <p:strVal val="true"/>
                                          </p:to>
                                        </p:set>
                                      </p:childTnLst>
                                    </p:cTn>
                                  </p:par>
                                  <p:par>
                                    <p:cTn id="82" presetID="23" presetClass="entr" presetSubtype="32" fill="hold" nodeType="withEffect">
                                      <p:stCondLst>
                                        <p:cond delay="1500"/>
                                      </p:stCondLst>
                                      <p:childTnLst>
                                        <p:set>
                                          <p:cBhvr>
                                            <p:cTn id="83" dur="1" fill="hold">
                                              <p:stCondLst>
                                                <p:cond delay="0"/>
                                              </p:stCondLst>
                                            </p:cTn>
                                            <p:tgtEl>
                                              <p:spTgt spid="19"/>
                                            </p:tgtEl>
                                            <p:attrNameLst>
                                              <p:attrName>style.visibility</p:attrName>
                                            </p:attrNameLst>
                                          </p:cBhvr>
                                          <p:to>
                                            <p:strVal val="visible"/>
                                          </p:to>
                                        </p:set>
                                        <p:anim calcmode="lin" valueType="num">
                                          <p:cBhvr>
                                            <p:cTn id="84" dur="250" fill="hold"/>
                                            <p:tgtEl>
                                              <p:spTgt spid="19"/>
                                            </p:tgtEl>
                                            <p:attrNameLst>
                                              <p:attrName>ppt_w</p:attrName>
                                            </p:attrNameLst>
                                          </p:cBhvr>
                                          <p:tavLst>
                                            <p:tav tm="0">
                                              <p:val>
                                                <p:strVal val="4*#ppt_w"/>
                                              </p:val>
                                            </p:tav>
                                            <p:tav tm="100000">
                                              <p:val>
                                                <p:strVal val="#ppt_w"/>
                                              </p:val>
                                            </p:tav>
                                          </p:tavLst>
                                        </p:anim>
                                        <p:anim calcmode="lin" valueType="num">
                                          <p:cBhvr>
                                            <p:cTn id="85" dur="250" fill="hold"/>
                                            <p:tgtEl>
                                              <p:spTgt spid="19"/>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82"/>
                                                </p:cond>
                                              </p:stCondLst>
                                              <p:endCondLst>
                                                <p:cond evt="onStopAudio" delay="0">
                                                  <p:tgtEl>
                                                    <p:sldTgt/>
                                                  </p:tgtEl>
                                                </p:cond>
                                              </p:endCondLst>
                                            </p:cTn>
                                            <p:tgtEl>
                                              <p:sndTgt r:embed="rId2" name="Wrong Buzzer.wav"/>
                                            </p:tgtEl>
                                          </p:cMediaNode>
                                        </p:audio>
                                      </p:subTnLst>
                                    </p:cTn>
                                  </p:par>
                                </p:childTnLst>
                              </p:cTn>
                            </p:par>
                          </p:childTnLst>
                        </p:cTn>
                      </p:par>
                    </p:childTnLst>
                  </p:cTn>
                  <p:nextCondLst>
                    <p:cond evt="onClick" delay="0">
                      <p:tgtEl>
                        <p:spTgt spid="18"/>
                      </p:tgtEl>
                    </p:cond>
                  </p:nextCondLst>
                </p:seq>
              </p:childTnLst>
            </p:cTn>
          </p:par>
        </p:tnLst>
        <p:bldLst>
          <p:bldP spid="4" grpId="0" animBg="1"/>
          <p:bldP spid="2" grpId="0" animBg="1"/>
          <p:bldP spid="14" grpId="0" animBg="1"/>
          <p:bldP spid="15" grpId="0" animBg="1"/>
          <p:bldP spid="18" grpId="0" animBg="1"/>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1000" fill="hold"/>
                                            <p:tgtEl>
                                              <p:spTgt spid="2"/>
                                            </p:tgtEl>
                                            <p:attrNameLst>
                                              <p:attrName>ppt_x</p:attrName>
                                            </p:attrNameLst>
                                          </p:cBhvr>
                                          <p:tavLst>
                                            <p:tav tm="0">
                                              <p:val>
                                                <p:strVal val="#ppt_x"/>
                                              </p:val>
                                            </p:tav>
                                            <p:tav tm="100000">
                                              <p:val>
                                                <p:strVal val="#ppt_x"/>
                                              </p:val>
                                            </p:tav>
                                          </p:tavLst>
                                        </p:anim>
                                        <p:anim calcmode="lin" valueType="num">
                                          <p:cBhvr additive="base">
                                            <p:cTn id="13" dur="1000" fill="hold"/>
                                            <p:tgtEl>
                                              <p:spTgt spid="2"/>
                                            </p:tgtEl>
                                            <p:attrNameLst>
                                              <p:attrName>ppt_y</p:attrName>
                                            </p:attrNameLst>
                                          </p:cBhvr>
                                          <p:tavLst>
                                            <p:tav tm="0">
                                              <p:val>
                                                <p:strVal val="1+#ppt_h/2"/>
                                              </p:val>
                                            </p:tav>
                                            <p:tav tm="100000">
                                              <p:val>
                                                <p:strVal val="#ppt_y"/>
                                              </p:val>
                                            </p:tav>
                                          </p:tavLst>
                                        </p:anim>
                                      </p:childTnLst>
                                    </p:cTn>
                                  </p:par>
                                  <p:par>
                                    <p:cTn id="14" presetID="2" presetClass="entr" presetSubtype="4" fill="hold" grpId="0" nodeType="withEffect">
                                      <p:stCondLst>
                                        <p:cond delay="200"/>
                                      </p:stCondLst>
                                      <p:childTnLst>
                                        <p:set>
                                          <p:cBhvr>
                                            <p:cTn id="15" dur="1" fill="hold">
                                              <p:stCondLst>
                                                <p:cond delay="0"/>
                                              </p:stCondLst>
                                            </p:cTn>
                                            <p:tgtEl>
                                              <p:spTgt spid="14"/>
                                            </p:tgtEl>
                                            <p:attrNameLst>
                                              <p:attrName>style.visibility</p:attrName>
                                            </p:attrNameLst>
                                          </p:cBhvr>
                                          <p:to>
                                            <p:strVal val="visible"/>
                                          </p:to>
                                        </p:set>
                                        <p:anim calcmode="lin" valueType="num">
                                          <p:cBhvr additive="base">
                                            <p:cTn id="16" dur="1000" fill="hold"/>
                                            <p:tgtEl>
                                              <p:spTgt spid="14"/>
                                            </p:tgtEl>
                                            <p:attrNameLst>
                                              <p:attrName>ppt_x</p:attrName>
                                            </p:attrNameLst>
                                          </p:cBhvr>
                                          <p:tavLst>
                                            <p:tav tm="0">
                                              <p:val>
                                                <p:strVal val="#ppt_x"/>
                                              </p:val>
                                            </p:tav>
                                            <p:tav tm="100000">
                                              <p:val>
                                                <p:strVal val="#ppt_x"/>
                                              </p:val>
                                            </p:tav>
                                          </p:tavLst>
                                        </p:anim>
                                        <p:anim calcmode="lin" valueType="num">
                                          <p:cBhvr additive="base">
                                            <p:cTn id="17" dur="1000" fill="hold"/>
                                            <p:tgtEl>
                                              <p:spTgt spid="14"/>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600"/>
                                      </p:stCondLst>
                                      <p:childTnLst>
                                        <p:set>
                                          <p:cBhvr>
                                            <p:cTn id="19" dur="1" fill="hold">
                                              <p:stCondLst>
                                                <p:cond delay="0"/>
                                              </p:stCondLst>
                                            </p:cTn>
                                            <p:tgtEl>
                                              <p:spTgt spid="15"/>
                                            </p:tgtEl>
                                            <p:attrNameLst>
                                              <p:attrName>style.visibility</p:attrName>
                                            </p:attrNameLst>
                                          </p:cBhvr>
                                          <p:to>
                                            <p:strVal val="visible"/>
                                          </p:to>
                                        </p:set>
                                        <p:anim calcmode="lin" valueType="num">
                                          <p:cBhvr additive="base">
                                            <p:cTn id="20" dur="1000" fill="hold"/>
                                            <p:tgtEl>
                                              <p:spTgt spid="15"/>
                                            </p:tgtEl>
                                            <p:attrNameLst>
                                              <p:attrName>ppt_x</p:attrName>
                                            </p:attrNameLst>
                                          </p:cBhvr>
                                          <p:tavLst>
                                            <p:tav tm="0">
                                              <p:val>
                                                <p:strVal val="#ppt_x"/>
                                              </p:val>
                                            </p:tav>
                                            <p:tav tm="100000">
                                              <p:val>
                                                <p:strVal val="#ppt_x"/>
                                              </p:val>
                                            </p:tav>
                                          </p:tavLst>
                                        </p:anim>
                                        <p:anim calcmode="lin" valueType="num">
                                          <p:cBhvr additive="base">
                                            <p:cTn id="21" dur="1000" fill="hold"/>
                                            <p:tgtEl>
                                              <p:spTgt spid="15"/>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600"/>
                                      </p:stCondLst>
                                      <p:childTnLst>
                                        <p:set>
                                          <p:cBhvr>
                                            <p:cTn id="23" dur="1" fill="hold">
                                              <p:stCondLst>
                                                <p:cond delay="0"/>
                                              </p:stCondLst>
                                            </p:cTn>
                                            <p:tgtEl>
                                              <p:spTgt spid="18"/>
                                            </p:tgtEl>
                                            <p:attrNameLst>
                                              <p:attrName>style.visibility</p:attrName>
                                            </p:attrNameLst>
                                          </p:cBhvr>
                                          <p:to>
                                            <p:strVal val="visible"/>
                                          </p:to>
                                        </p:set>
                                        <p:anim calcmode="lin" valueType="num">
                                          <p:cBhvr additive="base">
                                            <p:cTn id="24" dur="1000" fill="hold"/>
                                            <p:tgtEl>
                                              <p:spTgt spid="18"/>
                                            </p:tgtEl>
                                            <p:attrNameLst>
                                              <p:attrName>ppt_x</p:attrName>
                                            </p:attrNameLst>
                                          </p:cBhvr>
                                          <p:tavLst>
                                            <p:tav tm="0">
                                              <p:val>
                                                <p:strVal val="#ppt_x"/>
                                              </p:val>
                                            </p:tav>
                                            <p:tav tm="100000">
                                              <p:val>
                                                <p:strVal val="#ppt_x"/>
                                              </p:val>
                                            </p:tav>
                                          </p:tavLst>
                                        </p:anim>
                                        <p:anim calcmode="lin" valueType="num">
                                          <p:cBhvr additive="base">
                                            <p:cTn id="25" dur="10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seq concurrent="1" nextAc="seek">
                  <p:cTn id="26" restart="whenNotActive" fill="hold" evtFilter="cancelBubble" nodeType="interactiveSeq">
                    <p:stCondLst>
                      <p:cond evt="onClick" delay="0">
                        <p:tgtEl>
                          <p:spTgt spid="2"/>
                        </p:tgtEl>
                      </p:cond>
                    </p:stCondLst>
                    <p:endSync evt="end" delay="0">
                      <p:rtn val="all"/>
                    </p:endSync>
                    <p:childTnLst>
                      <p:par>
                        <p:cTn id="27" fill="hold">
                          <p:stCondLst>
                            <p:cond delay="0"/>
                          </p:stCondLst>
                          <p:childTnLst>
                            <p:par>
                              <p:cTn id="28" fill="hold">
                                <p:stCondLst>
                                  <p:cond delay="0"/>
                                </p:stCondLst>
                                <p:childTnLst>
                                  <p:par>
                                    <p:cTn id="29" presetID="1" presetClass="emph" presetSubtype="2" fill="hold" nodeType="clickEffect">
                                      <p:stCondLst>
                                        <p:cond delay="0"/>
                                      </p:stCondLst>
                                      <p:childTnLst>
                                        <p:animClr clrSpc="rgb" dir="cw">
                                          <p:cBhvr>
                                            <p:cTn id="30" dur="500" fill="hold"/>
                                            <p:tgtEl>
                                              <p:spTgt spid="2"/>
                                            </p:tgtEl>
                                            <p:attrNameLst>
                                              <p:attrName>fillcolor</p:attrName>
                                            </p:attrNameLst>
                                          </p:cBhvr>
                                          <p:to>
                                            <a:srgbClr val="FCECD0"/>
                                          </p:to>
                                        </p:animClr>
                                        <p:set>
                                          <p:cBhvr>
                                            <p:cTn id="31" dur="500" fill="hold"/>
                                            <p:tgtEl>
                                              <p:spTgt spid="2"/>
                                            </p:tgtEl>
                                            <p:attrNameLst>
                                              <p:attrName>fill.type</p:attrName>
                                            </p:attrNameLst>
                                          </p:cBhvr>
                                          <p:to>
                                            <p:strVal val="solid"/>
                                          </p:to>
                                        </p:set>
                                        <p:set>
                                          <p:cBhvr>
                                            <p:cTn id="32" dur="500" fill="hold"/>
                                            <p:tgtEl>
                                              <p:spTgt spid="2"/>
                                            </p:tgtEl>
                                            <p:attrNameLst>
                                              <p:attrName>fill.on</p:attrName>
                                            </p:attrNameLst>
                                          </p:cBhvr>
                                          <p:to>
                                            <p:strVal val="true"/>
                                          </p:to>
                                        </p:set>
                                      </p:childTnLst>
                                    </p:cTn>
                                  </p:par>
                                  <p:par>
                                    <p:cTn id="33" presetID="23" presetClass="entr" presetSubtype="32" fill="hold" nodeType="withEffect">
                                      <p:stCondLst>
                                        <p:cond delay="1500"/>
                                      </p:stCondLst>
                                      <p:childTnLst>
                                        <p:set>
                                          <p:cBhvr>
                                            <p:cTn id="34" dur="1" fill="hold">
                                              <p:stCondLst>
                                                <p:cond delay="0"/>
                                              </p:stCondLst>
                                            </p:cTn>
                                            <p:tgtEl>
                                              <p:spTgt spid="12"/>
                                            </p:tgtEl>
                                            <p:attrNameLst>
                                              <p:attrName>style.visibility</p:attrName>
                                            </p:attrNameLst>
                                          </p:cBhvr>
                                          <p:to>
                                            <p:strVal val="visible"/>
                                          </p:to>
                                        </p:set>
                                        <p:anim calcmode="lin" valueType="num">
                                          <p:cBhvr>
                                            <p:cTn id="35" dur="250" fill="hold"/>
                                            <p:tgtEl>
                                              <p:spTgt spid="12"/>
                                            </p:tgtEl>
                                            <p:attrNameLst>
                                              <p:attrName>ppt_w</p:attrName>
                                            </p:attrNameLst>
                                          </p:cBhvr>
                                          <p:tavLst>
                                            <p:tav tm="0">
                                              <p:val>
                                                <p:strVal val="4*#ppt_w"/>
                                              </p:val>
                                            </p:tav>
                                            <p:tav tm="100000">
                                              <p:val>
                                                <p:strVal val="#ppt_w"/>
                                              </p:val>
                                            </p:tav>
                                          </p:tavLst>
                                        </p:anim>
                                        <p:anim calcmode="lin" valueType="num">
                                          <p:cBhvr>
                                            <p:cTn id="36" dur="250" fill="hold"/>
                                            <p:tgtEl>
                                              <p:spTgt spid="12"/>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33"/>
                                                </p:cond>
                                              </p:stCondLst>
                                              <p:endCondLst>
                                                <p:cond evt="onStopAudio" delay="0">
                                                  <p:tgtEl>
                                                    <p:sldTgt/>
                                                  </p:tgtEl>
                                                </p:cond>
                                              </p:endCondLst>
                                            </p:cTn>
                                            <p:tgtEl>
                                              <p:sndTgt r:embed="rId8" name="Wrong Buzzer.wav"/>
                                            </p:tgtEl>
                                          </p:cMediaNode>
                                        </p:audio>
                                      </p:subTnLst>
                                    </p:cTn>
                                  </p:par>
                                  <p:par>
                                    <p:cTn id="37" presetID="1" presetClass="emph" presetSubtype="2" fill="hold" nodeType="withEffect">
                                      <p:stCondLst>
                                        <p:cond delay="1500"/>
                                      </p:stCondLst>
                                      <p:childTnLst>
                                        <p:animClr clrSpc="rgb" dir="cw">
                                          <p:cBhvr>
                                            <p:cTn id="38" dur="250" fill="hold"/>
                                            <p:tgtEl>
                                              <p:spTgt spid="2"/>
                                            </p:tgtEl>
                                            <p:attrNameLst>
                                              <p:attrName>fillcolor</p:attrName>
                                            </p:attrNameLst>
                                          </p:cBhvr>
                                          <p:to>
                                            <a:srgbClr val="ED5565"/>
                                          </p:to>
                                        </p:animClr>
                                        <p:set>
                                          <p:cBhvr>
                                            <p:cTn id="39" dur="250" fill="hold"/>
                                            <p:tgtEl>
                                              <p:spTgt spid="2"/>
                                            </p:tgtEl>
                                            <p:attrNameLst>
                                              <p:attrName>fill.type</p:attrName>
                                            </p:attrNameLst>
                                          </p:cBhvr>
                                          <p:to>
                                            <p:strVal val="solid"/>
                                          </p:to>
                                        </p:set>
                                        <p:set>
                                          <p:cBhvr>
                                            <p:cTn id="40" dur="250" fill="hold"/>
                                            <p:tgtEl>
                                              <p:spTgt spid="2"/>
                                            </p:tgtEl>
                                            <p:attrNameLst>
                                              <p:attrName>fill.on</p:attrName>
                                            </p:attrNameLst>
                                          </p:cBhvr>
                                          <p:to>
                                            <p:strVal val="true"/>
                                          </p:to>
                                        </p:set>
                                      </p:childTnLst>
                                    </p:cTn>
                                  </p:par>
                                </p:childTnLst>
                              </p:cTn>
                            </p:par>
                          </p:childTnLst>
                        </p:cTn>
                      </p:par>
                    </p:childTnLst>
                  </p:cTn>
                  <p:nextCondLst>
                    <p:cond evt="onClick" delay="0">
                      <p:tgtEl>
                        <p:spTgt spid="2"/>
                      </p:tgtEl>
                    </p:cond>
                  </p:nextCondLst>
                </p:seq>
                <p:seq concurrent="1" nextAc="seek">
                  <p:cTn id="41" restart="whenNotActive" fill="hold" evtFilter="cancelBubble" nodeType="interactiveSeq">
                    <p:stCondLst>
                      <p:cond evt="onClick" delay="0">
                        <p:tgtEl>
                          <p:spTgt spid="14"/>
                        </p:tgtEl>
                      </p:cond>
                    </p:stCondLst>
                    <p:endSync evt="end" delay="0">
                      <p:rtn val="all"/>
                    </p:endSync>
                    <p:childTnLst>
                      <p:par>
                        <p:cTn id="42" fill="hold">
                          <p:stCondLst>
                            <p:cond delay="0"/>
                          </p:stCondLst>
                          <p:childTnLst>
                            <p:par>
                              <p:cTn id="43" fill="hold">
                                <p:stCondLst>
                                  <p:cond delay="0"/>
                                </p:stCondLst>
                                <p:childTnLst>
                                  <p:par>
                                    <p:cTn id="44" presetID="1" presetClass="emph" presetSubtype="2" fill="hold" nodeType="clickEffect">
                                      <p:stCondLst>
                                        <p:cond delay="0"/>
                                      </p:stCondLst>
                                      <p:childTnLst>
                                        <p:animClr clrSpc="rgb" dir="cw">
                                          <p:cBhvr>
                                            <p:cTn id="45" dur="500" fill="hold"/>
                                            <p:tgtEl>
                                              <p:spTgt spid="14"/>
                                            </p:tgtEl>
                                            <p:attrNameLst>
                                              <p:attrName>fillcolor</p:attrName>
                                            </p:attrNameLst>
                                          </p:cBhvr>
                                          <p:to>
                                            <a:srgbClr val="FCECD0"/>
                                          </p:to>
                                        </p:animClr>
                                        <p:set>
                                          <p:cBhvr>
                                            <p:cTn id="46" dur="500" fill="hold"/>
                                            <p:tgtEl>
                                              <p:spTgt spid="14"/>
                                            </p:tgtEl>
                                            <p:attrNameLst>
                                              <p:attrName>fill.type</p:attrName>
                                            </p:attrNameLst>
                                          </p:cBhvr>
                                          <p:to>
                                            <p:strVal val="solid"/>
                                          </p:to>
                                        </p:set>
                                        <p:set>
                                          <p:cBhvr>
                                            <p:cTn id="47" dur="500" fill="hold"/>
                                            <p:tgtEl>
                                              <p:spTgt spid="14"/>
                                            </p:tgtEl>
                                            <p:attrNameLst>
                                              <p:attrName>fill.on</p:attrName>
                                            </p:attrNameLst>
                                          </p:cBhvr>
                                          <p:to>
                                            <p:strVal val="true"/>
                                          </p:to>
                                        </p:set>
                                      </p:childTnLst>
                                    </p:cTn>
                                  </p:par>
                                  <p:par>
                                    <p:cTn id="48" presetID="1" presetClass="emph" presetSubtype="2" fill="hold" nodeType="withEffect">
                                      <p:stCondLst>
                                        <p:cond delay="1500"/>
                                      </p:stCondLst>
                                      <p:childTnLst>
                                        <p:animClr clrSpc="rgb" dir="cw">
                                          <p:cBhvr>
                                            <p:cTn id="49" dur="250" fill="hold"/>
                                            <p:tgtEl>
                                              <p:spTgt spid="14"/>
                                            </p:tgtEl>
                                            <p:attrNameLst>
                                              <p:attrName>fillcolor</p:attrName>
                                            </p:attrNameLst>
                                          </p:cBhvr>
                                          <p:to>
                                            <a:srgbClr val="A0D468"/>
                                          </p:to>
                                        </p:animClr>
                                        <p:set>
                                          <p:cBhvr>
                                            <p:cTn id="50" dur="250" fill="hold"/>
                                            <p:tgtEl>
                                              <p:spTgt spid="14"/>
                                            </p:tgtEl>
                                            <p:attrNameLst>
                                              <p:attrName>fill.type</p:attrName>
                                            </p:attrNameLst>
                                          </p:cBhvr>
                                          <p:to>
                                            <p:strVal val="solid"/>
                                          </p:to>
                                        </p:set>
                                        <p:set>
                                          <p:cBhvr>
                                            <p:cTn id="51" dur="250" fill="hold"/>
                                            <p:tgtEl>
                                              <p:spTgt spid="14"/>
                                            </p:tgtEl>
                                            <p:attrNameLst>
                                              <p:attrName>fill.on</p:attrName>
                                            </p:attrNameLst>
                                          </p:cBhvr>
                                          <p:to>
                                            <p:strVal val="true"/>
                                          </p:to>
                                        </p:set>
                                      </p:childTnLst>
                                    </p:cTn>
                                  </p:par>
                                  <p:par>
                                    <p:cTn id="52" presetID="23" presetClass="entr" presetSubtype="32" fill="hold" nodeType="withEffect">
                                      <p:stCondLst>
                                        <p:cond delay="1500"/>
                                      </p:stCondLst>
                                      <p:childTnLst>
                                        <p:set>
                                          <p:cBhvr>
                                            <p:cTn id="53" dur="1" fill="hold">
                                              <p:stCondLst>
                                                <p:cond delay="0"/>
                                              </p:stCondLst>
                                            </p:cTn>
                                            <p:tgtEl>
                                              <p:spTgt spid="16"/>
                                            </p:tgtEl>
                                            <p:attrNameLst>
                                              <p:attrName>style.visibility</p:attrName>
                                            </p:attrNameLst>
                                          </p:cBhvr>
                                          <p:to>
                                            <p:strVal val="visible"/>
                                          </p:to>
                                        </p:set>
                                        <p:anim calcmode="lin" valueType="num">
                                          <p:cBhvr>
                                            <p:cTn id="54" dur="250" fill="hold"/>
                                            <p:tgtEl>
                                              <p:spTgt spid="16"/>
                                            </p:tgtEl>
                                            <p:attrNameLst>
                                              <p:attrName>ppt_w</p:attrName>
                                            </p:attrNameLst>
                                          </p:cBhvr>
                                          <p:tavLst>
                                            <p:tav tm="0">
                                              <p:val>
                                                <p:strVal val="4*#ppt_w"/>
                                              </p:val>
                                            </p:tav>
                                            <p:tav tm="100000">
                                              <p:val>
                                                <p:strVal val="#ppt_w"/>
                                              </p:val>
                                            </p:tav>
                                          </p:tavLst>
                                        </p:anim>
                                        <p:anim calcmode="lin" valueType="num">
                                          <p:cBhvr>
                                            <p:cTn id="55" dur="250" fill="hold"/>
                                            <p:tgtEl>
                                              <p:spTgt spid="16"/>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52"/>
                                                </p:cond>
                                              </p:stCondLst>
                                              <p:endCondLst>
                                                <p:cond evt="onStopAudio" delay="0">
                                                  <p:tgtEl>
                                                    <p:sldTgt/>
                                                  </p:tgtEl>
                                                </p:cond>
                                              </p:endCondLst>
                                            </p:cTn>
                                            <p:tgtEl>
                                              <p:sndTgt r:embed="rId9" name="Check mark.wav"/>
                                            </p:tgtEl>
                                          </p:cMediaNode>
                                        </p:audio>
                                      </p:subTnLst>
                                    </p:cTn>
                                  </p:par>
                                </p:childTnLst>
                              </p:cTn>
                            </p:par>
                          </p:childTnLst>
                        </p:cTn>
                      </p:par>
                    </p:childTnLst>
                  </p:cTn>
                  <p:nextCondLst>
                    <p:cond evt="onClick" delay="0">
                      <p:tgtEl>
                        <p:spTgt spid="14"/>
                      </p:tgtEl>
                    </p:cond>
                  </p:nextCondLst>
                </p:seq>
                <p:seq concurrent="1" nextAc="seek">
                  <p:cTn id="56" restart="whenNotActive" fill="hold" evtFilter="cancelBubble" nodeType="interactiveSeq">
                    <p:stCondLst>
                      <p:cond evt="onClick" delay="0">
                        <p:tgtEl>
                          <p:spTgt spid="15"/>
                        </p:tgtEl>
                      </p:cond>
                    </p:stCondLst>
                    <p:endSync evt="end" delay="0">
                      <p:rtn val="all"/>
                    </p:endSync>
                    <p:childTnLst>
                      <p:par>
                        <p:cTn id="57" fill="hold">
                          <p:stCondLst>
                            <p:cond delay="0"/>
                          </p:stCondLst>
                          <p:childTnLst>
                            <p:par>
                              <p:cTn id="58" fill="hold">
                                <p:stCondLst>
                                  <p:cond delay="0"/>
                                </p:stCondLst>
                                <p:childTnLst>
                                  <p:par>
                                    <p:cTn id="59" presetID="1" presetClass="emph" presetSubtype="2" fill="hold" nodeType="clickEffect">
                                      <p:stCondLst>
                                        <p:cond delay="0"/>
                                      </p:stCondLst>
                                      <p:childTnLst>
                                        <p:animClr clrSpc="rgb" dir="cw">
                                          <p:cBhvr>
                                            <p:cTn id="60" dur="500" fill="hold"/>
                                            <p:tgtEl>
                                              <p:spTgt spid="15"/>
                                            </p:tgtEl>
                                            <p:attrNameLst>
                                              <p:attrName>fillcolor</p:attrName>
                                            </p:attrNameLst>
                                          </p:cBhvr>
                                          <p:to>
                                            <a:srgbClr val="FCECD0"/>
                                          </p:to>
                                        </p:animClr>
                                        <p:set>
                                          <p:cBhvr>
                                            <p:cTn id="61" dur="500" fill="hold"/>
                                            <p:tgtEl>
                                              <p:spTgt spid="15"/>
                                            </p:tgtEl>
                                            <p:attrNameLst>
                                              <p:attrName>fill.type</p:attrName>
                                            </p:attrNameLst>
                                          </p:cBhvr>
                                          <p:to>
                                            <p:strVal val="solid"/>
                                          </p:to>
                                        </p:set>
                                        <p:set>
                                          <p:cBhvr>
                                            <p:cTn id="62" dur="500" fill="hold"/>
                                            <p:tgtEl>
                                              <p:spTgt spid="15"/>
                                            </p:tgtEl>
                                            <p:attrNameLst>
                                              <p:attrName>fill.on</p:attrName>
                                            </p:attrNameLst>
                                          </p:cBhvr>
                                          <p:to>
                                            <p:strVal val="true"/>
                                          </p:to>
                                        </p:set>
                                      </p:childTnLst>
                                    </p:cTn>
                                  </p:par>
                                  <p:par>
                                    <p:cTn id="63" presetID="1" presetClass="emph" presetSubtype="2" fill="hold" nodeType="withEffect">
                                      <p:stCondLst>
                                        <p:cond delay="1500"/>
                                      </p:stCondLst>
                                      <p:childTnLst>
                                        <p:animClr clrSpc="rgb" dir="cw">
                                          <p:cBhvr>
                                            <p:cTn id="64" dur="250" fill="hold"/>
                                            <p:tgtEl>
                                              <p:spTgt spid="15"/>
                                            </p:tgtEl>
                                            <p:attrNameLst>
                                              <p:attrName>fillcolor</p:attrName>
                                            </p:attrNameLst>
                                          </p:cBhvr>
                                          <p:to>
                                            <a:srgbClr val="ED5565"/>
                                          </p:to>
                                        </p:animClr>
                                        <p:set>
                                          <p:cBhvr>
                                            <p:cTn id="65" dur="250" fill="hold"/>
                                            <p:tgtEl>
                                              <p:spTgt spid="15"/>
                                            </p:tgtEl>
                                            <p:attrNameLst>
                                              <p:attrName>fill.type</p:attrName>
                                            </p:attrNameLst>
                                          </p:cBhvr>
                                          <p:to>
                                            <p:strVal val="solid"/>
                                          </p:to>
                                        </p:set>
                                        <p:set>
                                          <p:cBhvr>
                                            <p:cTn id="66" dur="250" fill="hold"/>
                                            <p:tgtEl>
                                              <p:spTgt spid="15"/>
                                            </p:tgtEl>
                                            <p:attrNameLst>
                                              <p:attrName>fill.on</p:attrName>
                                            </p:attrNameLst>
                                          </p:cBhvr>
                                          <p:to>
                                            <p:strVal val="true"/>
                                          </p:to>
                                        </p:set>
                                      </p:childTnLst>
                                    </p:cTn>
                                  </p:par>
                                  <p:par>
                                    <p:cTn id="67" presetID="23" presetClass="entr" presetSubtype="32" fill="hold" nodeType="withEffect">
                                      <p:stCondLst>
                                        <p:cond delay="1500"/>
                                      </p:stCondLst>
                                      <p:childTnLst>
                                        <p:set>
                                          <p:cBhvr>
                                            <p:cTn id="68" dur="1" fill="hold">
                                              <p:stCondLst>
                                                <p:cond delay="0"/>
                                              </p:stCondLst>
                                            </p:cTn>
                                            <p:tgtEl>
                                              <p:spTgt spid="17"/>
                                            </p:tgtEl>
                                            <p:attrNameLst>
                                              <p:attrName>style.visibility</p:attrName>
                                            </p:attrNameLst>
                                          </p:cBhvr>
                                          <p:to>
                                            <p:strVal val="visible"/>
                                          </p:to>
                                        </p:set>
                                        <p:anim calcmode="lin" valueType="num">
                                          <p:cBhvr>
                                            <p:cTn id="69" dur="250" fill="hold"/>
                                            <p:tgtEl>
                                              <p:spTgt spid="17"/>
                                            </p:tgtEl>
                                            <p:attrNameLst>
                                              <p:attrName>ppt_w</p:attrName>
                                            </p:attrNameLst>
                                          </p:cBhvr>
                                          <p:tavLst>
                                            <p:tav tm="0">
                                              <p:val>
                                                <p:strVal val="4*#ppt_w"/>
                                              </p:val>
                                            </p:tav>
                                            <p:tav tm="100000">
                                              <p:val>
                                                <p:strVal val="#ppt_w"/>
                                              </p:val>
                                            </p:tav>
                                          </p:tavLst>
                                        </p:anim>
                                        <p:anim calcmode="lin" valueType="num">
                                          <p:cBhvr>
                                            <p:cTn id="70" dur="250" fill="hold"/>
                                            <p:tgtEl>
                                              <p:spTgt spid="17"/>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67"/>
                                                </p:cond>
                                              </p:stCondLst>
                                              <p:endCondLst>
                                                <p:cond evt="onStopAudio" delay="0">
                                                  <p:tgtEl>
                                                    <p:sldTgt/>
                                                  </p:tgtEl>
                                                </p:cond>
                                              </p:endCondLst>
                                            </p:cTn>
                                            <p:tgtEl>
                                              <p:sndTgt r:embed="rId8" name="Wrong Buzzer.wav"/>
                                            </p:tgtEl>
                                          </p:cMediaNode>
                                        </p:audio>
                                      </p:subTnLst>
                                    </p:cTn>
                                  </p:par>
                                </p:childTnLst>
                              </p:cTn>
                            </p:par>
                          </p:childTnLst>
                        </p:cTn>
                      </p:par>
                    </p:childTnLst>
                  </p:cTn>
                  <p:nextCondLst>
                    <p:cond evt="onClick" delay="0">
                      <p:tgtEl>
                        <p:spTgt spid="15"/>
                      </p:tgtEl>
                    </p:cond>
                  </p:nextCondLst>
                </p:seq>
                <p:seq concurrent="1" nextAc="seek">
                  <p:cTn id="71" restart="whenNotActive" fill="hold" evtFilter="cancelBubble" nodeType="interactiveSeq">
                    <p:stCondLst>
                      <p:cond evt="onClick" delay="0">
                        <p:tgtEl>
                          <p:spTgt spid="18"/>
                        </p:tgtEl>
                      </p:cond>
                    </p:stCondLst>
                    <p:endSync evt="end" delay="0">
                      <p:rtn val="all"/>
                    </p:endSync>
                    <p:childTnLst>
                      <p:par>
                        <p:cTn id="72" fill="hold">
                          <p:stCondLst>
                            <p:cond delay="0"/>
                          </p:stCondLst>
                          <p:childTnLst>
                            <p:par>
                              <p:cTn id="73" fill="hold">
                                <p:stCondLst>
                                  <p:cond delay="0"/>
                                </p:stCondLst>
                                <p:childTnLst>
                                  <p:par>
                                    <p:cTn id="74" presetID="1" presetClass="emph" presetSubtype="2" fill="hold" nodeType="clickEffect">
                                      <p:stCondLst>
                                        <p:cond delay="0"/>
                                      </p:stCondLst>
                                      <p:childTnLst>
                                        <p:animClr clrSpc="rgb" dir="cw">
                                          <p:cBhvr>
                                            <p:cTn id="75" dur="500" fill="hold"/>
                                            <p:tgtEl>
                                              <p:spTgt spid="18"/>
                                            </p:tgtEl>
                                            <p:attrNameLst>
                                              <p:attrName>fillcolor</p:attrName>
                                            </p:attrNameLst>
                                          </p:cBhvr>
                                          <p:to>
                                            <a:srgbClr val="FCECD0"/>
                                          </p:to>
                                        </p:animClr>
                                        <p:set>
                                          <p:cBhvr>
                                            <p:cTn id="76" dur="500" fill="hold"/>
                                            <p:tgtEl>
                                              <p:spTgt spid="18"/>
                                            </p:tgtEl>
                                            <p:attrNameLst>
                                              <p:attrName>fill.type</p:attrName>
                                            </p:attrNameLst>
                                          </p:cBhvr>
                                          <p:to>
                                            <p:strVal val="solid"/>
                                          </p:to>
                                        </p:set>
                                        <p:set>
                                          <p:cBhvr>
                                            <p:cTn id="77" dur="500" fill="hold"/>
                                            <p:tgtEl>
                                              <p:spTgt spid="18"/>
                                            </p:tgtEl>
                                            <p:attrNameLst>
                                              <p:attrName>fill.on</p:attrName>
                                            </p:attrNameLst>
                                          </p:cBhvr>
                                          <p:to>
                                            <p:strVal val="true"/>
                                          </p:to>
                                        </p:set>
                                      </p:childTnLst>
                                    </p:cTn>
                                  </p:par>
                                  <p:par>
                                    <p:cTn id="78" presetID="1" presetClass="emph" presetSubtype="2" fill="hold" nodeType="withEffect">
                                      <p:stCondLst>
                                        <p:cond delay="1500"/>
                                      </p:stCondLst>
                                      <p:childTnLst>
                                        <p:animClr clrSpc="rgb" dir="cw">
                                          <p:cBhvr>
                                            <p:cTn id="79" dur="250" fill="hold"/>
                                            <p:tgtEl>
                                              <p:spTgt spid="18"/>
                                            </p:tgtEl>
                                            <p:attrNameLst>
                                              <p:attrName>fillcolor</p:attrName>
                                            </p:attrNameLst>
                                          </p:cBhvr>
                                          <p:to>
                                            <a:srgbClr val="ED5565"/>
                                          </p:to>
                                        </p:animClr>
                                        <p:set>
                                          <p:cBhvr>
                                            <p:cTn id="80" dur="250" fill="hold"/>
                                            <p:tgtEl>
                                              <p:spTgt spid="18"/>
                                            </p:tgtEl>
                                            <p:attrNameLst>
                                              <p:attrName>fill.type</p:attrName>
                                            </p:attrNameLst>
                                          </p:cBhvr>
                                          <p:to>
                                            <p:strVal val="solid"/>
                                          </p:to>
                                        </p:set>
                                        <p:set>
                                          <p:cBhvr>
                                            <p:cTn id="81" dur="250" fill="hold"/>
                                            <p:tgtEl>
                                              <p:spTgt spid="18"/>
                                            </p:tgtEl>
                                            <p:attrNameLst>
                                              <p:attrName>fill.on</p:attrName>
                                            </p:attrNameLst>
                                          </p:cBhvr>
                                          <p:to>
                                            <p:strVal val="true"/>
                                          </p:to>
                                        </p:set>
                                      </p:childTnLst>
                                    </p:cTn>
                                  </p:par>
                                  <p:par>
                                    <p:cTn id="82" presetID="23" presetClass="entr" presetSubtype="32" fill="hold" nodeType="withEffect">
                                      <p:stCondLst>
                                        <p:cond delay="1500"/>
                                      </p:stCondLst>
                                      <p:childTnLst>
                                        <p:set>
                                          <p:cBhvr>
                                            <p:cTn id="83" dur="1" fill="hold">
                                              <p:stCondLst>
                                                <p:cond delay="0"/>
                                              </p:stCondLst>
                                            </p:cTn>
                                            <p:tgtEl>
                                              <p:spTgt spid="19"/>
                                            </p:tgtEl>
                                            <p:attrNameLst>
                                              <p:attrName>style.visibility</p:attrName>
                                            </p:attrNameLst>
                                          </p:cBhvr>
                                          <p:to>
                                            <p:strVal val="visible"/>
                                          </p:to>
                                        </p:set>
                                        <p:anim calcmode="lin" valueType="num">
                                          <p:cBhvr>
                                            <p:cTn id="84" dur="250" fill="hold"/>
                                            <p:tgtEl>
                                              <p:spTgt spid="19"/>
                                            </p:tgtEl>
                                            <p:attrNameLst>
                                              <p:attrName>ppt_w</p:attrName>
                                            </p:attrNameLst>
                                          </p:cBhvr>
                                          <p:tavLst>
                                            <p:tav tm="0">
                                              <p:val>
                                                <p:strVal val="4*#ppt_w"/>
                                              </p:val>
                                            </p:tav>
                                            <p:tav tm="100000">
                                              <p:val>
                                                <p:strVal val="#ppt_w"/>
                                              </p:val>
                                            </p:tav>
                                          </p:tavLst>
                                        </p:anim>
                                        <p:anim calcmode="lin" valueType="num">
                                          <p:cBhvr>
                                            <p:cTn id="85" dur="250" fill="hold"/>
                                            <p:tgtEl>
                                              <p:spTgt spid="19"/>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82"/>
                                                </p:cond>
                                              </p:stCondLst>
                                              <p:endCondLst>
                                                <p:cond evt="onStopAudio" delay="0">
                                                  <p:tgtEl>
                                                    <p:sldTgt/>
                                                  </p:tgtEl>
                                                </p:cond>
                                              </p:endCondLst>
                                            </p:cTn>
                                            <p:tgtEl>
                                              <p:sndTgt r:embed="rId8" name="Wrong Buzzer.wav"/>
                                            </p:tgtEl>
                                          </p:cMediaNode>
                                        </p:audio>
                                      </p:subTnLst>
                                    </p:cTn>
                                  </p:par>
                                </p:childTnLst>
                              </p:cTn>
                            </p:par>
                          </p:childTnLst>
                        </p:cTn>
                      </p:par>
                    </p:childTnLst>
                  </p:cTn>
                  <p:nextCondLst>
                    <p:cond evt="onClick" delay="0">
                      <p:tgtEl>
                        <p:spTgt spid="18"/>
                      </p:tgtEl>
                    </p:cond>
                  </p:nextCondLst>
                </p:seq>
              </p:childTnLst>
            </p:cTn>
          </p:par>
        </p:tnLst>
        <p:bldLst>
          <p:bldP spid="4" grpId="0" animBg="1"/>
          <p:bldP spid="2" grpId="0" animBg="1"/>
          <p:bldP spid="14" grpId="0" animBg="1"/>
          <p:bldP spid="15" grpId="0" animBg="1"/>
          <p:bldP spid="18" grpId="0" animBg="1"/>
        </p:bldLst>
      </p:timing>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7D904ED-94E2-CE3C-B996-69D22B4B38F0}"/>
              </a:ext>
            </a:extLst>
          </p:cNvPr>
          <p:cNvPicPr>
            <a:picLocks noChangeAspect="1"/>
          </p:cNvPicPr>
          <p:nvPr/>
        </p:nvPicPr>
        <p:blipFill>
          <a:blip r:embed="rId2">
            <a:alphaModFix amt="35000"/>
          </a:blip>
          <a:stretch>
            <a:fillRect/>
          </a:stretch>
        </p:blipFill>
        <p:spPr>
          <a:xfrm>
            <a:off x="0" y="-34006"/>
            <a:ext cx="12247464" cy="6926012"/>
          </a:xfrm>
          <a:prstGeom prst="rect">
            <a:avLst/>
          </a:prstGeom>
        </p:spPr>
      </p:pic>
      <p:sp>
        <p:nvSpPr>
          <p:cNvPr id="3" name="Rectangle 2">
            <a:extLst>
              <a:ext uri="{FF2B5EF4-FFF2-40B4-BE49-F238E27FC236}">
                <a16:creationId xmlns:a16="http://schemas.microsoft.com/office/drawing/2014/main" id="{ED32A905-C3E8-489F-B203-BB4926E48692}"/>
              </a:ext>
            </a:extLst>
          </p:cNvPr>
          <p:cNvSpPr/>
          <p:nvPr/>
        </p:nvSpPr>
        <p:spPr>
          <a:xfrm>
            <a:off x="1249192" y="1811390"/>
            <a:ext cx="9057733" cy="4616648"/>
          </a:xfrm>
          <a:prstGeom prst="rect">
            <a:avLst/>
          </a:prstGeom>
          <a:effectLst/>
        </p:spPr>
        <p:txBody>
          <a:bodyPr wrap="square">
            <a:spAutoFit/>
          </a:bodyPr>
          <a:lstStyle/>
          <a:p>
            <a:pPr algn="ctr">
              <a:spcBef>
                <a:spcPts val="1200"/>
              </a:spcBef>
            </a:pPr>
            <a:r>
              <a:rPr lang="en-US" sz="2800" b="1" dirty="0" err="1">
                <a:solidFill>
                  <a:srgbClr val="002060"/>
                </a:solidFill>
                <a:latin typeface="Tahoma" panose="020B0604030504040204" pitchFamily="34" charset="0"/>
                <a:ea typeface="Tahoma" panose="020B0604030504040204" pitchFamily="34" charset="0"/>
                <a:cs typeface="Tahoma" panose="020B0604030504040204" pitchFamily="34" charset="0"/>
              </a:rPr>
              <a:t>Bài</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002060"/>
                </a:solidFill>
                <a:latin typeface="Tahoma" panose="020B0604030504040204" pitchFamily="34" charset="0"/>
                <a:ea typeface="Tahoma" panose="020B0604030504040204" pitchFamily="34" charset="0"/>
                <a:cs typeface="Tahoma" panose="020B0604030504040204" pitchFamily="34" charset="0"/>
              </a:rPr>
              <a:t>giải</a:t>
            </a:r>
            <a:endPar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endParaRPr>
          </a:p>
          <a:p>
            <a:pPr algn="ctr">
              <a:spcBef>
                <a:spcPts val="1200"/>
              </a:spcBef>
            </a:pPr>
            <a:r>
              <a:rPr lang="en-US" sz="2800" b="1" dirty="0" err="1">
                <a:solidFill>
                  <a:srgbClr val="002060"/>
                </a:solidFill>
                <a:latin typeface="Tahoma" panose="020B0604030504040204" pitchFamily="34" charset="0"/>
                <a:ea typeface="Tahoma" panose="020B0604030504040204" pitchFamily="34" charset="0"/>
                <a:cs typeface="Tahoma" panose="020B0604030504040204" pitchFamily="34" charset="0"/>
              </a:rPr>
              <a:t>Số</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002060"/>
                </a:solidFill>
                <a:latin typeface="Tahoma" panose="020B0604030504040204" pitchFamily="34" charset="0"/>
                <a:ea typeface="Tahoma" panose="020B0604030504040204" pitchFamily="34" charset="0"/>
                <a:cs typeface="Tahoma" panose="020B0604030504040204" pitchFamily="34" charset="0"/>
              </a:rPr>
              <a:t>thứ</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002060"/>
                </a:solidFill>
                <a:latin typeface="Tahoma" panose="020B0604030504040204" pitchFamily="34" charset="0"/>
                <a:ea typeface="Tahoma" panose="020B0604030504040204" pitchFamily="34" charset="0"/>
                <a:cs typeface="Tahoma" panose="020B0604030504040204" pitchFamily="34" charset="0"/>
              </a:rPr>
              <a:t>nhất</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002060"/>
                </a:solidFill>
                <a:latin typeface="Tahoma" panose="020B0604030504040204" pitchFamily="34" charset="0"/>
                <a:ea typeface="Tahoma" panose="020B0604030504040204" pitchFamily="34" charset="0"/>
                <a:cs typeface="Tahoma" panose="020B0604030504040204" pitchFamily="34" charset="0"/>
              </a:rPr>
              <a:t>là</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 </a:t>
            </a:r>
          </a:p>
          <a:p>
            <a:pPr algn="ctr">
              <a:spcBef>
                <a:spcPts val="1200"/>
              </a:spcBef>
            </a:pP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8 – 5,5 = 2,5</a:t>
            </a:r>
          </a:p>
          <a:p>
            <a:pPr algn="ctr">
              <a:spcBef>
                <a:spcPts val="1200"/>
              </a:spcBef>
            </a:pPr>
            <a:r>
              <a:rPr lang="en-US" sz="2800" b="1" dirty="0" err="1">
                <a:solidFill>
                  <a:srgbClr val="002060"/>
                </a:solidFill>
                <a:latin typeface="Tahoma" panose="020B0604030504040204" pitchFamily="34" charset="0"/>
                <a:ea typeface="Tahoma" panose="020B0604030504040204" pitchFamily="34" charset="0"/>
                <a:cs typeface="Tahoma" panose="020B0604030504040204" pitchFamily="34" charset="0"/>
              </a:rPr>
              <a:t>Số</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002060"/>
                </a:solidFill>
                <a:latin typeface="Tahoma" panose="020B0604030504040204" pitchFamily="34" charset="0"/>
                <a:ea typeface="Tahoma" panose="020B0604030504040204" pitchFamily="34" charset="0"/>
                <a:cs typeface="Tahoma" panose="020B0604030504040204" pitchFamily="34" charset="0"/>
              </a:rPr>
              <a:t>thứ</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002060"/>
                </a:solidFill>
                <a:latin typeface="Tahoma" panose="020B0604030504040204" pitchFamily="34" charset="0"/>
                <a:ea typeface="Tahoma" panose="020B0604030504040204" pitchFamily="34" charset="0"/>
                <a:cs typeface="Tahoma" panose="020B0604030504040204" pitchFamily="34" charset="0"/>
              </a:rPr>
              <a:t>hai</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002060"/>
                </a:solidFill>
                <a:latin typeface="Tahoma" panose="020B0604030504040204" pitchFamily="34" charset="0"/>
                <a:ea typeface="Tahoma" panose="020B0604030504040204" pitchFamily="34" charset="0"/>
                <a:cs typeface="Tahoma" panose="020B0604030504040204" pitchFamily="34" charset="0"/>
              </a:rPr>
              <a:t>là</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 </a:t>
            </a:r>
          </a:p>
          <a:p>
            <a:pPr algn="ctr">
              <a:spcBef>
                <a:spcPts val="1200"/>
              </a:spcBef>
            </a:pP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4,7 – 2,5 = 2,2</a:t>
            </a:r>
          </a:p>
          <a:p>
            <a:pPr algn="ctr">
              <a:spcBef>
                <a:spcPts val="1200"/>
              </a:spcBef>
            </a:pPr>
            <a:r>
              <a:rPr lang="en-US" sz="2800" b="1" dirty="0" err="1">
                <a:solidFill>
                  <a:srgbClr val="002060"/>
                </a:solidFill>
                <a:latin typeface="Tahoma" panose="020B0604030504040204" pitchFamily="34" charset="0"/>
                <a:ea typeface="Tahoma" panose="020B0604030504040204" pitchFamily="34" charset="0"/>
                <a:cs typeface="Tahoma" panose="020B0604030504040204" pitchFamily="34" charset="0"/>
              </a:rPr>
              <a:t>Số</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002060"/>
                </a:solidFill>
                <a:latin typeface="Tahoma" panose="020B0604030504040204" pitchFamily="34" charset="0"/>
                <a:ea typeface="Tahoma" panose="020B0604030504040204" pitchFamily="34" charset="0"/>
                <a:cs typeface="Tahoma" panose="020B0604030504040204" pitchFamily="34" charset="0"/>
              </a:rPr>
              <a:t>thứ</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002060"/>
                </a:solidFill>
                <a:latin typeface="Tahoma" panose="020B0604030504040204" pitchFamily="34" charset="0"/>
                <a:ea typeface="Tahoma" panose="020B0604030504040204" pitchFamily="34" charset="0"/>
                <a:cs typeface="Tahoma" panose="020B0604030504040204" pitchFamily="34" charset="0"/>
              </a:rPr>
              <a:t>ba</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002060"/>
                </a:solidFill>
                <a:latin typeface="Tahoma" panose="020B0604030504040204" pitchFamily="34" charset="0"/>
                <a:ea typeface="Tahoma" panose="020B0604030504040204" pitchFamily="34" charset="0"/>
                <a:cs typeface="Tahoma" panose="020B0604030504040204" pitchFamily="34" charset="0"/>
              </a:rPr>
              <a:t>là</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 </a:t>
            </a:r>
          </a:p>
          <a:p>
            <a:pPr algn="ctr">
              <a:spcBef>
                <a:spcPts val="1200"/>
              </a:spcBef>
            </a:pP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8 – 4,7 = 3,3</a:t>
            </a:r>
          </a:p>
          <a:p>
            <a:pPr algn="ctr">
              <a:spcBef>
                <a:spcPts val="1200"/>
              </a:spcBef>
            </a:pPr>
            <a:r>
              <a:rPr lang="en-US" sz="2800" b="1" dirty="0" err="1">
                <a:solidFill>
                  <a:srgbClr val="002060"/>
                </a:solidFill>
                <a:latin typeface="Tahoma" panose="020B0604030504040204" pitchFamily="34" charset="0"/>
                <a:ea typeface="Tahoma" panose="020B0604030504040204" pitchFamily="34" charset="0"/>
                <a:cs typeface="Tahoma" panose="020B0604030504040204" pitchFamily="34" charset="0"/>
              </a:rPr>
              <a:t>Đáp</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002060"/>
                </a:solidFill>
                <a:latin typeface="Tahoma" panose="020B0604030504040204" pitchFamily="34" charset="0"/>
                <a:ea typeface="Tahoma" panose="020B0604030504040204" pitchFamily="34" charset="0"/>
                <a:cs typeface="Tahoma" panose="020B0604030504040204" pitchFamily="34" charset="0"/>
              </a:rPr>
              <a:t>số</a:t>
            </a:r>
            <a:r>
              <a:rPr lang="en-US" sz="2800" b="1" dirty="0">
                <a:solidFill>
                  <a:srgbClr val="002060"/>
                </a:solidFill>
                <a:latin typeface="Tahoma" panose="020B0604030504040204" pitchFamily="34" charset="0"/>
                <a:ea typeface="Tahoma" panose="020B0604030504040204" pitchFamily="34" charset="0"/>
                <a:cs typeface="Tahoma" panose="020B0604030504040204" pitchFamily="34" charset="0"/>
              </a:rPr>
              <a:t>: 2,5 ; 2,2 ; 3,3</a:t>
            </a:r>
          </a:p>
        </p:txBody>
      </p:sp>
      <p:sp>
        <p:nvSpPr>
          <p:cNvPr id="4" name="文本框 5">
            <a:extLst>
              <a:ext uri="{FF2B5EF4-FFF2-40B4-BE49-F238E27FC236}">
                <a16:creationId xmlns:a16="http://schemas.microsoft.com/office/drawing/2014/main" id="{ACD9853C-FED8-7687-DFEB-84538C817088}"/>
              </a:ext>
            </a:extLst>
          </p:cNvPr>
          <p:cNvSpPr txBox="1"/>
          <p:nvPr/>
        </p:nvSpPr>
        <p:spPr>
          <a:xfrm>
            <a:off x="309542" y="443436"/>
            <a:ext cx="11264605" cy="1384995"/>
          </a:xfrm>
          <a:custGeom>
            <a:avLst/>
            <a:gdLst>
              <a:gd name="connsiteX0" fmla="*/ 0 w 11264605"/>
              <a:gd name="connsiteY0" fmla="*/ 0 h 1384995"/>
              <a:gd name="connsiteX1" fmla="*/ 662624 w 11264605"/>
              <a:gd name="connsiteY1" fmla="*/ 0 h 1384995"/>
              <a:gd name="connsiteX2" fmla="*/ 1550540 w 11264605"/>
              <a:gd name="connsiteY2" fmla="*/ 0 h 1384995"/>
              <a:gd name="connsiteX3" fmla="*/ 2213164 w 11264605"/>
              <a:gd name="connsiteY3" fmla="*/ 0 h 1384995"/>
              <a:gd name="connsiteX4" fmla="*/ 3101079 w 11264605"/>
              <a:gd name="connsiteY4" fmla="*/ 0 h 1384995"/>
              <a:gd name="connsiteX5" fmla="*/ 3651057 w 11264605"/>
              <a:gd name="connsiteY5" fmla="*/ 0 h 1384995"/>
              <a:gd name="connsiteX6" fmla="*/ 3975743 w 11264605"/>
              <a:gd name="connsiteY6" fmla="*/ 0 h 1384995"/>
              <a:gd name="connsiteX7" fmla="*/ 4638367 w 11264605"/>
              <a:gd name="connsiteY7" fmla="*/ 0 h 1384995"/>
              <a:gd name="connsiteX8" fmla="*/ 4963052 w 11264605"/>
              <a:gd name="connsiteY8" fmla="*/ 0 h 1384995"/>
              <a:gd name="connsiteX9" fmla="*/ 5625676 w 11264605"/>
              <a:gd name="connsiteY9" fmla="*/ 0 h 1384995"/>
              <a:gd name="connsiteX10" fmla="*/ 6400946 w 11264605"/>
              <a:gd name="connsiteY10" fmla="*/ 0 h 1384995"/>
              <a:gd name="connsiteX11" fmla="*/ 7176216 w 11264605"/>
              <a:gd name="connsiteY11" fmla="*/ 0 h 1384995"/>
              <a:gd name="connsiteX12" fmla="*/ 7500902 w 11264605"/>
              <a:gd name="connsiteY12" fmla="*/ 0 h 1384995"/>
              <a:gd name="connsiteX13" fmla="*/ 7938233 w 11264605"/>
              <a:gd name="connsiteY13" fmla="*/ 0 h 1384995"/>
              <a:gd name="connsiteX14" fmla="*/ 8262919 w 11264605"/>
              <a:gd name="connsiteY14" fmla="*/ 0 h 1384995"/>
              <a:gd name="connsiteX15" fmla="*/ 8925543 w 11264605"/>
              <a:gd name="connsiteY15" fmla="*/ 0 h 1384995"/>
              <a:gd name="connsiteX16" fmla="*/ 9588167 w 11264605"/>
              <a:gd name="connsiteY16" fmla="*/ 0 h 1384995"/>
              <a:gd name="connsiteX17" fmla="*/ 10250791 w 11264605"/>
              <a:gd name="connsiteY17" fmla="*/ 0 h 1384995"/>
              <a:gd name="connsiteX18" fmla="*/ 11264605 w 11264605"/>
              <a:gd name="connsiteY18" fmla="*/ 0 h 1384995"/>
              <a:gd name="connsiteX19" fmla="*/ 11264605 w 11264605"/>
              <a:gd name="connsiteY19" fmla="*/ 706347 h 1384995"/>
              <a:gd name="connsiteX20" fmla="*/ 11264605 w 11264605"/>
              <a:gd name="connsiteY20" fmla="*/ 1384995 h 1384995"/>
              <a:gd name="connsiteX21" fmla="*/ 10714627 w 11264605"/>
              <a:gd name="connsiteY21" fmla="*/ 1384995 h 1384995"/>
              <a:gd name="connsiteX22" fmla="*/ 10164649 w 11264605"/>
              <a:gd name="connsiteY22" fmla="*/ 1384995 h 1384995"/>
              <a:gd name="connsiteX23" fmla="*/ 9614672 w 11264605"/>
              <a:gd name="connsiteY23" fmla="*/ 1384995 h 1384995"/>
              <a:gd name="connsiteX24" fmla="*/ 8952048 w 11264605"/>
              <a:gd name="connsiteY24" fmla="*/ 1384995 h 1384995"/>
              <a:gd name="connsiteX25" fmla="*/ 8627362 w 11264605"/>
              <a:gd name="connsiteY25" fmla="*/ 1384995 h 1384995"/>
              <a:gd name="connsiteX26" fmla="*/ 7739446 w 11264605"/>
              <a:gd name="connsiteY26" fmla="*/ 1384995 h 1384995"/>
              <a:gd name="connsiteX27" fmla="*/ 7302115 w 11264605"/>
              <a:gd name="connsiteY27" fmla="*/ 1384995 h 1384995"/>
              <a:gd name="connsiteX28" fmla="*/ 6864783 w 11264605"/>
              <a:gd name="connsiteY28" fmla="*/ 1384995 h 1384995"/>
              <a:gd name="connsiteX29" fmla="*/ 5976867 w 11264605"/>
              <a:gd name="connsiteY29" fmla="*/ 1384995 h 1384995"/>
              <a:gd name="connsiteX30" fmla="*/ 5088951 w 11264605"/>
              <a:gd name="connsiteY30" fmla="*/ 1384995 h 1384995"/>
              <a:gd name="connsiteX31" fmla="*/ 4538973 w 11264605"/>
              <a:gd name="connsiteY31" fmla="*/ 1384995 h 1384995"/>
              <a:gd name="connsiteX32" fmla="*/ 3763703 w 11264605"/>
              <a:gd name="connsiteY32" fmla="*/ 1384995 h 1384995"/>
              <a:gd name="connsiteX33" fmla="*/ 2875787 w 11264605"/>
              <a:gd name="connsiteY33" fmla="*/ 1384995 h 1384995"/>
              <a:gd name="connsiteX34" fmla="*/ 2213164 w 11264605"/>
              <a:gd name="connsiteY34" fmla="*/ 1384995 h 1384995"/>
              <a:gd name="connsiteX35" fmla="*/ 1437894 w 11264605"/>
              <a:gd name="connsiteY35" fmla="*/ 1384995 h 1384995"/>
              <a:gd name="connsiteX36" fmla="*/ 0 w 11264605"/>
              <a:gd name="connsiteY36" fmla="*/ 1384995 h 1384995"/>
              <a:gd name="connsiteX37" fmla="*/ 0 w 11264605"/>
              <a:gd name="connsiteY37" fmla="*/ 692498 h 1384995"/>
              <a:gd name="connsiteX38" fmla="*/ 0 w 11264605"/>
              <a:gd name="connsiteY38" fmla="*/ 0 h 1384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1264605" h="1384995" fill="none" extrusionOk="0">
                <a:moveTo>
                  <a:pt x="0" y="0"/>
                </a:moveTo>
                <a:cubicBezTo>
                  <a:pt x="288853" y="23777"/>
                  <a:pt x="475917" y="18607"/>
                  <a:pt x="662624" y="0"/>
                </a:cubicBezTo>
                <a:cubicBezTo>
                  <a:pt x="849331" y="-18607"/>
                  <a:pt x="1228175" y="-16799"/>
                  <a:pt x="1550540" y="0"/>
                </a:cubicBezTo>
                <a:cubicBezTo>
                  <a:pt x="1872905" y="16799"/>
                  <a:pt x="1915897" y="-9745"/>
                  <a:pt x="2213164" y="0"/>
                </a:cubicBezTo>
                <a:cubicBezTo>
                  <a:pt x="2510431" y="9745"/>
                  <a:pt x="2890554" y="41188"/>
                  <a:pt x="3101079" y="0"/>
                </a:cubicBezTo>
                <a:cubicBezTo>
                  <a:pt x="3311604" y="-41188"/>
                  <a:pt x="3444088" y="4564"/>
                  <a:pt x="3651057" y="0"/>
                </a:cubicBezTo>
                <a:cubicBezTo>
                  <a:pt x="3858026" y="-4564"/>
                  <a:pt x="3862429" y="-8599"/>
                  <a:pt x="3975743" y="0"/>
                </a:cubicBezTo>
                <a:cubicBezTo>
                  <a:pt x="4089057" y="8599"/>
                  <a:pt x="4358216" y="-396"/>
                  <a:pt x="4638367" y="0"/>
                </a:cubicBezTo>
                <a:cubicBezTo>
                  <a:pt x="4918518" y="396"/>
                  <a:pt x="4873998" y="-13705"/>
                  <a:pt x="4963052" y="0"/>
                </a:cubicBezTo>
                <a:cubicBezTo>
                  <a:pt x="5052107" y="13705"/>
                  <a:pt x="5438999" y="-3033"/>
                  <a:pt x="5625676" y="0"/>
                </a:cubicBezTo>
                <a:cubicBezTo>
                  <a:pt x="5812353" y="3033"/>
                  <a:pt x="6071367" y="21235"/>
                  <a:pt x="6400946" y="0"/>
                </a:cubicBezTo>
                <a:cubicBezTo>
                  <a:pt x="6730525" y="-21235"/>
                  <a:pt x="6808152" y="-24231"/>
                  <a:pt x="7176216" y="0"/>
                </a:cubicBezTo>
                <a:cubicBezTo>
                  <a:pt x="7544280" y="24231"/>
                  <a:pt x="7347259" y="-5139"/>
                  <a:pt x="7500902" y="0"/>
                </a:cubicBezTo>
                <a:cubicBezTo>
                  <a:pt x="7654545" y="5139"/>
                  <a:pt x="7736187" y="-15863"/>
                  <a:pt x="7938233" y="0"/>
                </a:cubicBezTo>
                <a:cubicBezTo>
                  <a:pt x="8140279" y="15863"/>
                  <a:pt x="8153330" y="7671"/>
                  <a:pt x="8262919" y="0"/>
                </a:cubicBezTo>
                <a:cubicBezTo>
                  <a:pt x="8372508" y="-7671"/>
                  <a:pt x="8663205" y="29401"/>
                  <a:pt x="8925543" y="0"/>
                </a:cubicBezTo>
                <a:cubicBezTo>
                  <a:pt x="9187881" y="-29401"/>
                  <a:pt x="9370642" y="33110"/>
                  <a:pt x="9588167" y="0"/>
                </a:cubicBezTo>
                <a:cubicBezTo>
                  <a:pt x="9805692" y="-33110"/>
                  <a:pt x="10032440" y="-31588"/>
                  <a:pt x="10250791" y="0"/>
                </a:cubicBezTo>
                <a:cubicBezTo>
                  <a:pt x="10469142" y="31588"/>
                  <a:pt x="10994260" y="33289"/>
                  <a:pt x="11264605" y="0"/>
                </a:cubicBezTo>
                <a:cubicBezTo>
                  <a:pt x="11238291" y="251812"/>
                  <a:pt x="11287451" y="463050"/>
                  <a:pt x="11264605" y="706347"/>
                </a:cubicBezTo>
                <a:cubicBezTo>
                  <a:pt x="11241759" y="949644"/>
                  <a:pt x="11250375" y="1165930"/>
                  <a:pt x="11264605" y="1384995"/>
                </a:cubicBezTo>
                <a:cubicBezTo>
                  <a:pt x="11113727" y="1382633"/>
                  <a:pt x="10848144" y="1390516"/>
                  <a:pt x="10714627" y="1384995"/>
                </a:cubicBezTo>
                <a:cubicBezTo>
                  <a:pt x="10581110" y="1379474"/>
                  <a:pt x="10343470" y="1401202"/>
                  <a:pt x="10164649" y="1384995"/>
                </a:cubicBezTo>
                <a:cubicBezTo>
                  <a:pt x="9985828" y="1368788"/>
                  <a:pt x="9784669" y="1402614"/>
                  <a:pt x="9614672" y="1384995"/>
                </a:cubicBezTo>
                <a:cubicBezTo>
                  <a:pt x="9444675" y="1367376"/>
                  <a:pt x="9128989" y="1380794"/>
                  <a:pt x="8952048" y="1384995"/>
                </a:cubicBezTo>
                <a:cubicBezTo>
                  <a:pt x="8775107" y="1389196"/>
                  <a:pt x="8773046" y="1392743"/>
                  <a:pt x="8627362" y="1384995"/>
                </a:cubicBezTo>
                <a:cubicBezTo>
                  <a:pt x="8481678" y="1377247"/>
                  <a:pt x="8111622" y="1340668"/>
                  <a:pt x="7739446" y="1384995"/>
                </a:cubicBezTo>
                <a:cubicBezTo>
                  <a:pt x="7367270" y="1429322"/>
                  <a:pt x="7465060" y="1384223"/>
                  <a:pt x="7302115" y="1384995"/>
                </a:cubicBezTo>
                <a:cubicBezTo>
                  <a:pt x="7139170" y="1385767"/>
                  <a:pt x="7059247" y="1376735"/>
                  <a:pt x="6864783" y="1384995"/>
                </a:cubicBezTo>
                <a:cubicBezTo>
                  <a:pt x="6670319" y="1393255"/>
                  <a:pt x="6419274" y="1354686"/>
                  <a:pt x="5976867" y="1384995"/>
                </a:cubicBezTo>
                <a:cubicBezTo>
                  <a:pt x="5534460" y="1415304"/>
                  <a:pt x="5489708" y="1382730"/>
                  <a:pt x="5088951" y="1384995"/>
                </a:cubicBezTo>
                <a:cubicBezTo>
                  <a:pt x="4688194" y="1387260"/>
                  <a:pt x="4713000" y="1361432"/>
                  <a:pt x="4538973" y="1384995"/>
                </a:cubicBezTo>
                <a:cubicBezTo>
                  <a:pt x="4364946" y="1408558"/>
                  <a:pt x="4012414" y="1356349"/>
                  <a:pt x="3763703" y="1384995"/>
                </a:cubicBezTo>
                <a:cubicBezTo>
                  <a:pt x="3514992" y="1413642"/>
                  <a:pt x="3178448" y="1424909"/>
                  <a:pt x="2875787" y="1384995"/>
                </a:cubicBezTo>
                <a:cubicBezTo>
                  <a:pt x="2573126" y="1345081"/>
                  <a:pt x="2521283" y="1388921"/>
                  <a:pt x="2213164" y="1384995"/>
                </a:cubicBezTo>
                <a:cubicBezTo>
                  <a:pt x="1905045" y="1381069"/>
                  <a:pt x="1665448" y="1397551"/>
                  <a:pt x="1437894" y="1384995"/>
                </a:cubicBezTo>
                <a:cubicBezTo>
                  <a:pt x="1210340" y="1372440"/>
                  <a:pt x="554050" y="1418607"/>
                  <a:pt x="0" y="1384995"/>
                </a:cubicBezTo>
                <a:cubicBezTo>
                  <a:pt x="-26523" y="1230974"/>
                  <a:pt x="-3906" y="961583"/>
                  <a:pt x="0" y="692498"/>
                </a:cubicBezTo>
                <a:cubicBezTo>
                  <a:pt x="3906" y="423413"/>
                  <a:pt x="-16177" y="196153"/>
                  <a:pt x="0" y="0"/>
                </a:cubicBezTo>
                <a:close/>
              </a:path>
              <a:path w="11264605" h="1384995" stroke="0" extrusionOk="0">
                <a:moveTo>
                  <a:pt x="0" y="0"/>
                </a:moveTo>
                <a:cubicBezTo>
                  <a:pt x="145187" y="-13619"/>
                  <a:pt x="222262" y="5486"/>
                  <a:pt x="324686" y="0"/>
                </a:cubicBezTo>
                <a:cubicBezTo>
                  <a:pt x="427110" y="-5486"/>
                  <a:pt x="797252" y="-29306"/>
                  <a:pt x="1099956" y="0"/>
                </a:cubicBezTo>
                <a:cubicBezTo>
                  <a:pt x="1402660" y="29306"/>
                  <a:pt x="1617895" y="28896"/>
                  <a:pt x="1875225" y="0"/>
                </a:cubicBezTo>
                <a:cubicBezTo>
                  <a:pt x="2132555" y="-28896"/>
                  <a:pt x="2083855" y="-4813"/>
                  <a:pt x="2199911" y="0"/>
                </a:cubicBezTo>
                <a:cubicBezTo>
                  <a:pt x="2315967" y="4813"/>
                  <a:pt x="2686889" y="-22820"/>
                  <a:pt x="3087827" y="0"/>
                </a:cubicBezTo>
                <a:cubicBezTo>
                  <a:pt x="3488765" y="22820"/>
                  <a:pt x="3269654" y="14275"/>
                  <a:pt x="3412513" y="0"/>
                </a:cubicBezTo>
                <a:cubicBezTo>
                  <a:pt x="3555372" y="-14275"/>
                  <a:pt x="4087974" y="-7380"/>
                  <a:pt x="4300429" y="0"/>
                </a:cubicBezTo>
                <a:cubicBezTo>
                  <a:pt x="4512884" y="7380"/>
                  <a:pt x="4573598" y="18777"/>
                  <a:pt x="4737760" y="0"/>
                </a:cubicBezTo>
                <a:cubicBezTo>
                  <a:pt x="4901922" y="-18777"/>
                  <a:pt x="5198613" y="29642"/>
                  <a:pt x="5625676" y="0"/>
                </a:cubicBezTo>
                <a:cubicBezTo>
                  <a:pt x="6052739" y="-29642"/>
                  <a:pt x="5849154" y="9043"/>
                  <a:pt x="6063008" y="0"/>
                </a:cubicBezTo>
                <a:cubicBezTo>
                  <a:pt x="6276862" y="-9043"/>
                  <a:pt x="6412168" y="-13349"/>
                  <a:pt x="6500340" y="0"/>
                </a:cubicBezTo>
                <a:cubicBezTo>
                  <a:pt x="6588512" y="13349"/>
                  <a:pt x="7116976" y="-17362"/>
                  <a:pt x="7388256" y="0"/>
                </a:cubicBezTo>
                <a:cubicBezTo>
                  <a:pt x="7659536" y="17362"/>
                  <a:pt x="7941823" y="40618"/>
                  <a:pt x="8276172" y="0"/>
                </a:cubicBezTo>
                <a:cubicBezTo>
                  <a:pt x="8610521" y="-40618"/>
                  <a:pt x="8844880" y="22518"/>
                  <a:pt x="9051441" y="0"/>
                </a:cubicBezTo>
                <a:cubicBezTo>
                  <a:pt x="9258002" y="-22518"/>
                  <a:pt x="9636904" y="-12921"/>
                  <a:pt x="9939357" y="0"/>
                </a:cubicBezTo>
                <a:cubicBezTo>
                  <a:pt x="10241810" y="12921"/>
                  <a:pt x="10340417" y="-22872"/>
                  <a:pt x="10601981" y="0"/>
                </a:cubicBezTo>
                <a:cubicBezTo>
                  <a:pt x="10863545" y="22872"/>
                  <a:pt x="10971694" y="14060"/>
                  <a:pt x="11264605" y="0"/>
                </a:cubicBezTo>
                <a:cubicBezTo>
                  <a:pt x="11237399" y="270474"/>
                  <a:pt x="11296839" y="446574"/>
                  <a:pt x="11264605" y="650948"/>
                </a:cubicBezTo>
                <a:cubicBezTo>
                  <a:pt x="11232371" y="855322"/>
                  <a:pt x="11275587" y="1047580"/>
                  <a:pt x="11264605" y="1384995"/>
                </a:cubicBezTo>
                <a:cubicBezTo>
                  <a:pt x="11058961" y="1387616"/>
                  <a:pt x="10927332" y="1402744"/>
                  <a:pt x="10601981" y="1384995"/>
                </a:cubicBezTo>
                <a:cubicBezTo>
                  <a:pt x="10276630" y="1367246"/>
                  <a:pt x="9954895" y="1402898"/>
                  <a:pt x="9714065" y="1384995"/>
                </a:cubicBezTo>
                <a:cubicBezTo>
                  <a:pt x="9473235" y="1367092"/>
                  <a:pt x="9507350" y="1369803"/>
                  <a:pt x="9389380" y="1384995"/>
                </a:cubicBezTo>
                <a:cubicBezTo>
                  <a:pt x="9271410" y="1400187"/>
                  <a:pt x="8860892" y="1379042"/>
                  <a:pt x="8501464" y="1384995"/>
                </a:cubicBezTo>
                <a:cubicBezTo>
                  <a:pt x="8142036" y="1390948"/>
                  <a:pt x="8174113" y="1397430"/>
                  <a:pt x="8064132" y="1384995"/>
                </a:cubicBezTo>
                <a:cubicBezTo>
                  <a:pt x="7954151" y="1372560"/>
                  <a:pt x="7694258" y="1374017"/>
                  <a:pt x="7401508" y="1384995"/>
                </a:cubicBezTo>
                <a:cubicBezTo>
                  <a:pt x="7108758" y="1395973"/>
                  <a:pt x="7101973" y="1393941"/>
                  <a:pt x="6851530" y="1384995"/>
                </a:cubicBezTo>
                <a:cubicBezTo>
                  <a:pt x="6601087" y="1376049"/>
                  <a:pt x="6612626" y="1397867"/>
                  <a:pt x="6414199" y="1384995"/>
                </a:cubicBezTo>
                <a:cubicBezTo>
                  <a:pt x="6215772" y="1372123"/>
                  <a:pt x="5949794" y="1412965"/>
                  <a:pt x="5526283" y="1384995"/>
                </a:cubicBezTo>
                <a:cubicBezTo>
                  <a:pt x="5102772" y="1357025"/>
                  <a:pt x="5089901" y="1348389"/>
                  <a:pt x="4751013" y="1384995"/>
                </a:cubicBezTo>
                <a:cubicBezTo>
                  <a:pt x="4412125" y="1421602"/>
                  <a:pt x="4391807" y="1389633"/>
                  <a:pt x="4201035" y="1384995"/>
                </a:cubicBezTo>
                <a:cubicBezTo>
                  <a:pt x="4010263" y="1380357"/>
                  <a:pt x="3701069" y="1405339"/>
                  <a:pt x="3538411" y="1384995"/>
                </a:cubicBezTo>
                <a:cubicBezTo>
                  <a:pt x="3375753" y="1364651"/>
                  <a:pt x="3209003" y="1406322"/>
                  <a:pt x="3101079" y="1384995"/>
                </a:cubicBezTo>
                <a:cubicBezTo>
                  <a:pt x="2993155" y="1363668"/>
                  <a:pt x="2811088" y="1398077"/>
                  <a:pt x="2663748" y="1384995"/>
                </a:cubicBezTo>
                <a:cubicBezTo>
                  <a:pt x="2516408" y="1371913"/>
                  <a:pt x="2491026" y="1400659"/>
                  <a:pt x="2339062" y="1384995"/>
                </a:cubicBezTo>
                <a:cubicBezTo>
                  <a:pt x="2187098" y="1369331"/>
                  <a:pt x="1899252" y="1387158"/>
                  <a:pt x="1789084" y="1384995"/>
                </a:cubicBezTo>
                <a:cubicBezTo>
                  <a:pt x="1678916" y="1382832"/>
                  <a:pt x="1562497" y="1391249"/>
                  <a:pt x="1464399" y="1384995"/>
                </a:cubicBezTo>
                <a:cubicBezTo>
                  <a:pt x="1366301" y="1378741"/>
                  <a:pt x="1135238" y="1380689"/>
                  <a:pt x="914421" y="1384995"/>
                </a:cubicBezTo>
                <a:cubicBezTo>
                  <a:pt x="693604" y="1389301"/>
                  <a:pt x="213646" y="1416666"/>
                  <a:pt x="0" y="1384995"/>
                </a:cubicBezTo>
                <a:cubicBezTo>
                  <a:pt x="-29918" y="1088701"/>
                  <a:pt x="-1959" y="917558"/>
                  <a:pt x="0" y="706347"/>
                </a:cubicBezTo>
                <a:cubicBezTo>
                  <a:pt x="1959" y="495136"/>
                  <a:pt x="-25587" y="222783"/>
                  <a:pt x="0" y="0"/>
                </a:cubicBezTo>
                <a:close/>
              </a:path>
            </a:pathLst>
          </a:custGeom>
          <a:solidFill>
            <a:schemeClr val="bg1"/>
          </a:solidFill>
          <a:ln w="28575">
            <a:solidFill>
              <a:srgbClr val="00B0F0"/>
            </a:solidFill>
            <a:prstDash val="lgDash"/>
            <a:extLst>
              <a:ext uri="{C807C97D-BFC1-408E-A445-0C87EB9F89A2}">
                <ask:lineSketchStyleProps xmlns:ask="http://schemas.microsoft.com/office/drawing/2018/sketchyshapes" sd="2786970889">
                  <a:prstGeom prst="rect">
                    <a:avLst/>
                  </a:prstGeom>
                  <ask:type>
                    <ask:lineSketchFreehand/>
                  </ask:type>
                </ask:lineSketchStyleProps>
              </a:ext>
            </a:extLst>
          </a:ln>
        </p:spPr>
        <p:txBody>
          <a:bodyPr wrap="square" rtlCol="0">
            <a:spAutoFit/>
          </a:bodyPr>
          <a:lstStyle/>
          <a:p>
            <a:pPr algn="just"/>
            <a:r>
              <a:rPr lang="en-US" sz="2800" b="1" i="1" u="sng" dirty="0" err="1">
                <a:solidFill>
                  <a:srgbClr val="0070C0"/>
                </a:solidFill>
                <a:latin typeface="UTM Neo Sans Intel" pitchFamily="18" charset="0"/>
              </a:rPr>
              <a:t>Bài</a:t>
            </a:r>
            <a:r>
              <a:rPr lang="en-US" sz="2800" b="1" i="1" u="sng" dirty="0">
                <a:solidFill>
                  <a:srgbClr val="0070C0"/>
                </a:solidFill>
                <a:latin typeface="UTM Neo Sans Intel" pitchFamily="18" charset="0"/>
              </a:rPr>
              <a:t> 5</a:t>
            </a:r>
            <a:r>
              <a:rPr lang="en-US" sz="2800" b="1" i="1" dirty="0">
                <a:solidFill>
                  <a:srgbClr val="0070C0"/>
                </a:solidFill>
                <a:latin typeface="UTM Neo Sans Intel" pitchFamily="18" charset="0"/>
              </a:rPr>
              <a:t>: </a:t>
            </a:r>
            <a:r>
              <a:rPr lang="vi-VN" sz="2800" b="1" i="1" dirty="0">
                <a:solidFill>
                  <a:srgbClr val="0070C0"/>
                </a:solidFill>
              </a:rPr>
              <a:t>Tổng của ba số bằng 8. Tổng của số thứ nhất và số thứ hai bằng 4,7. Tổng của số thứ hai và số thứ ba bằng 5,5. Hãy tìm số đó.</a:t>
            </a:r>
            <a:endParaRPr lang="zh-CN" altLang="en-US" sz="2800" b="1" i="1" dirty="0">
              <a:solidFill>
                <a:srgbClr val="0070C0"/>
              </a:solidFill>
              <a:latin typeface="UTM Neo Sans Intel" pitchFamily="18" charset="0"/>
            </a:endParaRPr>
          </a:p>
        </p:txBody>
      </p:sp>
      <p:cxnSp>
        <p:nvCxnSpPr>
          <p:cNvPr id="5" name="Straight Connector 4">
            <a:extLst>
              <a:ext uri="{FF2B5EF4-FFF2-40B4-BE49-F238E27FC236}">
                <a16:creationId xmlns:a16="http://schemas.microsoft.com/office/drawing/2014/main" id="{B018ADA7-6861-8C40-E851-FDDFFEAC31C2}"/>
              </a:ext>
            </a:extLst>
          </p:cNvPr>
          <p:cNvCxnSpPr>
            <a:cxnSpLocks/>
          </p:cNvCxnSpPr>
          <p:nvPr/>
        </p:nvCxnSpPr>
        <p:spPr>
          <a:xfrm>
            <a:off x="1443422" y="930232"/>
            <a:ext cx="3839778" cy="0"/>
          </a:xfrm>
          <a:prstGeom prst="line">
            <a:avLst/>
          </a:prstGeom>
          <a:ln w="28575">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6" name="Straight Connector 5">
            <a:extLst>
              <a:ext uri="{FF2B5EF4-FFF2-40B4-BE49-F238E27FC236}">
                <a16:creationId xmlns:a16="http://schemas.microsoft.com/office/drawing/2014/main" id="{58381D40-178C-14C4-853E-4305E3DEB3DD}"/>
              </a:ext>
            </a:extLst>
          </p:cNvPr>
          <p:cNvCxnSpPr>
            <a:cxnSpLocks/>
          </p:cNvCxnSpPr>
          <p:nvPr/>
        </p:nvCxnSpPr>
        <p:spPr>
          <a:xfrm>
            <a:off x="5541749" y="930232"/>
            <a:ext cx="5908571" cy="0"/>
          </a:xfrm>
          <a:prstGeom prst="line">
            <a:avLst/>
          </a:prstGeom>
          <a:ln w="28575">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7" name="Straight Connector 6">
            <a:extLst>
              <a:ext uri="{FF2B5EF4-FFF2-40B4-BE49-F238E27FC236}">
                <a16:creationId xmlns:a16="http://schemas.microsoft.com/office/drawing/2014/main" id="{11514185-EFBE-7E7C-8C19-400E1FA79BF4}"/>
              </a:ext>
            </a:extLst>
          </p:cNvPr>
          <p:cNvCxnSpPr>
            <a:cxnSpLocks/>
          </p:cNvCxnSpPr>
          <p:nvPr/>
        </p:nvCxnSpPr>
        <p:spPr>
          <a:xfrm>
            <a:off x="386782" y="1380459"/>
            <a:ext cx="1350578" cy="0"/>
          </a:xfrm>
          <a:prstGeom prst="line">
            <a:avLst/>
          </a:prstGeom>
          <a:ln w="28575">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8" name="Straight Connector 7">
            <a:extLst>
              <a:ext uri="{FF2B5EF4-FFF2-40B4-BE49-F238E27FC236}">
                <a16:creationId xmlns:a16="http://schemas.microsoft.com/office/drawing/2014/main" id="{5B4CE4D0-7327-0D39-61EF-7007BE034196}"/>
              </a:ext>
            </a:extLst>
          </p:cNvPr>
          <p:cNvCxnSpPr/>
          <p:nvPr/>
        </p:nvCxnSpPr>
        <p:spPr>
          <a:xfrm>
            <a:off x="2122342" y="1380459"/>
            <a:ext cx="2942711" cy="0"/>
          </a:xfrm>
          <a:prstGeom prst="line">
            <a:avLst/>
          </a:prstGeom>
          <a:ln w="28575">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9" name="Straight Connector 8">
            <a:extLst>
              <a:ext uri="{FF2B5EF4-FFF2-40B4-BE49-F238E27FC236}">
                <a16:creationId xmlns:a16="http://schemas.microsoft.com/office/drawing/2014/main" id="{16A07033-1F99-B45F-DC43-CA6AB8278256}"/>
              </a:ext>
            </a:extLst>
          </p:cNvPr>
          <p:cNvCxnSpPr/>
          <p:nvPr/>
        </p:nvCxnSpPr>
        <p:spPr>
          <a:xfrm>
            <a:off x="6096000" y="1380459"/>
            <a:ext cx="1629289" cy="0"/>
          </a:xfrm>
          <a:prstGeom prst="line">
            <a:avLst/>
          </a:prstGeom>
          <a:ln w="28575">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0" name="Straight Connector 9">
            <a:extLst>
              <a:ext uri="{FF2B5EF4-FFF2-40B4-BE49-F238E27FC236}">
                <a16:creationId xmlns:a16="http://schemas.microsoft.com/office/drawing/2014/main" id="{C0116473-BD9A-3CD0-0732-BAF70249862A}"/>
              </a:ext>
            </a:extLst>
          </p:cNvPr>
          <p:cNvCxnSpPr>
            <a:cxnSpLocks/>
          </p:cNvCxnSpPr>
          <p:nvPr/>
        </p:nvCxnSpPr>
        <p:spPr>
          <a:xfrm>
            <a:off x="8036560" y="1380459"/>
            <a:ext cx="701040" cy="0"/>
          </a:xfrm>
          <a:prstGeom prst="line">
            <a:avLst/>
          </a:prstGeom>
          <a:ln w="28575">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1" name="Straight Connector 10">
            <a:extLst>
              <a:ext uri="{FF2B5EF4-FFF2-40B4-BE49-F238E27FC236}">
                <a16:creationId xmlns:a16="http://schemas.microsoft.com/office/drawing/2014/main" id="{BB1B432B-54E2-DE37-9E2E-0EB9B1201AE9}"/>
              </a:ext>
            </a:extLst>
          </p:cNvPr>
          <p:cNvCxnSpPr>
            <a:cxnSpLocks/>
          </p:cNvCxnSpPr>
          <p:nvPr/>
        </p:nvCxnSpPr>
        <p:spPr>
          <a:xfrm>
            <a:off x="10424160" y="1380459"/>
            <a:ext cx="1051526" cy="0"/>
          </a:xfrm>
          <a:prstGeom prst="line">
            <a:avLst/>
          </a:prstGeom>
          <a:ln w="28575">
            <a:solidFill>
              <a:srgbClr val="FF0000"/>
            </a:solidFill>
          </a:ln>
        </p:spPr>
        <p:style>
          <a:lnRef idx="3">
            <a:schemeClr val="accent2"/>
          </a:lnRef>
          <a:fillRef idx="0">
            <a:schemeClr val="accent2"/>
          </a:fillRef>
          <a:effectRef idx="2">
            <a:schemeClr val="accent2"/>
          </a:effectRef>
          <a:fontRef idx="minor">
            <a:schemeClr val="tx1"/>
          </a:fontRef>
        </p:style>
      </p:cxnSp>
      <p:pic>
        <p:nvPicPr>
          <p:cNvPr id="20" name="Picture 19" descr="A cartoon bear holding a yellow number&#10;&#10;Description automatically generated">
            <a:extLst>
              <a:ext uri="{FF2B5EF4-FFF2-40B4-BE49-F238E27FC236}">
                <a16:creationId xmlns:a16="http://schemas.microsoft.com/office/drawing/2014/main" id="{7350205A-A0CE-73DC-6C9A-24410D15CF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76080" y="4178330"/>
            <a:ext cx="2910445" cy="3191117"/>
          </a:xfrm>
          <a:prstGeom prst="rect">
            <a:avLst/>
          </a:prstGeom>
        </p:spPr>
      </p:pic>
    </p:spTree>
    <p:extLst>
      <p:ext uri="{BB962C8B-B14F-4D97-AF65-F5344CB8AC3E}">
        <p14:creationId xmlns:p14="http://schemas.microsoft.com/office/powerpoint/2010/main" val="367427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left)">
                                      <p:cBhvr>
                                        <p:cTn id="17" dur="500"/>
                                        <p:tgtEl>
                                          <p:spTgt spid="6"/>
                                        </p:tgtEl>
                                      </p:cBhvr>
                                    </p:animEffect>
                                  </p:childTnLst>
                                </p:cTn>
                              </p:par>
                            </p:childTnLst>
                          </p:cTn>
                        </p:par>
                        <p:par>
                          <p:cTn id="18" fill="hold">
                            <p:stCondLst>
                              <p:cond delay="500"/>
                            </p:stCondLst>
                            <p:childTnLst>
                              <p:par>
                                <p:cTn id="19" presetID="22" presetClass="entr" presetSubtype="8" fill="hold"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wipe(left)">
                                      <p:cBhvr>
                                        <p:cTn id="21" dur="500"/>
                                        <p:tgtEl>
                                          <p:spTgt spid="7"/>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wipe(left)">
                                      <p:cBhvr>
                                        <p:cTn id="26" dur="500"/>
                                        <p:tgtEl>
                                          <p:spTgt spid="8"/>
                                        </p:tgtEl>
                                      </p:cBhvr>
                                    </p:animEffect>
                                  </p:childTnLst>
                                </p:cTn>
                              </p:par>
                            </p:childTnLst>
                          </p:cTn>
                        </p:par>
                        <p:par>
                          <p:cTn id="27" fill="hold">
                            <p:stCondLst>
                              <p:cond delay="500"/>
                            </p:stCondLst>
                            <p:childTnLst>
                              <p:par>
                                <p:cTn id="28" presetID="22" presetClass="entr" presetSubtype="8" fill="hold" nodeType="after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wipe(left)">
                                      <p:cBhvr>
                                        <p:cTn id="30" dur="500"/>
                                        <p:tgtEl>
                                          <p:spTgt spid="9"/>
                                        </p:tgtEl>
                                      </p:cBhvr>
                                    </p:animEffect>
                                  </p:childTnLst>
                                </p:cTn>
                              </p:par>
                            </p:childTnLst>
                          </p:cTn>
                        </p:par>
                        <p:par>
                          <p:cTn id="31" fill="hold">
                            <p:stCondLst>
                              <p:cond delay="1000"/>
                            </p:stCondLst>
                            <p:childTnLst>
                              <p:par>
                                <p:cTn id="32" presetID="22" presetClass="entr" presetSubtype="8" fill="hold" nodeType="after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wipe(left)">
                                      <p:cBhvr>
                                        <p:cTn id="34" dur="500"/>
                                        <p:tgtEl>
                                          <p:spTgt spid="10"/>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nodeType="click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wipe(left)">
                                      <p:cBhvr>
                                        <p:cTn id="39" dur="500"/>
                                        <p:tgtEl>
                                          <p:spTgt spid="11"/>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8" fill="hold" grpId="0" nodeType="clickEffect">
                                  <p:stCondLst>
                                    <p:cond delay="0"/>
                                  </p:stCondLst>
                                  <p:childTnLst>
                                    <p:set>
                                      <p:cBhvr>
                                        <p:cTn id="43" dur="1" fill="hold">
                                          <p:stCondLst>
                                            <p:cond delay="0"/>
                                          </p:stCondLst>
                                        </p:cTn>
                                        <p:tgtEl>
                                          <p:spTgt spid="3">
                                            <p:txEl>
                                              <p:pRg st="0" end="0"/>
                                            </p:txEl>
                                          </p:spTgt>
                                        </p:tgtEl>
                                        <p:attrNameLst>
                                          <p:attrName>style.visibility</p:attrName>
                                        </p:attrNameLst>
                                      </p:cBhvr>
                                      <p:to>
                                        <p:strVal val="visible"/>
                                      </p:to>
                                    </p:set>
                                    <p:animEffect transition="in" filter="wipe(left)">
                                      <p:cBhvr>
                                        <p:cTn id="44" dur="500"/>
                                        <p:tgtEl>
                                          <p:spTgt spid="3">
                                            <p:txEl>
                                              <p:pRg st="0" end="0"/>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nodeType="clickEffect">
                                  <p:stCondLst>
                                    <p:cond delay="0"/>
                                  </p:stCondLst>
                                  <p:childTnLst>
                                    <p:set>
                                      <p:cBhvr>
                                        <p:cTn id="48" dur="1" fill="hold">
                                          <p:stCondLst>
                                            <p:cond delay="0"/>
                                          </p:stCondLst>
                                        </p:cTn>
                                        <p:tgtEl>
                                          <p:spTgt spid="3">
                                            <p:txEl>
                                              <p:pRg st="1" end="1"/>
                                            </p:txEl>
                                          </p:spTgt>
                                        </p:tgtEl>
                                        <p:attrNameLst>
                                          <p:attrName>style.visibility</p:attrName>
                                        </p:attrNameLst>
                                      </p:cBhvr>
                                      <p:to>
                                        <p:strVal val="visible"/>
                                      </p:to>
                                    </p:set>
                                    <p:animEffect transition="in" filter="wipe(left)">
                                      <p:cBhvr>
                                        <p:cTn id="49" dur="500"/>
                                        <p:tgtEl>
                                          <p:spTgt spid="3">
                                            <p:txEl>
                                              <p:pRg st="1" end="1"/>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nodeType="clickEffect">
                                  <p:stCondLst>
                                    <p:cond delay="0"/>
                                  </p:stCondLst>
                                  <p:childTnLst>
                                    <p:set>
                                      <p:cBhvr>
                                        <p:cTn id="53" dur="1" fill="hold">
                                          <p:stCondLst>
                                            <p:cond delay="0"/>
                                          </p:stCondLst>
                                        </p:cTn>
                                        <p:tgtEl>
                                          <p:spTgt spid="3">
                                            <p:txEl>
                                              <p:pRg st="2" end="2"/>
                                            </p:txEl>
                                          </p:spTgt>
                                        </p:tgtEl>
                                        <p:attrNameLst>
                                          <p:attrName>style.visibility</p:attrName>
                                        </p:attrNameLst>
                                      </p:cBhvr>
                                      <p:to>
                                        <p:strVal val="visible"/>
                                      </p:to>
                                    </p:set>
                                    <p:animEffect transition="in" filter="wipe(left)">
                                      <p:cBhvr>
                                        <p:cTn id="54" dur="500"/>
                                        <p:tgtEl>
                                          <p:spTgt spid="3">
                                            <p:txEl>
                                              <p:pRg st="2" end="2"/>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8" fill="hold" nodeType="clickEffect">
                                  <p:stCondLst>
                                    <p:cond delay="0"/>
                                  </p:stCondLst>
                                  <p:childTnLst>
                                    <p:set>
                                      <p:cBhvr>
                                        <p:cTn id="58" dur="1" fill="hold">
                                          <p:stCondLst>
                                            <p:cond delay="0"/>
                                          </p:stCondLst>
                                        </p:cTn>
                                        <p:tgtEl>
                                          <p:spTgt spid="3">
                                            <p:txEl>
                                              <p:pRg st="3" end="3"/>
                                            </p:txEl>
                                          </p:spTgt>
                                        </p:tgtEl>
                                        <p:attrNameLst>
                                          <p:attrName>style.visibility</p:attrName>
                                        </p:attrNameLst>
                                      </p:cBhvr>
                                      <p:to>
                                        <p:strVal val="visible"/>
                                      </p:to>
                                    </p:set>
                                    <p:animEffect transition="in" filter="wipe(left)">
                                      <p:cBhvr>
                                        <p:cTn id="59" dur="500"/>
                                        <p:tgtEl>
                                          <p:spTgt spid="3">
                                            <p:txEl>
                                              <p:pRg st="3" end="3"/>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8" fill="hold" nodeType="clickEffect">
                                  <p:stCondLst>
                                    <p:cond delay="0"/>
                                  </p:stCondLst>
                                  <p:childTnLst>
                                    <p:set>
                                      <p:cBhvr>
                                        <p:cTn id="63" dur="1" fill="hold">
                                          <p:stCondLst>
                                            <p:cond delay="0"/>
                                          </p:stCondLst>
                                        </p:cTn>
                                        <p:tgtEl>
                                          <p:spTgt spid="3">
                                            <p:txEl>
                                              <p:pRg st="4" end="4"/>
                                            </p:txEl>
                                          </p:spTgt>
                                        </p:tgtEl>
                                        <p:attrNameLst>
                                          <p:attrName>style.visibility</p:attrName>
                                        </p:attrNameLst>
                                      </p:cBhvr>
                                      <p:to>
                                        <p:strVal val="visible"/>
                                      </p:to>
                                    </p:set>
                                    <p:animEffect transition="in" filter="wipe(left)">
                                      <p:cBhvr>
                                        <p:cTn id="64" dur="500"/>
                                        <p:tgtEl>
                                          <p:spTgt spid="3">
                                            <p:txEl>
                                              <p:pRg st="4" end="4"/>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8" fill="hold" nodeType="clickEffect">
                                  <p:stCondLst>
                                    <p:cond delay="0"/>
                                  </p:stCondLst>
                                  <p:childTnLst>
                                    <p:set>
                                      <p:cBhvr>
                                        <p:cTn id="68" dur="1" fill="hold">
                                          <p:stCondLst>
                                            <p:cond delay="0"/>
                                          </p:stCondLst>
                                        </p:cTn>
                                        <p:tgtEl>
                                          <p:spTgt spid="3">
                                            <p:txEl>
                                              <p:pRg st="5" end="5"/>
                                            </p:txEl>
                                          </p:spTgt>
                                        </p:tgtEl>
                                        <p:attrNameLst>
                                          <p:attrName>style.visibility</p:attrName>
                                        </p:attrNameLst>
                                      </p:cBhvr>
                                      <p:to>
                                        <p:strVal val="visible"/>
                                      </p:to>
                                    </p:set>
                                    <p:animEffect transition="in" filter="wipe(left)">
                                      <p:cBhvr>
                                        <p:cTn id="69" dur="500"/>
                                        <p:tgtEl>
                                          <p:spTgt spid="3">
                                            <p:txEl>
                                              <p:pRg st="5" end="5"/>
                                            </p:txEl>
                                          </p:spTgt>
                                        </p:tgtEl>
                                      </p:cBhvr>
                                    </p:animEffect>
                                  </p:childTnLst>
                                </p:cTn>
                              </p:par>
                            </p:childTnLst>
                          </p:cTn>
                        </p:par>
                      </p:childTnLst>
                    </p:cTn>
                  </p:par>
                  <p:par>
                    <p:cTn id="70" fill="hold">
                      <p:stCondLst>
                        <p:cond delay="indefinite"/>
                      </p:stCondLst>
                      <p:childTnLst>
                        <p:par>
                          <p:cTn id="71" fill="hold">
                            <p:stCondLst>
                              <p:cond delay="0"/>
                            </p:stCondLst>
                            <p:childTnLst>
                              <p:par>
                                <p:cTn id="72" presetID="22" presetClass="entr" presetSubtype="8" fill="hold" nodeType="clickEffect">
                                  <p:stCondLst>
                                    <p:cond delay="0"/>
                                  </p:stCondLst>
                                  <p:childTnLst>
                                    <p:set>
                                      <p:cBhvr>
                                        <p:cTn id="73" dur="1" fill="hold">
                                          <p:stCondLst>
                                            <p:cond delay="0"/>
                                          </p:stCondLst>
                                        </p:cTn>
                                        <p:tgtEl>
                                          <p:spTgt spid="3">
                                            <p:txEl>
                                              <p:pRg st="6" end="6"/>
                                            </p:txEl>
                                          </p:spTgt>
                                        </p:tgtEl>
                                        <p:attrNameLst>
                                          <p:attrName>style.visibility</p:attrName>
                                        </p:attrNameLst>
                                      </p:cBhvr>
                                      <p:to>
                                        <p:strVal val="visible"/>
                                      </p:to>
                                    </p:set>
                                    <p:animEffect transition="in" filter="wipe(left)">
                                      <p:cBhvr>
                                        <p:cTn id="74" dur="500"/>
                                        <p:tgtEl>
                                          <p:spTgt spid="3">
                                            <p:txEl>
                                              <p:pRg st="6" end="6"/>
                                            </p:txEl>
                                          </p:spTgt>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8" fill="hold" nodeType="clickEffect">
                                  <p:stCondLst>
                                    <p:cond delay="0"/>
                                  </p:stCondLst>
                                  <p:childTnLst>
                                    <p:set>
                                      <p:cBhvr>
                                        <p:cTn id="78" dur="1" fill="hold">
                                          <p:stCondLst>
                                            <p:cond delay="0"/>
                                          </p:stCondLst>
                                        </p:cTn>
                                        <p:tgtEl>
                                          <p:spTgt spid="3">
                                            <p:txEl>
                                              <p:pRg st="7" end="7"/>
                                            </p:txEl>
                                          </p:spTgt>
                                        </p:tgtEl>
                                        <p:attrNameLst>
                                          <p:attrName>style.visibility</p:attrName>
                                        </p:attrNameLst>
                                      </p:cBhvr>
                                      <p:to>
                                        <p:strVal val="visible"/>
                                      </p:to>
                                    </p:set>
                                    <p:animEffect transition="in" filter="wipe(left)">
                                      <p:cBhvr>
                                        <p:cTn id="79"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3" name="Lớp Chúng Ta Đoàn Kết - Nhạc Thiếu Nhi Có Lời">
            <a:hlinkClick r:id="" action="ppaction://media"/>
            <a:extLst>
              <a:ext uri="{FF2B5EF4-FFF2-40B4-BE49-F238E27FC236}">
                <a16:creationId xmlns:a16="http://schemas.microsoft.com/office/drawing/2014/main" id="{E30BB0EC-D3F1-B092-65CE-625359BBC613}"/>
              </a:ext>
            </a:extLst>
          </p:cNvPr>
          <p:cNvPicPr>
            <a:picLocks noChangeAspect="1"/>
          </p:cNvPicPr>
          <p:nvPr>
            <a:videoFile r:link="rId1"/>
            <p:extLst>
              <p:ext uri="{DAA4B4D4-6D71-4841-9C94-3DE7FCFB9230}">
                <p14:media xmlns:p14="http://schemas.microsoft.com/office/powerpoint/2010/main" r:embed="rId2">
                  <p14:trim st="22407" end="15875.8111"/>
                  <p14:fade in="250" out="250"/>
                </p14:media>
              </p:ext>
            </p:extLst>
          </p:nvPr>
        </p:nvPicPr>
        <p:blipFill>
          <a:blip r:embed="rId4"/>
          <a:stretch>
            <a:fillRect/>
          </a:stretch>
        </p:blipFill>
        <p:spPr>
          <a:xfrm>
            <a:off x="314129" y="263590"/>
            <a:ext cx="11254791" cy="6330820"/>
          </a:xfrm>
          <a:prstGeom prst="rect">
            <a:avLst/>
          </a:prstGeom>
        </p:spPr>
      </p:pic>
    </p:spTree>
    <p:extLst>
      <p:ext uri="{BB962C8B-B14F-4D97-AF65-F5344CB8AC3E}">
        <p14:creationId xmlns:p14="http://schemas.microsoft.com/office/powerpoint/2010/main" val="307260283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808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4D3D850-2041-4B7C-AED9-54DA385B14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2" name="Picture 1" descr="Không có mô tả ảnh.">
            <a:extLst>
              <a:ext uri="{FF2B5EF4-FFF2-40B4-BE49-F238E27FC236}">
                <a16:creationId xmlns:a16="http://schemas.microsoft.com/office/drawing/2014/main" id="{E28FFBFD-11A1-1A9F-0152-B3C55E95C6D6}"/>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ackgroundRemoval t="4415" b="95791" l="9926" r="89578">
                        <a14:foregroundMark x1="41439" y1="7803" x2="57568" y2="15400"/>
                        <a14:foregroundMark x1="48139" y1="4620" x2="59926" y2="15606"/>
                        <a14:foregroundMark x1="30397" y1="26489" x2="54218" y2="42608"/>
                        <a14:foregroundMark x1="57568" y1="22690" x2="70223" y2="37680"/>
                        <a14:foregroundMark x1="55211" y1="26078" x2="67122" y2="33470"/>
                        <a14:foregroundMark x1="29529" y1="30903" x2="43921" y2="36242"/>
                        <a14:foregroundMark x1="36476" y1="29671" x2="41687" y2="29261"/>
                        <a14:foregroundMark x1="36725" y1="24743" x2="42432" y2="29466"/>
                        <a14:foregroundMark x1="48015" y1="89630" x2="46774" y2="94456"/>
                        <a14:foregroundMark x1="62779" y1="89014" x2="65261" y2="94251"/>
                        <a14:foregroundMark x1="58313" y1="92197" x2="63275" y2="95791"/>
                        <a14:foregroundMark x1="33375" y1="28645" x2="32878" y2="39220"/>
                        <a14:foregroundMark x1="59057" y1="28337" x2="67370" y2="30903"/>
                        <a14:foregroundMark x1="62779" y1="24743" x2="66005" y2="34805"/>
                      </a14:backgroundRemoval>
                    </a14:imgEffect>
                  </a14:imgLayer>
                </a14:imgProps>
              </a:ext>
              <a:ext uri="{28A0092B-C50C-407E-A947-70E740481C1C}">
                <a14:useLocalDpi xmlns:a14="http://schemas.microsoft.com/office/drawing/2010/main" val="0"/>
              </a:ext>
            </a:extLst>
          </a:blip>
          <a:srcRect t="540" r="1" b="6366"/>
          <a:stretch/>
        </p:blipFill>
        <p:spPr bwMode="auto">
          <a:xfrm>
            <a:off x="20" y="10"/>
            <a:ext cx="6095980" cy="685799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FDE2BFB-DE37-378C-F7DE-6294FB7B1CA7}"/>
              </a:ext>
            </a:extLst>
          </p:cNvPr>
          <p:cNvPicPr>
            <a:picLocks noChangeAspect="1"/>
          </p:cNvPicPr>
          <p:nvPr/>
        </p:nvPicPr>
        <p:blipFill rotWithShape="1">
          <a:blip r:embed="rId4"/>
          <a:srcRect l="5787" r="1620"/>
          <a:stretch/>
        </p:blipFill>
        <p:spPr>
          <a:xfrm rot="21600000">
            <a:off x="6096000" y="10"/>
            <a:ext cx="6096000" cy="6857990"/>
          </a:xfrm>
          <a:prstGeom prst="rect">
            <a:avLst/>
          </a:prstGeom>
        </p:spPr>
      </p:pic>
      <p:sp>
        <p:nvSpPr>
          <p:cNvPr id="11" name="Rectangle 10">
            <a:extLst>
              <a:ext uri="{FF2B5EF4-FFF2-40B4-BE49-F238E27FC236}">
                <a16:creationId xmlns:a16="http://schemas.microsoft.com/office/drawing/2014/main" id="{B497CCB5-5FC2-473C-AFCC-2430CEF1DF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4409915" y="1742916"/>
            <a:ext cx="3372170" cy="337216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57CD5066-0009-FF86-6703-19831B415C9A}"/>
              </a:ext>
            </a:extLst>
          </p:cNvPr>
          <p:cNvSpPr txBox="1"/>
          <p:nvPr/>
        </p:nvSpPr>
        <p:spPr>
          <a:xfrm>
            <a:off x="4286859" y="3129199"/>
            <a:ext cx="3618284" cy="1345720"/>
          </a:xfrm>
          <a:prstGeom prst="rect">
            <a:avLst/>
          </a:prstGeom>
          <a:noFill/>
        </p:spPr>
        <p:txBody>
          <a:bodyPr vert="horz" lIns="91440" tIns="45720" rIns="91440" bIns="45720" rtlCol="0" anchor="ctr">
            <a:no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7200" b="0" i="0" u="none" strike="noStrike" kern="1200" cap="none" spc="0" normalizeH="0" baseline="0" noProof="0" dirty="0" err="1">
                <a:ln>
                  <a:noFill/>
                </a:ln>
                <a:solidFill>
                  <a:srgbClr val="FF0000"/>
                </a:solidFill>
                <a:effectLst/>
                <a:uLnTx/>
                <a:uFillTx/>
                <a:latin typeface="Sigmar One" panose="00000500000000000000" pitchFamily="2" charset="0"/>
                <a:ea typeface="+mn-ea"/>
                <a:cs typeface="+mn-cs"/>
              </a:rPr>
              <a:t>Vận</a:t>
            </a:r>
            <a:r>
              <a:rPr kumimoji="0" lang="en-US" sz="7200" b="0" i="0" u="none" strike="noStrike" kern="1200" cap="none" spc="0" normalizeH="0" baseline="0" noProof="0" dirty="0">
                <a:ln>
                  <a:noFill/>
                </a:ln>
                <a:solidFill>
                  <a:srgbClr val="FF0000"/>
                </a:solidFill>
                <a:effectLst/>
                <a:uLnTx/>
                <a:uFillTx/>
                <a:latin typeface="Sigmar One" panose="00000500000000000000" pitchFamily="2" charset="0"/>
                <a:ea typeface="+mn-ea"/>
                <a:cs typeface="+mn-cs"/>
              </a:rPr>
              <a:t> </a:t>
            </a:r>
            <a:r>
              <a:rPr kumimoji="0" lang="en-US" sz="7200" b="0" i="0" u="none" strike="noStrike" kern="1200" cap="none" spc="0" normalizeH="0" baseline="0" noProof="0" dirty="0" err="1">
                <a:ln>
                  <a:noFill/>
                </a:ln>
                <a:solidFill>
                  <a:srgbClr val="FF0000"/>
                </a:solidFill>
                <a:effectLst/>
                <a:uLnTx/>
                <a:uFillTx/>
                <a:latin typeface="Sigmar One" panose="00000500000000000000" pitchFamily="2" charset="0"/>
                <a:ea typeface="+mn-ea"/>
                <a:cs typeface="+mn-cs"/>
              </a:rPr>
              <a:t>dụng</a:t>
            </a:r>
            <a:endParaRPr kumimoji="0" lang="en-US" sz="7200" b="0" i="0" u="none" strike="noStrike" kern="1200" cap="none" spc="0" normalizeH="0" baseline="0" noProof="0" dirty="0">
              <a:ln>
                <a:noFill/>
              </a:ln>
              <a:solidFill>
                <a:srgbClr val="FF0000"/>
              </a:solidFill>
              <a:effectLst/>
              <a:uLnTx/>
              <a:uFillTx/>
              <a:latin typeface="Sigmar One" panose="00000500000000000000" pitchFamily="2" charset="0"/>
              <a:ea typeface="+mn-ea"/>
              <a:cs typeface="+mn-cs"/>
            </a:endParaRPr>
          </a:p>
          <a:p>
            <a:pPr marL="0" marR="0" lvl="0" indent="0" algn="ctr" defTabSz="914400" rtl="0" eaLnBrk="1" fontAlgn="auto" latinLnBrk="0" hangingPunct="1">
              <a:lnSpc>
                <a:spcPct val="90000"/>
              </a:lnSpc>
              <a:spcBef>
                <a:spcPct val="0"/>
              </a:spcBef>
              <a:spcAft>
                <a:spcPts val="600"/>
              </a:spcAft>
              <a:buClrTx/>
              <a:buSzTx/>
              <a:buFontTx/>
              <a:buNone/>
              <a:tabLst/>
              <a:defRPr/>
            </a:pPr>
            <a:endParaRPr kumimoji="0" lang="en-US" sz="7200" b="0" i="0" u="none" strike="noStrike" kern="1200" cap="none" spc="0" normalizeH="0" baseline="0" noProof="0" dirty="0">
              <a:ln>
                <a:noFill/>
              </a:ln>
              <a:solidFill>
                <a:srgbClr val="FF0000"/>
              </a:solidFill>
              <a:effectLst/>
              <a:uLnTx/>
              <a:uFillTx/>
              <a:latin typeface="Sigmar One" panose="00000500000000000000" pitchFamily="2" charset="0"/>
              <a:ea typeface="+mn-ea"/>
              <a:cs typeface="+mn-cs"/>
            </a:endParaRPr>
          </a:p>
        </p:txBody>
      </p:sp>
      <p:sp>
        <p:nvSpPr>
          <p:cNvPr id="13" name="Frame 12">
            <a:extLst>
              <a:ext uri="{FF2B5EF4-FFF2-40B4-BE49-F238E27FC236}">
                <a16:creationId xmlns:a16="http://schemas.microsoft.com/office/drawing/2014/main" id="{599C8C75-BFDF-44E7-A028-EEB5EDD588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3971277" y="1304278"/>
            <a:ext cx="4249446" cy="4249444"/>
          </a:xfrm>
          <a:prstGeom prst="frame">
            <a:avLst>
              <a:gd name="adj1" fmla="val 1195"/>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088289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D3C74929-CBF1-D0AB-ADF2-E031DC8198EB}"/>
              </a:ext>
            </a:extLst>
          </p:cNvPr>
          <p:cNvPicPr>
            <a:picLocks noChangeAspect="1"/>
          </p:cNvPicPr>
          <p:nvPr/>
        </p:nvPicPr>
        <p:blipFill>
          <a:blip r:embed="rId2"/>
          <a:stretch>
            <a:fillRect/>
          </a:stretch>
        </p:blipFill>
        <p:spPr>
          <a:xfrm>
            <a:off x="835793" y="456986"/>
            <a:ext cx="10519648" cy="5943600"/>
          </a:xfrm>
          <a:prstGeom prst="rect">
            <a:avLst/>
          </a:prstGeom>
        </p:spPr>
      </p:pic>
      <p:pic>
        <p:nvPicPr>
          <p:cNvPr id="4" name="Picture 3" descr="A cartoon character standing next to a toy block&#10;&#10;Description automatically generated">
            <a:extLst>
              <a:ext uri="{FF2B5EF4-FFF2-40B4-BE49-F238E27FC236}">
                <a16:creationId xmlns:a16="http://schemas.microsoft.com/office/drawing/2014/main" id="{4674B2F9-0548-A3C2-AE1A-15C06E6776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0905" y="1553789"/>
            <a:ext cx="4863492" cy="5714286"/>
          </a:xfrm>
          <a:prstGeom prst="rect">
            <a:avLst/>
          </a:prstGeom>
        </p:spPr>
      </p:pic>
      <p:sp>
        <p:nvSpPr>
          <p:cNvPr id="5" name="Speech Bubble: Rectangle with Corners Rounded 4">
            <a:extLst>
              <a:ext uri="{FF2B5EF4-FFF2-40B4-BE49-F238E27FC236}">
                <a16:creationId xmlns:a16="http://schemas.microsoft.com/office/drawing/2014/main" id="{AFE2439F-127C-0A48-9D88-28F230F148EF}"/>
              </a:ext>
            </a:extLst>
          </p:cNvPr>
          <p:cNvSpPr/>
          <p:nvPr/>
        </p:nvSpPr>
        <p:spPr>
          <a:xfrm>
            <a:off x="3345792" y="865105"/>
            <a:ext cx="5847719" cy="2196662"/>
          </a:xfrm>
          <a:custGeom>
            <a:avLst/>
            <a:gdLst>
              <a:gd name="connsiteX0" fmla="*/ 0 w 5847719"/>
              <a:gd name="connsiteY0" fmla="*/ 366118 h 2196662"/>
              <a:gd name="connsiteX1" fmla="*/ 366118 w 5847719"/>
              <a:gd name="connsiteY1" fmla="*/ 0 h 2196662"/>
              <a:gd name="connsiteX2" fmla="*/ 974620 w 5847719"/>
              <a:gd name="connsiteY2" fmla="*/ 0 h 2196662"/>
              <a:gd name="connsiteX3" fmla="*/ 974620 w 5847719"/>
              <a:gd name="connsiteY3" fmla="*/ 0 h 2196662"/>
              <a:gd name="connsiteX4" fmla="*/ 1461930 w 5847719"/>
              <a:gd name="connsiteY4" fmla="*/ 0 h 2196662"/>
              <a:gd name="connsiteX5" fmla="*/ 1934621 w 5847719"/>
              <a:gd name="connsiteY5" fmla="*/ 0 h 2196662"/>
              <a:gd name="connsiteX6" fmla="*/ 2436550 w 5847719"/>
              <a:gd name="connsiteY6" fmla="*/ 0 h 2196662"/>
              <a:gd name="connsiteX7" fmla="*/ 3015110 w 5847719"/>
              <a:gd name="connsiteY7" fmla="*/ 0 h 2196662"/>
              <a:gd name="connsiteX8" fmla="*/ 3654570 w 5847719"/>
              <a:gd name="connsiteY8" fmla="*/ 0 h 2196662"/>
              <a:gd name="connsiteX9" fmla="*/ 4202680 w 5847719"/>
              <a:gd name="connsiteY9" fmla="*/ 0 h 2196662"/>
              <a:gd name="connsiteX10" fmla="*/ 4842140 w 5847719"/>
              <a:gd name="connsiteY10" fmla="*/ 0 h 2196662"/>
              <a:gd name="connsiteX11" fmla="*/ 5481601 w 5847719"/>
              <a:gd name="connsiteY11" fmla="*/ 0 h 2196662"/>
              <a:gd name="connsiteX12" fmla="*/ 5847719 w 5847719"/>
              <a:gd name="connsiteY12" fmla="*/ 366118 h 2196662"/>
              <a:gd name="connsiteX13" fmla="*/ 5847719 w 5847719"/>
              <a:gd name="connsiteY13" fmla="*/ 832905 h 2196662"/>
              <a:gd name="connsiteX14" fmla="*/ 5847719 w 5847719"/>
              <a:gd name="connsiteY14" fmla="*/ 1281386 h 2196662"/>
              <a:gd name="connsiteX15" fmla="*/ 5847719 w 5847719"/>
              <a:gd name="connsiteY15" fmla="*/ 1281386 h 2196662"/>
              <a:gd name="connsiteX16" fmla="*/ 5847719 w 5847719"/>
              <a:gd name="connsiteY16" fmla="*/ 1830552 h 2196662"/>
              <a:gd name="connsiteX17" fmla="*/ 5847719 w 5847719"/>
              <a:gd name="connsiteY17" fmla="*/ 1830544 h 2196662"/>
              <a:gd name="connsiteX18" fmla="*/ 5481601 w 5847719"/>
              <a:gd name="connsiteY18" fmla="*/ 2196662 h 2196662"/>
              <a:gd name="connsiteX19" fmla="*/ 4933492 w 5847719"/>
              <a:gd name="connsiteY19" fmla="*/ 2196662 h 2196662"/>
              <a:gd name="connsiteX20" fmla="*/ 4415833 w 5847719"/>
              <a:gd name="connsiteY20" fmla="*/ 2196662 h 2196662"/>
              <a:gd name="connsiteX21" fmla="*/ 3745922 w 5847719"/>
              <a:gd name="connsiteY21" fmla="*/ 2196662 h 2196662"/>
              <a:gd name="connsiteX22" fmla="*/ 3076011 w 5847719"/>
              <a:gd name="connsiteY22" fmla="*/ 2196662 h 2196662"/>
              <a:gd name="connsiteX23" fmla="*/ 2436550 w 5847719"/>
              <a:gd name="connsiteY23" fmla="*/ 2196662 h 2196662"/>
              <a:gd name="connsiteX24" fmla="*/ 1805490 w 5847719"/>
              <a:gd name="connsiteY24" fmla="*/ 2298353 h 2196662"/>
              <a:gd name="connsiteX25" fmla="*/ 1136566 w 5847719"/>
              <a:gd name="connsiteY25" fmla="*/ 2406145 h 2196662"/>
              <a:gd name="connsiteX26" fmla="*/ 543370 w 5847719"/>
              <a:gd name="connsiteY26" fmla="*/ 2501734 h 2196662"/>
              <a:gd name="connsiteX27" fmla="*/ 974620 w 5847719"/>
              <a:gd name="connsiteY27" fmla="*/ 2196662 h 2196662"/>
              <a:gd name="connsiteX28" fmla="*/ 366118 w 5847719"/>
              <a:gd name="connsiteY28" fmla="*/ 2196662 h 2196662"/>
              <a:gd name="connsiteX29" fmla="*/ 0 w 5847719"/>
              <a:gd name="connsiteY29" fmla="*/ 1830544 h 2196662"/>
              <a:gd name="connsiteX30" fmla="*/ 0 w 5847719"/>
              <a:gd name="connsiteY30" fmla="*/ 1830552 h 2196662"/>
              <a:gd name="connsiteX31" fmla="*/ 0 w 5847719"/>
              <a:gd name="connsiteY31" fmla="*/ 1281386 h 2196662"/>
              <a:gd name="connsiteX32" fmla="*/ 0 w 5847719"/>
              <a:gd name="connsiteY32" fmla="*/ 1281386 h 2196662"/>
              <a:gd name="connsiteX33" fmla="*/ 0 w 5847719"/>
              <a:gd name="connsiteY33" fmla="*/ 832905 h 2196662"/>
              <a:gd name="connsiteX34" fmla="*/ 0 w 5847719"/>
              <a:gd name="connsiteY34" fmla="*/ 366118 h 219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847719" h="2196662" fill="none" extrusionOk="0">
                <a:moveTo>
                  <a:pt x="0" y="366118"/>
                </a:moveTo>
                <a:cubicBezTo>
                  <a:pt x="9968" y="162115"/>
                  <a:pt x="181157" y="-15171"/>
                  <a:pt x="366118" y="0"/>
                </a:cubicBezTo>
                <a:cubicBezTo>
                  <a:pt x="510254" y="14283"/>
                  <a:pt x="686499" y="-13429"/>
                  <a:pt x="974620" y="0"/>
                </a:cubicBezTo>
                <a:lnTo>
                  <a:pt x="974620" y="0"/>
                </a:lnTo>
                <a:cubicBezTo>
                  <a:pt x="1107012" y="-23395"/>
                  <a:pt x="1232165" y="-14731"/>
                  <a:pt x="1461930" y="0"/>
                </a:cubicBezTo>
                <a:cubicBezTo>
                  <a:pt x="1691695" y="14731"/>
                  <a:pt x="1796242" y="7997"/>
                  <a:pt x="1934621" y="0"/>
                </a:cubicBezTo>
                <a:cubicBezTo>
                  <a:pt x="2073000" y="-7997"/>
                  <a:pt x="2273928" y="14634"/>
                  <a:pt x="2436550" y="0"/>
                </a:cubicBezTo>
                <a:cubicBezTo>
                  <a:pt x="2580625" y="-28885"/>
                  <a:pt x="2832941" y="-3114"/>
                  <a:pt x="3015110" y="0"/>
                </a:cubicBezTo>
                <a:cubicBezTo>
                  <a:pt x="3197279" y="3114"/>
                  <a:pt x="3417169" y="7739"/>
                  <a:pt x="3654570" y="0"/>
                </a:cubicBezTo>
                <a:cubicBezTo>
                  <a:pt x="3891971" y="-7739"/>
                  <a:pt x="3977199" y="-27106"/>
                  <a:pt x="4202680" y="0"/>
                </a:cubicBezTo>
                <a:cubicBezTo>
                  <a:pt x="4428161" y="27106"/>
                  <a:pt x="4647491" y="19238"/>
                  <a:pt x="4842140" y="0"/>
                </a:cubicBezTo>
                <a:cubicBezTo>
                  <a:pt x="5036789" y="-19238"/>
                  <a:pt x="5280372" y="-2629"/>
                  <a:pt x="5481601" y="0"/>
                </a:cubicBezTo>
                <a:cubicBezTo>
                  <a:pt x="5663603" y="26049"/>
                  <a:pt x="5849855" y="176243"/>
                  <a:pt x="5847719" y="366118"/>
                </a:cubicBezTo>
                <a:cubicBezTo>
                  <a:pt x="5824394" y="476916"/>
                  <a:pt x="5863818" y="619810"/>
                  <a:pt x="5847719" y="832905"/>
                </a:cubicBezTo>
                <a:cubicBezTo>
                  <a:pt x="5831620" y="1046000"/>
                  <a:pt x="5856460" y="1176018"/>
                  <a:pt x="5847719" y="1281386"/>
                </a:cubicBezTo>
                <a:lnTo>
                  <a:pt x="5847719" y="1281386"/>
                </a:lnTo>
                <a:cubicBezTo>
                  <a:pt x="5870143" y="1452249"/>
                  <a:pt x="5833332" y="1650771"/>
                  <a:pt x="5847719" y="1830552"/>
                </a:cubicBezTo>
                <a:lnTo>
                  <a:pt x="5847719" y="1830544"/>
                </a:lnTo>
                <a:cubicBezTo>
                  <a:pt x="5831277" y="2078254"/>
                  <a:pt x="5682422" y="2202447"/>
                  <a:pt x="5481601" y="2196662"/>
                </a:cubicBezTo>
                <a:cubicBezTo>
                  <a:pt x="5294178" y="2199806"/>
                  <a:pt x="5190049" y="2204530"/>
                  <a:pt x="4933492" y="2196662"/>
                </a:cubicBezTo>
                <a:cubicBezTo>
                  <a:pt x="4676935" y="2188794"/>
                  <a:pt x="4648017" y="2187293"/>
                  <a:pt x="4415833" y="2196662"/>
                </a:cubicBezTo>
                <a:cubicBezTo>
                  <a:pt x="4183649" y="2206031"/>
                  <a:pt x="4032995" y="2191300"/>
                  <a:pt x="3745922" y="2196662"/>
                </a:cubicBezTo>
                <a:cubicBezTo>
                  <a:pt x="3458849" y="2202024"/>
                  <a:pt x="3255435" y="2206912"/>
                  <a:pt x="3076011" y="2196662"/>
                </a:cubicBezTo>
                <a:cubicBezTo>
                  <a:pt x="2896587" y="2186412"/>
                  <a:pt x="2566296" y="2172475"/>
                  <a:pt x="2436550" y="2196662"/>
                </a:cubicBezTo>
                <a:cubicBezTo>
                  <a:pt x="2283788" y="2192311"/>
                  <a:pt x="1939133" y="2245617"/>
                  <a:pt x="1805490" y="2298353"/>
                </a:cubicBezTo>
                <a:cubicBezTo>
                  <a:pt x="1671847" y="2351089"/>
                  <a:pt x="1443672" y="2339799"/>
                  <a:pt x="1136566" y="2406145"/>
                </a:cubicBezTo>
                <a:cubicBezTo>
                  <a:pt x="829460" y="2472491"/>
                  <a:pt x="701940" y="2477015"/>
                  <a:pt x="543370" y="2501734"/>
                </a:cubicBezTo>
                <a:cubicBezTo>
                  <a:pt x="753695" y="2344345"/>
                  <a:pt x="805821" y="2339106"/>
                  <a:pt x="974620" y="2196662"/>
                </a:cubicBezTo>
                <a:cubicBezTo>
                  <a:pt x="825503" y="2167905"/>
                  <a:pt x="508407" y="2217331"/>
                  <a:pt x="366118" y="2196662"/>
                </a:cubicBezTo>
                <a:cubicBezTo>
                  <a:pt x="200545" y="2204687"/>
                  <a:pt x="11709" y="2047355"/>
                  <a:pt x="0" y="1830544"/>
                </a:cubicBezTo>
                <a:lnTo>
                  <a:pt x="0" y="1830552"/>
                </a:lnTo>
                <a:cubicBezTo>
                  <a:pt x="-25506" y="1689003"/>
                  <a:pt x="15613" y="1546694"/>
                  <a:pt x="0" y="1281386"/>
                </a:cubicBezTo>
                <a:lnTo>
                  <a:pt x="0" y="1281386"/>
                </a:lnTo>
                <a:cubicBezTo>
                  <a:pt x="17203" y="1151362"/>
                  <a:pt x="8540" y="1017525"/>
                  <a:pt x="0" y="832905"/>
                </a:cubicBezTo>
                <a:cubicBezTo>
                  <a:pt x="-8540" y="648285"/>
                  <a:pt x="-14545" y="567225"/>
                  <a:pt x="0" y="366118"/>
                </a:cubicBezTo>
                <a:close/>
              </a:path>
              <a:path w="5847719" h="2196662" stroke="0" extrusionOk="0">
                <a:moveTo>
                  <a:pt x="0" y="366118"/>
                </a:moveTo>
                <a:cubicBezTo>
                  <a:pt x="6517" y="195776"/>
                  <a:pt x="170610" y="-9251"/>
                  <a:pt x="366118" y="0"/>
                </a:cubicBezTo>
                <a:cubicBezTo>
                  <a:pt x="558267" y="5997"/>
                  <a:pt x="684853" y="-22166"/>
                  <a:pt x="974620" y="0"/>
                </a:cubicBezTo>
                <a:lnTo>
                  <a:pt x="974620" y="0"/>
                </a:lnTo>
                <a:cubicBezTo>
                  <a:pt x="1110559" y="21558"/>
                  <a:pt x="1253217" y="-11544"/>
                  <a:pt x="1418072" y="0"/>
                </a:cubicBezTo>
                <a:cubicBezTo>
                  <a:pt x="1582927" y="11544"/>
                  <a:pt x="1706396" y="-11281"/>
                  <a:pt x="1876144" y="0"/>
                </a:cubicBezTo>
                <a:cubicBezTo>
                  <a:pt x="2045892" y="11281"/>
                  <a:pt x="2274256" y="-14479"/>
                  <a:pt x="2436550" y="0"/>
                </a:cubicBezTo>
                <a:cubicBezTo>
                  <a:pt x="2657138" y="5216"/>
                  <a:pt x="2845177" y="22457"/>
                  <a:pt x="3045560" y="0"/>
                </a:cubicBezTo>
                <a:cubicBezTo>
                  <a:pt x="3245943" y="-22457"/>
                  <a:pt x="3535074" y="-21680"/>
                  <a:pt x="3715471" y="0"/>
                </a:cubicBezTo>
                <a:cubicBezTo>
                  <a:pt x="3895868" y="21680"/>
                  <a:pt x="4050921" y="-26555"/>
                  <a:pt x="4354932" y="0"/>
                </a:cubicBezTo>
                <a:cubicBezTo>
                  <a:pt x="4658943" y="26555"/>
                  <a:pt x="5191840" y="6432"/>
                  <a:pt x="5481601" y="0"/>
                </a:cubicBezTo>
                <a:cubicBezTo>
                  <a:pt x="5676121" y="8571"/>
                  <a:pt x="5833742" y="184234"/>
                  <a:pt x="5847719" y="366118"/>
                </a:cubicBezTo>
                <a:cubicBezTo>
                  <a:pt x="5857152" y="526160"/>
                  <a:pt x="5837330" y="712511"/>
                  <a:pt x="5847719" y="823752"/>
                </a:cubicBezTo>
                <a:cubicBezTo>
                  <a:pt x="5858108" y="934993"/>
                  <a:pt x="5834296" y="1124592"/>
                  <a:pt x="5847719" y="1281386"/>
                </a:cubicBezTo>
                <a:lnTo>
                  <a:pt x="5847719" y="1281386"/>
                </a:lnTo>
                <a:cubicBezTo>
                  <a:pt x="5841126" y="1490015"/>
                  <a:pt x="5827486" y="1592691"/>
                  <a:pt x="5847719" y="1830552"/>
                </a:cubicBezTo>
                <a:lnTo>
                  <a:pt x="5847719" y="1830544"/>
                </a:lnTo>
                <a:cubicBezTo>
                  <a:pt x="5845906" y="2043516"/>
                  <a:pt x="5663878" y="2169321"/>
                  <a:pt x="5481601" y="2196662"/>
                </a:cubicBezTo>
                <a:cubicBezTo>
                  <a:pt x="5255736" y="2174708"/>
                  <a:pt x="5080801" y="2205396"/>
                  <a:pt x="4963942" y="2196662"/>
                </a:cubicBezTo>
                <a:cubicBezTo>
                  <a:pt x="4847083" y="2187928"/>
                  <a:pt x="4538585" y="2191886"/>
                  <a:pt x="4324482" y="2196662"/>
                </a:cubicBezTo>
                <a:cubicBezTo>
                  <a:pt x="4110379" y="2201438"/>
                  <a:pt x="3886964" y="2189304"/>
                  <a:pt x="3654570" y="2196662"/>
                </a:cubicBezTo>
                <a:cubicBezTo>
                  <a:pt x="3422176" y="2204020"/>
                  <a:pt x="3235158" y="2180031"/>
                  <a:pt x="3076011" y="2196662"/>
                </a:cubicBezTo>
                <a:cubicBezTo>
                  <a:pt x="2916864" y="2213293"/>
                  <a:pt x="2691508" y="2225526"/>
                  <a:pt x="2436550" y="2196662"/>
                </a:cubicBezTo>
                <a:cubicBezTo>
                  <a:pt x="2192771" y="2210247"/>
                  <a:pt x="2096046" y="2226301"/>
                  <a:pt x="1862285" y="2289201"/>
                </a:cubicBezTo>
                <a:cubicBezTo>
                  <a:pt x="1628524" y="2352101"/>
                  <a:pt x="1514361" y="2341906"/>
                  <a:pt x="1288021" y="2381739"/>
                </a:cubicBezTo>
                <a:cubicBezTo>
                  <a:pt x="1061681" y="2421572"/>
                  <a:pt x="785008" y="2473470"/>
                  <a:pt x="543370" y="2501734"/>
                </a:cubicBezTo>
                <a:cubicBezTo>
                  <a:pt x="706983" y="2362725"/>
                  <a:pt x="894300" y="2280153"/>
                  <a:pt x="974620" y="2196662"/>
                </a:cubicBezTo>
                <a:cubicBezTo>
                  <a:pt x="756397" y="2212246"/>
                  <a:pt x="559578" y="2183983"/>
                  <a:pt x="366118" y="2196662"/>
                </a:cubicBezTo>
                <a:cubicBezTo>
                  <a:pt x="133540" y="2186940"/>
                  <a:pt x="13641" y="2048004"/>
                  <a:pt x="0" y="1830544"/>
                </a:cubicBezTo>
                <a:lnTo>
                  <a:pt x="0" y="1830552"/>
                </a:lnTo>
                <a:cubicBezTo>
                  <a:pt x="-11377" y="1615218"/>
                  <a:pt x="15991" y="1478310"/>
                  <a:pt x="0" y="1281386"/>
                </a:cubicBezTo>
                <a:lnTo>
                  <a:pt x="0" y="1281386"/>
                </a:lnTo>
                <a:cubicBezTo>
                  <a:pt x="10325" y="1092784"/>
                  <a:pt x="-9527" y="946689"/>
                  <a:pt x="0" y="814599"/>
                </a:cubicBezTo>
                <a:cubicBezTo>
                  <a:pt x="9527" y="682509"/>
                  <a:pt x="-14675" y="580637"/>
                  <a:pt x="0" y="366118"/>
                </a:cubicBezTo>
                <a:close/>
              </a:path>
            </a:pathLst>
          </a:custGeom>
          <a:ln w="38100">
            <a:solidFill>
              <a:srgbClr val="E70D4B"/>
            </a:solidFill>
            <a:extLst>
              <a:ext uri="{C807C97D-BFC1-408E-A445-0C87EB9F89A2}">
                <ask:lineSketchStyleProps xmlns:ask="http://schemas.microsoft.com/office/drawing/2018/sketchyshapes" sd="1152152427">
                  <a:prstGeom prst="wedgeRoundRectCallout">
                    <a:avLst>
                      <a:gd name="adj1" fmla="val -40708"/>
                      <a:gd name="adj2" fmla="val 63888"/>
                      <a:gd name="adj3" fmla="val 16667"/>
                    </a:avLst>
                  </a:prstGeom>
                  <ask:type>
                    <ask:lineSketchFreehand/>
                  </ask:type>
                </ask:lineSketchStyleProps>
              </a:ext>
            </a:extLst>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3600" b="1" kern="0">
                <a:solidFill>
                  <a:srgbClr val="FF0000"/>
                </a:solidFill>
                <a:effectLst/>
                <a:latin typeface="Tahoma" panose="020B0604030504040204" pitchFamily="34" charset="0"/>
                <a:ea typeface="Tahoma" panose="020B0604030504040204" pitchFamily="34" charset="0"/>
                <a:cs typeface="Tahoma" panose="020B0604030504040204" pitchFamily="34" charset="0"/>
              </a:rPr>
              <a:t>Thực hiện phép cộng, phép trừ số thập phân cần chú ý gì?</a:t>
            </a:r>
            <a:endParaRPr lang="en-US" sz="3600" b="1">
              <a:solidFill>
                <a:srgbClr val="FF0000"/>
              </a:solidFill>
              <a:effectLst>
                <a:reflection blurRad="6350" stA="55000" endA="300" endPos="45500" dir="5400000" sy="-100000" algn="bl" rotWithShape="0"/>
              </a:effectLst>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015923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7" name="Rectangle 5126">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4D58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129" name="Rectangle 5128">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026" name="Picture 2" descr="Hình ảnh Biểu Tượng Cờ Cổ PNG Miễn Phí Tải Về - Lovepik">
            <a:extLst>
              <a:ext uri="{FF2B5EF4-FFF2-40B4-BE49-F238E27FC236}">
                <a16:creationId xmlns:a16="http://schemas.microsoft.com/office/drawing/2014/main" id="{1406FCE5-47DE-C0E4-816C-545B4916B857}"/>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1750" l="8500" r="92000">
                        <a14:foregroundMark x1="10583" y1="12750" x2="12417" y2="23583"/>
                        <a14:foregroundMark x1="8583" y1="24083" x2="12833" y2="30083"/>
                        <a14:foregroundMark x1="24000" y1="81833" x2="26333" y2="91583"/>
                        <a14:foregroundMark x1="26333" y1="91583" x2="26750" y2="91833"/>
                        <a14:foregroundMark x1="90083" y1="37250" x2="92000" y2="37833"/>
                      </a14:backgroundRemoval>
                    </a14:imgEffect>
                  </a14:imgLayer>
                </a14:imgProps>
              </a:ext>
              <a:ext uri="{28A0092B-C50C-407E-A947-70E740481C1C}">
                <a14:useLocalDpi xmlns:a14="http://schemas.microsoft.com/office/drawing/2010/main" val="0"/>
              </a:ext>
            </a:extLst>
          </a:blip>
          <a:srcRect/>
          <a:stretch>
            <a:fillRect/>
          </a:stretch>
        </p:blipFill>
        <p:spPr bwMode="auto">
          <a:xfrm>
            <a:off x="9272393" y="1122263"/>
            <a:ext cx="1898736" cy="239248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58F8B7A4-1C8F-5946-6655-522263223583}"/>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3600" b="90000" l="10000" r="92400">
                        <a14:foregroundMark x1="51259" y1="27081" x2="82400" y2="59600"/>
                        <a14:foregroundMark x1="36183" y1="27373" x2="36800" y2="31200"/>
                        <a14:foregroundMark x1="36800" y1="31200" x2="34000" y2="28000"/>
                        <a14:foregroundMark x1="28516" y1="24776" x2="29600" y2="32000"/>
                        <a14:foregroundMark x1="29600" y1="32000" x2="26400" y2="31200"/>
                        <a14:foregroundMark x1="23600" y1="26800" x2="26800" y2="51600"/>
                        <a14:foregroundMark x1="26800" y1="51600" x2="22800" y2="44800"/>
                        <a14:foregroundMark x1="21200" y1="45200" x2="25600" y2="58400"/>
                        <a14:foregroundMark x1="25600" y1="58400" x2="19600" y2="70400"/>
                        <a14:foregroundMark x1="19600" y1="70400" x2="14400" y2="59600"/>
                        <a14:foregroundMark x1="14400" y1="59600" x2="12400" y2="37200"/>
                        <a14:foregroundMark x1="14400" y1="34400" x2="34666" y2="26859"/>
                        <a14:foregroundMark x1="60374" y1="28620" x2="73200" y2="36400"/>
                        <a14:foregroundMark x1="53390" y1="24384" x2="57527" y2="26894"/>
                        <a14:foregroundMark x1="73200" y1="36400" x2="81600" y2="64000"/>
                        <a14:foregroundMark x1="81600" y1="64000" x2="57600" y2="76400"/>
                        <a14:foregroundMark x1="57600" y1="76400" x2="38400" y2="74800"/>
                        <a14:foregroundMark x1="38400" y1="74800" x2="37200" y2="74000"/>
                        <a14:foregroundMark x1="64956" y1="24116" x2="84000" y2="46800"/>
                        <a14:foregroundMark x1="84000" y1="46800" x2="84000" y2="56800"/>
                        <a14:foregroundMark x1="65485" y1="23596" x2="82800" y2="42800"/>
                        <a14:foregroundMark x1="82800" y1="42800" x2="81200" y2="49600"/>
                        <a14:foregroundMark x1="71187" y1="17992" x2="79200" y2="22800"/>
                        <a14:foregroundMark x1="79200" y1="22800" x2="86800" y2="35200"/>
                        <a14:foregroundMark x1="86800" y1="35200" x2="86400" y2="38400"/>
                        <a14:foregroundMark x1="24000" y1="70000" x2="37600" y2="79200"/>
                        <a14:foregroundMark x1="37600" y1="79200" x2="68000" y2="86000"/>
                        <a14:foregroundMark x1="68000" y1="86000" x2="78000" y2="74800"/>
                        <a14:foregroundMark x1="78000" y1="74800" x2="84000" y2="41600"/>
                        <a14:foregroundMark x1="52400" y1="44000" x2="55600" y2="60800"/>
                        <a14:foregroundMark x1="55600" y1="60800" x2="52400" y2="63600"/>
                        <a14:foregroundMark x1="43200" y1="42000" x2="48400" y2="66000"/>
                        <a14:foregroundMark x1="48400" y1="66000" x2="46400" y2="78000"/>
                        <a14:foregroundMark x1="33600" y1="75200" x2="28800" y2="72800"/>
                        <a14:foregroundMark x1="19200" y1="64800" x2="27200" y2="75600"/>
                        <a14:foregroundMark x1="27200" y1="75600" x2="28000" y2="78400"/>
                        <a14:foregroundMark x1="14400" y1="66000" x2="25600" y2="79200"/>
                        <a14:foregroundMark x1="25600" y1="79200" x2="32400" y2="81200"/>
                        <a14:foregroundMark x1="15200" y1="3600" x2="29626" y2="5080"/>
                        <a14:foregroundMark x1="25600" y1="7600" x2="27354" y2="7906"/>
                        <a14:foregroundMark x1="12400" y1="9600" x2="25725" y2="9933"/>
                        <a14:foregroundMark x1="18000" y1="10800" x2="25149" y2="10649"/>
                        <a14:foregroundMark x1="76327" y1="12941" x2="92400" y2="13600"/>
                        <a14:foregroundMark x1="14400" y1="10400" x2="25000" y2="10835"/>
                        <a14:backgroundMark x1="27600" y1="7600" x2="52400" y2="16000"/>
                        <a14:backgroundMark x1="38800" y1="6800" x2="61600" y2="14000"/>
                        <a14:backgroundMark x1="62800" y1="10400" x2="72400" y2="16800"/>
                      </a14:backgroundRemoval>
                    </a14:imgEffect>
                  </a14:imgLayer>
                </a14:imgProps>
              </a:ext>
            </a:extLst>
          </a:blip>
          <a:stretch>
            <a:fillRect/>
          </a:stretch>
        </p:blipFill>
        <p:spPr>
          <a:xfrm>
            <a:off x="7470190" y="2279196"/>
            <a:ext cx="4578804" cy="4578804"/>
          </a:xfrm>
          <a:prstGeom prst="rect">
            <a:avLst/>
          </a:prstGeom>
        </p:spPr>
      </p:pic>
      <p:pic>
        <p:nvPicPr>
          <p:cNvPr id="2" name="Picture 1" descr="Không có mô tả ảnh.">
            <a:extLst>
              <a:ext uri="{FF2B5EF4-FFF2-40B4-BE49-F238E27FC236}">
                <a16:creationId xmlns:a16="http://schemas.microsoft.com/office/drawing/2014/main" id="{F5BB7E13-839C-B692-C3CB-11E6531DD443}"/>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4415" b="95791" l="9926" r="89578">
                        <a14:foregroundMark x1="41439" y1="7803" x2="57568" y2="15400"/>
                        <a14:foregroundMark x1="48139" y1="4620" x2="59926" y2="15606"/>
                        <a14:foregroundMark x1="30397" y1="26489" x2="54218" y2="42608"/>
                        <a14:foregroundMark x1="57568" y1="22690" x2="70223" y2="37680"/>
                        <a14:foregroundMark x1="55211" y1="26078" x2="67122" y2="33470"/>
                        <a14:foregroundMark x1="29529" y1="30903" x2="43921" y2="36242"/>
                        <a14:foregroundMark x1="36476" y1="29671" x2="41687" y2="29261"/>
                        <a14:foregroundMark x1="36725" y1="24743" x2="42432" y2="29466"/>
                        <a14:foregroundMark x1="48015" y1="89630" x2="46774" y2="94456"/>
                        <a14:foregroundMark x1="62779" y1="89014" x2="65261" y2="94251"/>
                        <a14:foregroundMark x1="58313" y1="92197" x2="63275" y2="95791"/>
                        <a14:foregroundMark x1="33375" y1="28645" x2="32878" y2="39220"/>
                        <a14:foregroundMark x1="59057" y1="28337" x2="67370" y2="30903"/>
                        <a14:foregroundMark x1="62779" y1="24743" x2="66005" y2="34805"/>
                      </a14:backgroundRemoval>
                    </a14:imgEffect>
                  </a14:imgLayer>
                </a14:imgProps>
              </a:ext>
              <a:ext uri="{28A0092B-C50C-407E-A947-70E740481C1C}">
                <a14:useLocalDpi xmlns:a14="http://schemas.microsoft.com/office/drawing/2010/main" val="0"/>
              </a:ext>
            </a:extLst>
          </a:blip>
          <a:stretch>
            <a:fillRect/>
          </a:stretch>
        </p:blipFill>
        <p:spPr bwMode="auto">
          <a:xfrm>
            <a:off x="6322567" y="3431664"/>
            <a:ext cx="2528773" cy="3055920"/>
          </a:xfrm>
          <a:prstGeom prst="rect">
            <a:avLst/>
          </a:prstGeom>
          <a:noFill/>
          <a:extLst>
            <a:ext uri="{909E8E84-426E-40DD-AFC4-6F175D3DCCD1}">
              <a14:hiddenFill xmlns:a14="http://schemas.microsoft.com/office/drawing/2010/main">
                <a:solidFill>
                  <a:srgbClr val="FFFFFF"/>
                </a:solidFill>
              </a14:hiddenFill>
            </a:ext>
          </a:extLst>
        </p:spPr>
      </p:pic>
      <p:sp>
        <p:nvSpPr>
          <p:cNvPr id="10" name="Cloud 9">
            <a:extLst>
              <a:ext uri="{FF2B5EF4-FFF2-40B4-BE49-F238E27FC236}">
                <a16:creationId xmlns:a16="http://schemas.microsoft.com/office/drawing/2014/main" id="{59E3A88F-8C85-E5E2-493D-D5079F068171}"/>
              </a:ext>
            </a:extLst>
          </p:cNvPr>
          <p:cNvSpPr/>
          <p:nvPr/>
        </p:nvSpPr>
        <p:spPr>
          <a:xfrm>
            <a:off x="2032000" y="1244399"/>
            <a:ext cx="5680553" cy="2148213"/>
          </a:xfrm>
          <a:prstGeom prst="cloud">
            <a:avLst/>
          </a:prstGeo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Calibri"/>
                <a:ea typeface="+mn-ea"/>
                <a:cs typeface="+mn-cs"/>
              </a:rPr>
              <a:t>Cảm ơn các bạn rất nhiều!</a:t>
            </a:r>
          </a:p>
        </p:txBody>
      </p:sp>
      <p:pic>
        <p:nvPicPr>
          <p:cNvPr id="6148" name="Picture 4" descr="Dárek k nákupu zdarma">
            <a:extLst>
              <a:ext uri="{FF2B5EF4-FFF2-40B4-BE49-F238E27FC236}">
                <a16:creationId xmlns:a16="http://schemas.microsoft.com/office/drawing/2014/main" id="{1D85F19D-AA58-5DA8-BC0C-6E65C84C9A1B}"/>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20871" y="-425885"/>
            <a:ext cx="6858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1" name="Am-thanh-phep-thuat-www_nhacchuongvui_com">
            <a:hlinkClick r:id="" action="ppaction://media"/>
            <a:extLst>
              <a:ext uri="{FF2B5EF4-FFF2-40B4-BE49-F238E27FC236}">
                <a16:creationId xmlns:a16="http://schemas.microsoft.com/office/drawing/2014/main" id="{403F1C03-C8FB-F036-2716-EFD94ACD7D74}"/>
              </a:ext>
            </a:extLst>
          </p:cNvPr>
          <p:cNvPicPr>
            <a:picLocks noChangeAspect="1"/>
          </p:cNvPicPr>
          <p:nvPr>
            <a:audioFile r:link="rId2"/>
            <p:extLst>
              <p:ext uri="{DAA4B4D4-6D71-4841-9C94-3DE7FCFB9230}">
                <p14:media xmlns:p14="http://schemas.microsoft.com/office/powerpoint/2010/main" r:embed="rId1"/>
              </p:ext>
            </p:extLst>
          </p:nvPr>
        </p:nvPicPr>
        <p:blipFill>
          <a:blip r:embed="rId13"/>
          <a:stretch>
            <a:fillRect/>
          </a:stretch>
        </p:blipFill>
        <p:spPr>
          <a:xfrm>
            <a:off x="1286824" y="5630446"/>
            <a:ext cx="640291" cy="640291"/>
          </a:xfrm>
          <a:prstGeom prst="rect">
            <a:avLst/>
          </a:prstGeom>
        </p:spPr>
      </p:pic>
    </p:spTree>
    <p:extLst>
      <p:ext uri="{BB962C8B-B14F-4D97-AF65-F5344CB8AC3E}">
        <p14:creationId xmlns:p14="http://schemas.microsoft.com/office/powerpoint/2010/main" val="387825905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fade">
                                      <p:cBhvr>
                                        <p:cTn id="12" dur="1000"/>
                                        <p:tgtEl>
                                          <p:spTgt spid="1026"/>
                                        </p:tgtEl>
                                      </p:cBhvr>
                                    </p:animEffect>
                                    <p:anim calcmode="lin" valueType="num">
                                      <p:cBhvr>
                                        <p:cTn id="13" dur="1000" fill="hold"/>
                                        <p:tgtEl>
                                          <p:spTgt spid="1026"/>
                                        </p:tgtEl>
                                        <p:attrNameLst>
                                          <p:attrName>ppt_x</p:attrName>
                                        </p:attrNameLst>
                                      </p:cBhvr>
                                      <p:tavLst>
                                        <p:tav tm="0">
                                          <p:val>
                                            <p:strVal val="#ppt_x"/>
                                          </p:val>
                                        </p:tav>
                                        <p:tav tm="100000">
                                          <p:val>
                                            <p:strVal val="#ppt_x"/>
                                          </p:val>
                                        </p:tav>
                                      </p:tavLst>
                                    </p:anim>
                                    <p:anim calcmode="lin" valueType="num">
                                      <p:cBhvr>
                                        <p:cTn id="14" dur="10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5" presetClass="exit" presetSubtype="10" fill="hold" grpId="0" nodeType="clickEffect">
                                  <p:stCondLst>
                                    <p:cond delay="0"/>
                                  </p:stCondLst>
                                  <p:childTnLst>
                                    <p:animEffect transition="out" filter="checkerboard(across)">
                                      <p:cBhvr>
                                        <p:cTn id="18" dur="500"/>
                                        <p:tgtEl>
                                          <p:spTgt spid="10"/>
                                        </p:tgtEl>
                                      </p:cBhvr>
                                    </p:animEffect>
                                    <p:set>
                                      <p:cBhvr>
                                        <p:cTn id="19" dur="1" fill="hold">
                                          <p:stCondLst>
                                            <p:cond delay="499"/>
                                          </p:stCondLst>
                                        </p:cTn>
                                        <p:tgtEl>
                                          <p:spTgt spid="10"/>
                                        </p:tgtEl>
                                        <p:attrNameLst>
                                          <p:attrName>style.visibility</p:attrName>
                                        </p:attrNameLst>
                                      </p:cBhvr>
                                      <p:to>
                                        <p:strVal val="hidden"/>
                                      </p:to>
                                    </p:set>
                                  </p:childTnLst>
                                </p:cTn>
                              </p:par>
                              <p:par>
                                <p:cTn id="20" presetID="16" presetClass="entr" presetSubtype="21" fill="hold" nodeType="withEffect">
                                  <p:stCondLst>
                                    <p:cond delay="0"/>
                                  </p:stCondLst>
                                  <p:childTnLst>
                                    <p:set>
                                      <p:cBhvr>
                                        <p:cTn id="21" dur="1" fill="hold">
                                          <p:stCondLst>
                                            <p:cond delay="0"/>
                                          </p:stCondLst>
                                        </p:cTn>
                                        <p:tgtEl>
                                          <p:spTgt spid="6148"/>
                                        </p:tgtEl>
                                        <p:attrNameLst>
                                          <p:attrName>style.visibility</p:attrName>
                                        </p:attrNameLst>
                                      </p:cBhvr>
                                      <p:to>
                                        <p:strVal val="visible"/>
                                      </p:to>
                                    </p:set>
                                    <p:animEffect transition="in" filter="barn(inVertical)">
                                      <p:cBhvr>
                                        <p:cTn id="22" dur="500"/>
                                        <p:tgtEl>
                                          <p:spTgt spid="6148"/>
                                        </p:tgtEl>
                                      </p:cBhvr>
                                    </p:animEffect>
                                  </p:childTnLst>
                                </p:cTn>
                              </p:par>
                              <p:par>
                                <p:cTn id="23" presetID="1" presetClass="mediacall" presetSubtype="0" fill="hold" nodeType="withEffect">
                                  <p:stCondLst>
                                    <p:cond delay="0"/>
                                  </p:stCondLst>
                                  <p:childTnLst>
                                    <p:cmd type="call" cmd="playFrom(0.0)">
                                      <p:cBhvr>
                                        <p:cTn id="24" dur="5193"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25" fill="hold" display="0">
                  <p:stCondLst>
                    <p:cond delay="indefinite"/>
                  </p:stCondLst>
                  <p:endCondLst>
                    <p:cond evt="onStopAudio" delay="0">
                      <p:tgtEl>
                        <p:sldTgt/>
                      </p:tgtEl>
                    </p:cond>
                  </p:endCondLst>
                </p:cTn>
                <p:tgtEl>
                  <p:spTgt spid="11"/>
                </p:tgtEl>
              </p:cMediaNode>
            </p:audio>
          </p:childTnLst>
        </p:cTn>
      </p:par>
    </p:tnLst>
    <p:bldLst>
      <p:bldP spid="10"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4"/>
          <a:srcRect l="2000" t="7428" r="1999"/>
          <a:stretch>
            <a:fillRect/>
          </a:stretch>
        </p:blipFill>
        <p:spPr>
          <a:xfrm>
            <a:off x="0" y="0"/>
            <a:ext cx="12192000" cy="6858000"/>
          </a:xfrm>
          <a:prstGeom prst="rect">
            <a:avLst/>
          </a:prstGeom>
        </p:spPr>
      </p:pic>
      <p:pic>
        <p:nvPicPr>
          <p:cNvPr id="13" name="Nhac-chuyen-chuong-trinh-www_nhacchuongvui_com">
            <a:hlinkClick r:id="" action="ppaction://media"/>
            <a:extLst>
              <a:ext uri="{FF2B5EF4-FFF2-40B4-BE49-F238E27FC236}">
                <a16:creationId xmlns:a16="http://schemas.microsoft.com/office/drawing/2014/main" id="{FD697301-6500-E249-8286-D7822CA46D81}"/>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6014509" y="3347509"/>
            <a:ext cx="162983" cy="162983"/>
          </a:xfrm>
          <a:prstGeom prst="rect">
            <a:avLst/>
          </a:prstGeom>
        </p:spPr>
      </p:pic>
      <p:sp>
        <p:nvSpPr>
          <p:cNvPr id="14" name="AutoShape 2" descr="Vector là cờ đỏ sao vàng quốc kỳ Việt Nam">
            <a:extLst>
              <a:ext uri="{FF2B5EF4-FFF2-40B4-BE49-F238E27FC236}">
                <a16:creationId xmlns:a16="http://schemas.microsoft.com/office/drawing/2014/main" id="{F1C28623-0963-AA47-3151-5E1E1C6CFF0F}"/>
              </a:ext>
            </a:extLst>
          </p:cNvPr>
          <p:cNvSpPr>
            <a:spLocks noChangeAspect="1" noChangeArrowheads="1"/>
          </p:cNvSpPr>
          <p:nvPr/>
        </p:nvSpPr>
        <p:spPr bwMode="auto">
          <a:xfrm>
            <a:off x="6525284" y="3900412"/>
            <a:ext cx="203200" cy="203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5" name="AutoShape 4" descr="Vector là cờ đỏ sao vàng quốc kỳ Việt Nam">
            <a:extLst>
              <a:ext uri="{FF2B5EF4-FFF2-40B4-BE49-F238E27FC236}">
                <a16:creationId xmlns:a16="http://schemas.microsoft.com/office/drawing/2014/main" id="{31BC9CCF-8432-C9AA-77CE-30AEC888753A}"/>
              </a:ext>
            </a:extLst>
          </p:cNvPr>
          <p:cNvSpPr>
            <a:spLocks noChangeAspect="1" noChangeArrowheads="1"/>
          </p:cNvSpPr>
          <p:nvPr/>
        </p:nvSpPr>
        <p:spPr bwMode="auto">
          <a:xfrm>
            <a:off x="6096000" y="3429000"/>
            <a:ext cx="203200" cy="203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8" name="Picture 11">
            <a:extLst>
              <a:ext uri="{FF2B5EF4-FFF2-40B4-BE49-F238E27FC236}">
                <a16:creationId xmlns:a16="http://schemas.microsoft.com/office/drawing/2014/main" id="{7CE50A9D-8DF8-104E-3BBC-C3D1304B2E7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p:blipFill>
        <p:spPr>
          <a:xfrm>
            <a:off x="5370648" y="3146004"/>
            <a:ext cx="2968911" cy="2790775"/>
          </a:xfrm>
          <a:prstGeom prst="rect">
            <a:avLst/>
          </a:prstGeom>
        </p:spPr>
      </p:pic>
      <p:sp>
        <p:nvSpPr>
          <p:cNvPr id="20" name="Content Placeholder 2">
            <a:extLst>
              <a:ext uri="{FF2B5EF4-FFF2-40B4-BE49-F238E27FC236}">
                <a16:creationId xmlns:a16="http://schemas.microsoft.com/office/drawing/2014/main" id="{A13F2533-410F-F117-EB68-2BFF171EBD3C}"/>
              </a:ext>
            </a:extLst>
          </p:cNvPr>
          <p:cNvSpPr txBox="1">
            <a:spLocks/>
          </p:cNvSpPr>
          <p:nvPr/>
        </p:nvSpPr>
        <p:spPr>
          <a:xfrm>
            <a:off x="1313683" y="453238"/>
            <a:ext cx="9840816" cy="1217003"/>
          </a:xfrm>
          <a:custGeom>
            <a:avLst/>
            <a:gdLst>
              <a:gd name="connsiteX0" fmla="*/ 0 w 9840816"/>
              <a:gd name="connsiteY0" fmla="*/ 0 h 1217003"/>
              <a:gd name="connsiteX1" fmla="*/ 9840816 w 9840816"/>
              <a:gd name="connsiteY1" fmla="*/ 0 h 1217003"/>
              <a:gd name="connsiteX2" fmla="*/ 9840816 w 9840816"/>
              <a:gd name="connsiteY2" fmla="*/ 1217003 h 1217003"/>
              <a:gd name="connsiteX3" fmla="*/ 0 w 9840816"/>
              <a:gd name="connsiteY3" fmla="*/ 1217003 h 1217003"/>
              <a:gd name="connsiteX4" fmla="*/ 0 w 9840816"/>
              <a:gd name="connsiteY4" fmla="*/ 0 h 12170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0816" h="1217003" fill="none" extrusionOk="0">
                <a:moveTo>
                  <a:pt x="0" y="0"/>
                </a:moveTo>
                <a:cubicBezTo>
                  <a:pt x="2539077" y="-3076"/>
                  <a:pt x="8063056" y="60106"/>
                  <a:pt x="9840816" y="0"/>
                </a:cubicBezTo>
                <a:cubicBezTo>
                  <a:pt x="9934537" y="410479"/>
                  <a:pt x="9747667" y="910226"/>
                  <a:pt x="9840816" y="1217003"/>
                </a:cubicBezTo>
                <a:cubicBezTo>
                  <a:pt x="5951957" y="1078956"/>
                  <a:pt x="2916075" y="1065230"/>
                  <a:pt x="0" y="1217003"/>
                </a:cubicBezTo>
                <a:cubicBezTo>
                  <a:pt x="6316" y="764985"/>
                  <a:pt x="51161" y="578666"/>
                  <a:pt x="0" y="0"/>
                </a:cubicBezTo>
                <a:close/>
              </a:path>
              <a:path w="9840816" h="1217003" stroke="0" extrusionOk="0">
                <a:moveTo>
                  <a:pt x="0" y="0"/>
                </a:moveTo>
                <a:cubicBezTo>
                  <a:pt x="3637894" y="113367"/>
                  <a:pt x="7652042" y="-19044"/>
                  <a:pt x="9840816" y="0"/>
                </a:cubicBezTo>
                <a:cubicBezTo>
                  <a:pt x="9774252" y="249168"/>
                  <a:pt x="9732602" y="802722"/>
                  <a:pt x="9840816" y="1217003"/>
                </a:cubicBezTo>
                <a:cubicBezTo>
                  <a:pt x="8358997" y="1065712"/>
                  <a:pt x="2216411" y="1071671"/>
                  <a:pt x="0" y="1217003"/>
                </a:cubicBezTo>
                <a:cubicBezTo>
                  <a:pt x="63499" y="874648"/>
                  <a:pt x="-74216" y="579464"/>
                  <a:pt x="0" y="0"/>
                </a:cubicBezTo>
                <a:close/>
              </a:path>
            </a:pathLst>
          </a:custGeom>
          <a:solidFill>
            <a:schemeClr val="bg1"/>
          </a:solidFill>
          <a:ln w="57150">
            <a:solidFill>
              <a:srgbClr val="FFFF00"/>
            </a:solidFill>
            <a:extLst>
              <a:ext uri="{C807C97D-BFC1-408E-A445-0C87EB9F89A2}">
                <ask:lineSketchStyleProps xmlns:ask="http://schemas.microsoft.com/office/drawing/2018/sketchyshapes" sd="3653843997">
                  <a:prstGeom prst="rect">
                    <a:avLst/>
                  </a:prstGeom>
                  <ask:type>
                    <ask:lineSketchCurved/>
                  </ask:type>
                </ask:lineSketchStyleProps>
              </a:ext>
            </a:extLst>
          </a:ln>
        </p:spPr>
        <p:txBody>
          <a:bodyPr>
            <a:normAutofit fontScale="92500" lnSpcReduction="10000"/>
          </a:bodyPr>
          <a:lst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a:lstStyle>
          <a:p>
            <a:pPr marL="0" marR="0" lvl="0" indent="0" algn="ctr" defTabSz="609630" rtl="0" eaLnBrk="1" fontAlgn="auto" latinLnBrk="0" hangingPunct="1">
              <a:lnSpc>
                <a:spcPct val="100000"/>
              </a:lnSpc>
              <a:spcBef>
                <a:spcPct val="20000"/>
              </a:spcBef>
              <a:spcAft>
                <a:spcPts val="0"/>
              </a:spcAft>
              <a:buClrTx/>
              <a:buSzTx/>
              <a:buFont typeface="Arial" pitchFamily="34" charset="0"/>
              <a:buNone/>
              <a:tabLst/>
              <a:defRPr/>
            </a:pPr>
            <a:r>
              <a:rPr kumimoji="0" lang="en-US" sz="4000" b="0" i="1" u="none" strike="noStrike" kern="1200" cap="none" spc="0" normalizeH="0" baseline="0" noProof="0">
                <a:ln>
                  <a:noFill/>
                </a:ln>
                <a:solidFill>
                  <a:srgbClr val="FF0000"/>
                </a:solidFill>
                <a:effectLst/>
                <a:uLnTx/>
                <a:uFillTx/>
                <a:latin typeface="Nunito Black" panose="00000A00000000000000" pitchFamily="2" charset="0"/>
                <a:ea typeface="Times New Roman" panose="02020603050405020304" pitchFamily="18" charset="0"/>
                <a:cs typeface="+mn-cs"/>
              </a:rPr>
              <a:t>Xin kính chúc các thầy cô giáo mạnh khoẻ, chúc các em chăm ngoan, học giỏi.</a:t>
            </a:r>
          </a:p>
          <a:p>
            <a:pPr marL="0" marR="0" lvl="0" indent="0" algn="ctr" defTabSz="609630" rtl="0" eaLnBrk="1" fontAlgn="auto" latinLnBrk="0" hangingPunct="1">
              <a:lnSpc>
                <a:spcPct val="100000"/>
              </a:lnSpc>
              <a:spcBef>
                <a:spcPct val="20000"/>
              </a:spcBef>
              <a:spcAft>
                <a:spcPts val="0"/>
              </a:spcAft>
              <a:buClrTx/>
              <a:buSzTx/>
              <a:buFont typeface="Arial" pitchFamily="34" charset="0"/>
              <a:buNone/>
              <a:tabLst/>
              <a:defRPr/>
            </a:pPr>
            <a:endParaRPr kumimoji="0" lang="en-US" sz="4000" b="0" i="1" u="none" strike="noStrike" kern="1200" cap="none" spc="0" normalizeH="0" baseline="0" noProof="0">
              <a:ln>
                <a:noFill/>
              </a:ln>
              <a:solidFill>
                <a:srgbClr val="FF0000"/>
              </a:solidFill>
              <a:effectLst/>
              <a:uLnTx/>
              <a:uFillTx/>
              <a:latin typeface="Nunito Black" panose="00000A00000000000000" pitchFamily="2" charset="0"/>
              <a:ea typeface="+mn-ea"/>
              <a:cs typeface="+mn-cs"/>
            </a:endParaRPr>
          </a:p>
        </p:txBody>
      </p:sp>
      <p:pic>
        <p:nvPicPr>
          <p:cNvPr id="5" name="Picture 4" descr="Không có mô tả ảnh.">
            <a:extLst>
              <a:ext uri="{FF2B5EF4-FFF2-40B4-BE49-F238E27FC236}">
                <a16:creationId xmlns:a16="http://schemas.microsoft.com/office/drawing/2014/main" id="{0425C794-9D76-D035-DC0D-56634FA19DCF}"/>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4415" b="95791" l="9926" r="89578">
                        <a14:foregroundMark x1="41439" y1="7803" x2="57568" y2="15400"/>
                        <a14:foregroundMark x1="48139" y1="4620" x2="59926" y2="15606"/>
                        <a14:foregroundMark x1="30397" y1="26489" x2="54218" y2="42608"/>
                        <a14:foregroundMark x1="57568" y1="22690" x2="70223" y2="37680"/>
                        <a14:foregroundMark x1="55211" y1="26078" x2="67122" y2="33470"/>
                        <a14:foregroundMark x1="29529" y1="30903" x2="43921" y2="36242"/>
                        <a14:foregroundMark x1="36476" y1="29671" x2="41687" y2="29261"/>
                        <a14:foregroundMark x1="36725" y1="24743" x2="42432" y2="29466"/>
                        <a14:foregroundMark x1="48015" y1="89630" x2="46774" y2="94456"/>
                        <a14:foregroundMark x1="62779" y1="89014" x2="65261" y2="94251"/>
                        <a14:foregroundMark x1="58313" y1="92197" x2="63275" y2="95791"/>
                        <a14:foregroundMark x1="33375" y1="28645" x2="32878" y2="39220"/>
                        <a14:foregroundMark x1="59057" y1="28337" x2="67370" y2="30903"/>
                        <a14:foregroundMark x1="62779" y1="24743" x2="66005" y2="34805"/>
                      </a14:backgroundRemoval>
                    </a14:imgEffect>
                  </a14:imgLayer>
                </a14:imgProps>
              </a:ext>
              <a:ext uri="{28A0092B-C50C-407E-A947-70E740481C1C}">
                <a14:useLocalDpi xmlns:a14="http://schemas.microsoft.com/office/drawing/2010/main" val="0"/>
              </a:ext>
            </a:extLst>
          </a:blip>
          <a:stretch>
            <a:fillRect/>
          </a:stretch>
        </p:blipFill>
        <p:spPr bwMode="auto">
          <a:xfrm>
            <a:off x="7411006" y="2224785"/>
            <a:ext cx="3833984" cy="463321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1">
            <a:extLst>
              <a:ext uri="{FF2B5EF4-FFF2-40B4-BE49-F238E27FC236}">
                <a16:creationId xmlns:a16="http://schemas.microsoft.com/office/drawing/2014/main" id="{5412506E-8A5A-9FE8-6C91-116CACA510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p:blipFill>
        <p:spPr>
          <a:xfrm>
            <a:off x="3548535" y="3530600"/>
            <a:ext cx="2968911" cy="2790775"/>
          </a:xfrm>
          <a:prstGeom prst="rect">
            <a:avLst/>
          </a:prstGeom>
        </p:spPr>
      </p:pic>
      <p:pic>
        <p:nvPicPr>
          <p:cNvPr id="9" name="Picture 11">
            <a:extLst>
              <a:ext uri="{FF2B5EF4-FFF2-40B4-BE49-F238E27FC236}">
                <a16:creationId xmlns:a16="http://schemas.microsoft.com/office/drawing/2014/main" id="{EBC4C4A4-5577-0F67-E47A-F95607B830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p:blipFill>
        <p:spPr>
          <a:xfrm>
            <a:off x="1381558" y="4171180"/>
            <a:ext cx="2968911" cy="279077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257" fill="hold"/>
                                        <p:tgtEl>
                                          <p:spTgt spid="13"/>
                                        </p:tgtEl>
                                      </p:cBhvr>
                                    </p:cmd>
                                  </p:childTnLst>
                                </p:cTn>
                              </p:par>
                              <p:par>
                                <p:cTn id="7" presetID="42"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animEffect transition="in" filter="fade">
                                      <p:cBhvr>
                                        <p:cTn id="9" dur="1000"/>
                                        <p:tgtEl>
                                          <p:spTgt spid="5"/>
                                        </p:tgtEl>
                                      </p:cBhvr>
                                    </p:animEffect>
                                    <p:anim calcmode="lin" valueType="num">
                                      <p:cBhvr>
                                        <p:cTn id="10" dur="1000" fill="hold"/>
                                        <p:tgtEl>
                                          <p:spTgt spid="5"/>
                                        </p:tgtEl>
                                        <p:attrNameLst>
                                          <p:attrName>ppt_x</p:attrName>
                                        </p:attrNameLst>
                                      </p:cBhvr>
                                      <p:tavLst>
                                        <p:tav tm="0">
                                          <p:val>
                                            <p:strVal val="#ppt_x"/>
                                          </p:val>
                                        </p:tav>
                                        <p:tav tm="100000">
                                          <p:val>
                                            <p:strVal val="#ppt_x"/>
                                          </p:val>
                                        </p:tav>
                                      </p:tavLst>
                                    </p:anim>
                                    <p:anim calcmode="lin" valueType="num">
                                      <p:cBhvr>
                                        <p:cTn id="11"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12" fill="hold" display="0">
                  <p:stCondLst>
                    <p:cond delay="indefinite"/>
                  </p:stCondLst>
                  <p:endCondLst>
                    <p:cond evt="onStopAudio" delay="0">
                      <p:tgtEl>
                        <p:sldTgt/>
                      </p:tgtEl>
                    </p:cond>
                  </p:endCondLst>
                </p:cTn>
                <p:tgtEl>
                  <p:spTgt spid="13"/>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Trẻ Em, Học Tập, Mầm Non, Tốt Nghiệp, Tải hình PNG 201 - Free.Vector6.com">
            <a:extLst>
              <a:ext uri="{FF2B5EF4-FFF2-40B4-BE49-F238E27FC236}">
                <a16:creationId xmlns:a16="http://schemas.microsoft.com/office/drawing/2014/main" id="{E021BD83-2F34-165F-9C15-18474DF7502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1351" y="1082955"/>
            <a:ext cx="8009298" cy="5593161"/>
          </a:xfrm>
          <a:prstGeom prst="rect">
            <a:avLst/>
          </a:prstGeom>
          <a:noFill/>
          <a:extLst>
            <a:ext uri="{909E8E84-426E-40DD-AFC4-6F175D3DCCD1}">
              <a14:hiddenFill xmlns:a14="http://schemas.microsoft.com/office/drawing/2010/main">
                <a:solidFill>
                  <a:srgbClr val="FFFFFF"/>
                </a:solidFill>
              </a14:hiddenFill>
            </a:ext>
          </a:extLst>
        </p:spPr>
      </p:pic>
      <p:pic>
        <p:nvPicPr>
          <p:cNvPr id="5" name="Nhac-chuyen-chuong-trinh-www_nhacchuongvui_com">
            <a:hlinkClick r:id="" action="ppaction://media"/>
            <a:extLst>
              <a:ext uri="{FF2B5EF4-FFF2-40B4-BE49-F238E27FC236}">
                <a16:creationId xmlns:a16="http://schemas.microsoft.com/office/drawing/2014/main" id="{C898AF22-5B4C-66E3-BEFF-99B86254EC0C}"/>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6014509" y="3347509"/>
            <a:ext cx="162983" cy="162983"/>
          </a:xfrm>
          <a:prstGeom prst="rect">
            <a:avLst/>
          </a:prstGeom>
        </p:spPr>
      </p:pic>
    </p:spTree>
    <p:extLst>
      <p:ext uri="{BB962C8B-B14F-4D97-AF65-F5344CB8AC3E}">
        <p14:creationId xmlns:p14="http://schemas.microsoft.com/office/powerpoint/2010/main" val="1958477565"/>
      </p:ext>
    </p:extLst>
  </p:cSld>
  <p:clrMapOvr>
    <a:masterClrMapping/>
  </p:clrMapOvr>
  <p:transition advClick="0" advTm="0">
    <p:circl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257"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EB034377-D128-FD70-B69B-B39EC3F01A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612" y="0"/>
            <a:ext cx="12156776" cy="6858000"/>
          </a:xfrm>
          <a:prstGeom prst="rect">
            <a:avLst/>
          </a:prstGeom>
        </p:spPr>
      </p:pic>
      <p:sp>
        <p:nvSpPr>
          <p:cNvPr id="2" name="TextBox 1">
            <a:extLst>
              <a:ext uri="{FF2B5EF4-FFF2-40B4-BE49-F238E27FC236}">
                <a16:creationId xmlns:a16="http://schemas.microsoft.com/office/drawing/2014/main" id="{46742023-C02C-74C6-4DEB-4D9A589E504C}"/>
              </a:ext>
            </a:extLst>
          </p:cNvPr>
          <p:cNvSpPr txBox="1"/>
          <p:nvPr/>
        </p:nvSpPr>
        <p:spPr>
          <a:xfrm>
            <a:off x="363256" y="515815"/>
            <a:ext cx="10797434" cy="221599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err="1">
                <a:ln>
                  <a:noFill/>
                </a:ln>
                <a:solidFill>
                  <a:srgbClr val="0070C0"/>
                </a:solidFill>
                <a:effectLst/>
                <a:uLnTx/>
                <a:uFillTx/>
                <a:latin typeface="Calibri"/>
                <a:ea typeface="Tahoma" panose="020B0604030504040204" pitchFamily="34" charset="0"/>
                <a:cs typeface="Tahoma" panose="020B0604030504040204" pitchFamily="34" charset="0"/>
              </a:rPr>
              <a:t>Thứ</a:t>
            </a:r>
            <a:r>
              <a:rPr kumimoji="0" lang="en-US" sz="4400" b="1" i="0" u="none" strike="noStrike" kern="1200" cap="none" spc="0" normalizeH="0" baseline="0" noProof="0" dirty="0">
                <a:ln>
                  <a:noFill/>
                </a:ln>
                <a:solidFill>
                  <a:srgbClr val="0070C0"/>
                </a:solidFill>
                <a:effectLst/>
                <a:uLnTx/>
                <a:uFillTx/>
                <a:latin typeface="Calibri"/>
                <a:ea typeface="Tahoma" panose="020B0604030504040204" pitchFamily="34" charset="0"/>
                <a:cs typeface="Tahoma" panose="020B0604030504040204" pitchFamily="34" charset="0"/>
              </a:rPr>
              <a:t> </a:t>
            </a:r>
            <a:r>
              <a:rPr lang="en-US" sz="4400" b="1" dirty="0" err="1">
                <a:solidFill>
                  <a:srgbClr val="0070C0"/>
                </a:solidFill>
                <a:latin typeface="Calibri"/>
                <a:ea typeface="Tahoma" panose="020B0604030504040204" pitchFamily="34" charset="0"/>
                <a:cs typeface="Tahoma" panose="020B0604030504040204" pitchFamily="34" charset="0"/>
              </a:rPr>
              <a:t>Năm</a:t>
            </a:r>
            <a:r>
              <a:rPr kumimoji="0" lang="en-US" sz="4400" b="1" i="0" u="none" strike="noStrike" kern="1200" cap="none" spc="0" normalizeH="0" baseline="0" noProof="0" dirty="0">
                <a:ln>
                  <a:noFill/>
                </a:ln>
                <a:solidFill>
                  <a:srgbClr val="0070C0"/>
                </a:solidFill>
                <a:effectLst/>
                <a:uLnTx/>
                <a:uFillTx/>
                <a:latin typeface="Calibri"/>
                <a:ea typeface="Tahoma" panose="020B0604030504040204" pitchFamily="34" charset="0"/>
                <a:cs typeface="Tahoma" panose="020B0604030504040204" pitchFamily="34" charset="0"/>
              </a:rPr>
              <a:t> </a:t>
            </a:r>
            <a:r>
              <a:rPr kumimoji="0" lang="en-US" sz="4400" b="1" i="0" u="none" strike="noStrike" kern="1200" cap="none" spc="0" normalizeH="0" baseline="0" noProof="0" dirty="0" err="1">
                <a:ln>
                  <a:noFill/>
                </a:ln>
                <a:solidFill>
                  <a:srgbClr val="0070C0"/>
                </a:solidFill>
                <a:effectLst/>
                <a:uLnTx/>
                <a:uFillTx/>
                <a:latin typeface="Calibri"/>
                <a:ea typeface="Tahoma" panose="020B0604030504040204" pitchFamily="34" charset="0"/>
                <a:cs typeface="Tahoma" panose="020B0604030504040204" pitchFamily="34" charset="0"/>
              </a:rPr>
              <a:t>ngày</a:t>
            </a:r>
            <a:r>
              <a:rPr kumimoji="0" lang="en-US" sz="4400" b="1" i="0" u="none" strike="noStrike" kern="1200" cap="none" spc="0" normalizeH="0" baseline="0" noProof="0">
                <a:ln>
                  <a:noFill/>
                </a:ln>
                <a:solidFill>
                  <a:srgbClr val="0070C0"/>
                </a:solidFill>
                <a:effectLst/>
                <a:uLnTx/>
                <a:uFillTx/>
                <a:latin typeface="Calibri"/>
                <a:ea typeface="Tahoma" panose="020B0604030504040204" pitchFamily="34" charset="0"/>
                <a:cs typeface="Tahoma" panose="020B0604030504040204" pitchFamily="34" charset="0"/>
              </a:rPr>
              <a:t> 16 </a:t>
            </a:r>
            <a:r>
              <a:rPr kumimoji="0" lang="en-US" sz="4400" b="1" i="0" u="none" strike="noStrike" kern="1200" cap="none" spc="0" normalizeH="0" baseline="0" noProof="0" dirty="0" err="1">
                <a:ln>
                  <a:noFill/>
                </a:ln>
                <a:solidFill>
                  <a:srgbClr val="0070C0"/>
                </a:solidFill>
                <a:effectLst/>
                <a:uLnTx/>
                <a:uFillTx/>
                <a:latin typeface="Calibri"/>
                <a:ea typeface="Tahoma" panose="020B0604030504040204" pitchFamily="34" charset="0"/>
                <a:cs typeface="Tahoma" panose="020B0604030504040204" pitchFamily="34" charset="0"/>
              </a:rPr>
              <a:t>tháng</a:t>
            </a:r>
            <a:r>
              <a:rPr kumimoji="0" lang="en-US" sz="4400" b="1" i="0" u="none" strike="noStrike" kern="1200" cap="none" spc="0" normalizeH="0" baseline="0" noProof="0" dirty="0">
                <a:ln>
                  <a:noFill/>
                </a:ln>
                <a:solidFill>
                  <a:srgbClr val="0070C0"/>
                </a:solidFill>
                <a:effectLst/>
                <a:uLnTx/>
                <a:uFillTx/>
                <a:latin typeface="Calibri"/>
                <a:ea typeface="Tahoma" panose="020B0604030504040204" pitchFamily="34" charset="0"/>
                <a:cs typeface="Tahoma" panose="020B0604030504040204" pitchFamily="34" charset="0"/>
              </a:rPr>
              <a:t> 11 </a:t>
            </a:r>
            <a:r>
              <a:rPr kumimoji="0" lang="en-US" sz="4400" b="1" i="0" u="none" strike="noStrike" kern="1200" cap="none" spc="0" normalizeH="0" baseline="0" noProof="0" dirty="0" err="1">
                <a:ln>
                  <a:noFill/>
                </a:ln>
                <a:solidFill>
                  <a:srgbClr val="0070C0"/>
                </a:solidFill>
                <a:effectLst/>
                <a:uLnTx/>
                <a:uFillTx/>
                <a:latin typeface="Calibri"/>
                <a:ea typeface="Tahoma" panose="020B0604030504040204" pitchFamily="34" charset="0"/>
                <a:cs typeface="Tahoma" panose="020B0604030504040204" pitchFamily="34" charset="0"/>
              </a:rPr>
              <a:t>năm</a:t>
            </a:r>
            <a:r>
              <a:rPr kumimoji="0" lang="en-US" sz="4400" b="1" i="0" u="none" strike="noStrike" kern="1200" cap="none" spc="0" normalizeH="0" baseline="0" noProof="0" dirty="0">
                <a:ln>
                  <a:noFill/>
                </a:ln>
                <a:solidFill>
                  <a:srgbClr val="0070C0"/>
                </a:solidFill>
                <a:effectLst/>
                <a:uLnTx/>
                <a:uFillTx/>
                <a:latin typeface="Calibri"/>
                <a:ea typeface="Tahoma" panose="020B0604030504040204" pitchFamily="34" charset="0"/>
                <a:cs typeface="Tahoma" panose="020B0604030504040204" pitchFamily="34" charset="0"/>
              </a:rPr>
              <a:t> 20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err="1">
                <a:ln>
                  <a:noFill/>
                </a:ln>
                <a:solidFill>
                  <a:srgbClr val="7D5008"/>
                </a:solidFill>
                <a:effectLst/>
                <a:uLnTx/>
                <a:uFillTx/>
                <a:latin typeface="Calibri"/>
                <a:ea typeface="Tahoma" panose="020B0604030504040204" pitchFamily="34" charset="0"/>
                <a:cs typeface="Tahoma" panose="020B0604030504040204" pitchFamily="34" charset="0"/>
              </a:rPr>
              <a:t>Toán</a:t>
            </a:r>
            <a:r>
              <a:rPr kumimoji="0" lang="en-US" sz="4000" b="1" i="0" u="none" strike="noStrike" kern="1200" cap="none" spc="0" normalizeH="0" baseline="0" noProof="0" dirty="0">
                <a:ln>
                  <a:noFill/>
                </a:ln>
                <a:solidFill>
                  <a:srgbClr val="7D5008"/>
                </a:solidFill>
                <a:effectLst/>
                <a:uLnTx/>
                <a:uFillTx/>
                <a:latin typeface="Calibri"/>
                <a:ea typeface="Tahoma" panose="020B0604030504040204" pitchFamily="34" charset="0"/>
                <a:cs typeface="Tahom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err="1">
                <a:ln>
                  <a:noFill/>
                </a:ln>
                <a:solidFill>
                  <a:srgbClr val="FF0066"/>
                </a:solidFill>
                <a:effectLst/>
                <a:uLnTx/>
                <a:uFillTx/>
                <a:latin typeface="Calibri"/>
                <a:ea typeface="Tahoma" panose="020B0604030504040204" pitchFamily="34" charset="0"/>
                <a:cs typeface="Tahoma" panose="020B0604030504040204" pitchFamily="34" charset="0"/>
              </a:rPr>
              <a:t>Luyện</a:t>
            </a:r>
            <a:r>
              <a:rPr kumimoji="0" lang="en-US" sz="5400" b="1" i="0" u="none" strike="noStrike" kern="1200" cap="none" spc="0" normalizeH="0" baseline="0" noProof="0" dirty="0">
                <a:ln>
                  <a:noFill/>
                </a:ln>
                <a:solidFill>
                  <a:srgbClr val="FF0066"/>
                </a:solidFill>
                <a:effectLst/>
                <a:uLnTx/>
                <a:uFillTx/>
                <a:latin typeface="Calibri"/>
                <a:ea typeface="Tahoma" panose="020B0604030504040204" pitchFamily="34" charset="0"/>
                <a:cs typeface="Tahoma" panose="020B0604030504040204" pitchFamily="34" charset="0"/>
              </a:rPr>
              <a:t> </a:t>
            </a:r>
            <a:r>
              <a:rPr kumimoji="0" lang="en-US" sz="5400" b="1" i="0" u="none" strike="noStrike" kern="1200" cap="none" spc="0" normalizeH="0" baseline="0" noProof="0" dirty="0" err="1">
                <a:ln>
                  <a:noFill/>
                </a:ln>
                <a:solidFill>
                  <a:srgbClr val="FF0066"/>
                </a:solidFill>
                <a:effectLst/>
                <a:uLnTx/>
                <a:uFillTx/>
                <a:latin typeface="Calibri"/>
                <a:ea typeface="Tahoma" panose="020B0604030504040204" pitchFamily="34" charset="0"/>
                <a:cs typeface="Tahoma" panose="020B0604030504040204" pitchFamily="34" charset="0"/>
              </a:rPr>
              <a:t>tập</a:t>
            </a:r>
            <a:r>
              <a:rPr kumimoji="0" lang="en-US" sz="5400" b="1" i="0" u="none" strike="noStrike" kern="1200" cap="none" spc="0" normalizeH="0" baseline="0" noProof="0" dirty="0">
                <a:ln>
                  <a:noFill/>
                </a:ln>
                <a:solidFill>
                  <a:srgbClr val="FF0066"/>
                </a:solidFill>
                <a:effectLst/>
                <a:uLnTx/>
                <a:uFillTx/>
                <a:latin typeface="Calibri"/>
                <a:ea typeface="Tahoma" panose="020B0604030504040204" pitchFamily="34" charset="0"/>
                <a:cs typeface="Tahoma" panose="020B0604030504040204" pitchFamily="34" charset="0"/>
              </a:rPr>
              <a:t> </a:t>
            </a:r>
            <a:r>
              <a:rPr kumimoji="0" lang="en-US" sz="5400" b="1" i="0" u="none" strike="noStrike" kern="1200" cap="none" spc="0" normalizeH="0" baseline="0" noProof="0" dirty="0" err="1">
                <a:ln>
                  <a:noFill/>
                </a:ln>
                <a:solidFill>
                  <a:srgbClr val="FF0066"/>
                </a:solidFill>
                <a:effectLst/>
                <a:uLnTx/>
                <a:uFillTx/>
                <a:latin typeface="Calibri"/>
                <a:ea typeface="Tahoma" panose="020B0604030504040204" pitchFamily="34" charset="0"/>
                <a:cs typeface="Tahoma" panose="020B0604030504040204" pitchFamily="34" charset="0"/>
              </a:rPr>
              <a:t>chung</a:t>
            </a:r>
            <a:endParaRPr kumimoji="0" lang="en-US" sz="5400" b="1" i="0" u="none" strike="noStrike" kern="1200" cap="none" spc="0" normalizeH="0" baseline="0" noProof="0" dirty="0">
              <a:ln>
                <a:noFill/>
              </a:ln>
              <a:solidFill>
                <a:srgbClr val="FF0066"/>
              </a:solidFill>
              <a:effectLst/>
              <a:uLnTx/>
              <a:uFillTx/>
              <a:latin typeface="Calibri"/>
              <a:ea typeface="Tahoma" panose="020B0604030504040204" pitchFamily="34" charset="0"/>
              <a:cs typeface="Tahoma" panose="020B0604030504040204" pitchFamily="34" charset="0"/>
            </a:endParaRPr>
          </a:p>
        </p:txBody>
      </p:sp>
      <p:pic>
        <p:nvPicPr>
          <p:cNvPr id="4" name="Picture 3">
            <a:extLst>
              <a:ext uri="{FF2B5EF4-FFF2-40B4-BE49-F238E27FC236}">
                <a16:creationId xmlns:a16="http://schemas.microsoft.com/office/drawing/2014/main" id="{465F5C08-C4EA-2462-5F6F-F9CB5354195E}"/>
              </a:ext>
            </a:extLst>
          </p:cNvPr>
          <p:cNvPicPr>
            <a:picLocks noChangeAspect="1"/>
          </p:cNvPicPr>
          <p:nvPr/>
        </p:nvPicPr>
        <p:blipFill>
          <a:blip r:embed="rId3"/>
          <a:stretch>
            <a:fillRect/>
          </a:stretch>
        </p:blipFill>
        <p:spPr>
          <a:xfrm>
            <a:off x="5739924" y="2871568"/>
            <a:ext cx="3684860" cy="3838397"/>
          </a:xfrm>
          <a:prstGeom prst="rect">
            <a:avLst/>
          </a:prstGeom>
        </p:spPr>
      </p:pic>
      <p:grpSp>
        <p:nvGrpSpPr>
          <p:cNvPr id="5" name="Group 4">
            <a:extLst>
              <a:ext uri="{FF2B5EF4-FFF2-40B4-BE49-F238E27FC236}">
                <a16:creationId xmlns:a16="http://schemas.microsoft.com/office/drawing/2014/main" id="{1DB3091B-2EFB-43D3-D7D2-60E0D2FF24E7}"/>
              </a:ext>
            </a:extLst>
          </p:cNvPr>
          <p:cNvGrpSpPr/>
          <p:nvPr/>
        </p:nvGrpSpPr>
        <p:grpSpPr>
          <a:xfrm>
            <a:off x="9138185" y="2674576"/>
            <a:ext cx="2949987" cy="4240654"/>
            <a:chOff x="12843095" y="658761"/>
            <a:chExt cx="3036002" cy="5584723"/>
          </a:xfrm>
        </p:grpSpPr>
        <p:pic>
          <p:nvPicPr>
            <p:cNvPr id="6" name="Picture 2" descr="Cartoon students Royalty Free Vector Image - VectorStock">
              <a:extLst>
                <a:ext uri="{FF2B5EF4-FFF2-40B4-BE49-F238E27FC236}">
                  <a16:creationId xmlns:a16="http://schemas.microsoft.com/office/drawing/2014/main" id="{489F1C57-75E2-4078-8D9E-0CB8BB3D3BC8}"/>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ackgroundRemoval t="7500" b="83426" l="50700" r="96400">
                          <a14:foregroundMark x1="64400" y1="30000" x2="67200" y2="33981"/>
                          <a14:foregroundMark x1="54900" y1="43796" x2="54900" y2="43796"/>
                          <a14:foregroundMark x1="68100" y1="37407" x2="69600" y2="40463"/>
                        </a14:backgroundRemoval>
                      </a14:imgEffect>
                    </a14:imgLayer>
                  </a14:imgProps>
                </a:ext>
                <a:ext uri="{28A0092B-C50C-407E-A947-70E740481C1C}">
                  <a14:useLocalDpi xmlns:a14="http://schemas.microsoft.com/office/drawing/2010/main" val="0"/>
                </a:ext>
              </a:extLst>
            </a:blip>
            <a:srcRect l="50000" t="3901" r="2189" b="14665"/>
            <a:stretch/>
          </p:blipFill>
          <p:spPr bwMode="auto">
            <a:xfrm>
              <a:off x="12843095" y="658761"/>
              <a:ext cx="3036002" cy="558472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artoon students Royalty Free Vector Image - VectorStock">
              <a:extLst>
                <a:ext uri="{FF2B5EF4-FFF2-40B4-BE49-F238E27FC236}">
                  <a16:creationId xmlns:a16="http://schemas.microsoft.com/office/drawing/2014/main" id="{BECDE014-33D2-8A34-134A-E9B9CA7EBDFD}"/>
                </a:ext>
              </a:extLst>
            </p:cNvPr>
            <p:cNvPicPr>
              <a:picLocks noChangeAspect="1" noChangeArrowheads="1"/>
            </p:cNvPicPr>
            <p:nvPr/>
          </p:nvPicPr>
          <p:blipFill rotWithShape="1">
            <a:blip r:embed="rId6">
              <a:extLst>
                <a:ext uri="{BEBA8EAE-BF5A-486C-A8C5-ECC9F3942E4B}">
                  <a14:imgProps xmlns:a14="http://schemas.microsoft.com/office/drawing/2010/main">
                    <a14:imgLayer r:embed="rId5">
                      <a14:imgEffect>
                        <a14:backgroundRemoval t="28457" b="33434" l="61993" r="66965"/>
                      </a14:imgEffect>
                    </a14:imgLayer>
                  </a14:imgProps>
                </a:ext>
                <a:ext uri="{28A0092B-C50C-407E-A947-70E740481C1C}">
                  <a14:useLocalDpi xmlns:a14="http://schemas.microsoft.com/office/drawing/2010/main" val="0"/>
                </a:ext>
              </a:extLst>
            </a:blip>
            <a:srcRect l="61371" t="27835" r="32414" b="65944"/>
            <a:stretch/>
          </p:blipFill>
          <p:spPr bwMode="auto">
            <a:xfrm flipH="1">
              <a:off x="14311255" y="2498177"/>
              <a:ext cx="394637" cy="42666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thiếu niên tiền phong quàng khăn đỏ minh họa">
              <a:extLst>
                <a:ext uri="{FF2B5EF4-FFF2-40B4-BE49-F238E27FC236}">
                  <a16:creationId xmlns:a16="http://schemas.microsoft.com/office/drawing/2014/main" id="{4B76F604-F6C2-A477-7E81-1793F36AADCB}"/>
                </a:ext>
              </a:extLst>
            </p:cNvPr>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ackgroundRemoval t="23457" b="41311" l="42857" r="61286"/>
                      </a14:imgEffect>
                    </a14:imgLayer>
                  </a14:imgProps>
                </a:ext>
                <a:ext uri="{28A0092B-C50C-407E-A947-70E740481C1C}">
                  <a14:useLocalDpi xmlns:a14="http://schemas.microsoft.com/office/drawing/2010/main" val="0"/>
                </a:ext>
              </a:extLst>
            </a:blip>
            <a:srcRect l="40608" t="21674" r="36413" b="59764"/>
            <a:stretch/>
          </p:blipFill>
          <p:spPr bwMode="auto">
            <a:xfrm flipH="1">
              <a:off x="13853347" y="3659766"/>
              <a:ext cx="598231" cy="72686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80865660"/>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4D3D850-2041-4B7C-AED9-54DA385B14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2" name="Picture 1" descr="Không có mô tả ảnh.">
            <a:extLst>
              <a:ext uri="{FF2B5EF4-FFF2-40B4-BE49-F238E27FC236}">
                <a16:creationId xmlns:a16="http://schemas.microsoft.com/office/drawing/2014/main" id="{E28FFBFD-11A1-1A9F-0152-B3C55E95C6D6}"/>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ackgroundRemoval t="4415" b="95791" l="9926" r="89578">
                        <a14:foregroundMark x1="41439" y1="7803" x2="57568" y2="15400"/>
                        <a14:foregroundMark x1="48139" y1="4620" x2="59926" y2="15606"/>
                        <a14:foregroundMark x1="30397" y1="26489" x2="54218" y2="42608"/>
                        <a14:foregroundMark x1="57568" y1="22690" x2="70223" y2="37680"/>
                        <a14:foregroundMark x1="55211" y1="26078" x2="67122" y2="33470"/>
                        <a14:foregroundMark x1="29529" y1="30903" x2="43921" y2="36242"/>
                        <a14:foregroundMark x1="36476" y1="29671" x2="41687" y2="29261"/>
                        <a14:foregroundMark x1="36725" y1="24743" x2="42432" y2="29466"/>
                        <a14:foregroundMark x1="48015" y1="89630" x2="46774" y2="94456"/>
                        <a14:foregroundMark x1="62779" y1="89014" x2="65261" y2="94251"/>
                        <a14:foregroundMark x1="58313" y1="92197" x2="63275" y2="95791"/>
                        <a14:foregroundMark x1="33375" y1="28645" x2="32878" y2="39220"/>
                        <a14:foregroundMark x1="59057" y1="28337" x2="67370" y2="30903"/>
                        <a14:foregroundMark x1="62779" y1="24743" x2="66005" y2="34805"/>
                      </a14:backgroundRemoval>
                    </a14:imgEffect>
                  </a14:imgLayer>
                </a14:imgProps>
              </a:ext>
              <a:ext uri="{28A0092B-C50C-407E-A947-70E740481C1C}">
                <a14:useLocalDpi xmlns:a14="http://schemas.microsoft.com/office/drawing/2010/main" val="0"/>
              </a:ext>
            </a:extLst>
          </a:blip>
          <a:srcRect t="540" r="1" b="6366"/>
          <a:stretch/>
        </p:blipFill>
        <p:spPr bwMode="auto">
          <a:xfrm>
            <a:off x="20" y="10"/>
            <a:ext cx="6095980" cy="685799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FDE2BFB-DE37-378C-F7DE-6294FB7B1CA7}"/>
              </a:ext>
            </a:extLst>
          </p:cNvPr>
          <p:cNvPicPr>
            <a:picLocks noChangeAspect="1"/>
          </p:cNvPicPr>
          <p:nvPr/>
        </p:nvPicPr>
        <p:blipFill rotWithShape="1">
          <a:blip r:embed="rId4"/>
          <a:srcRect l="5787" r="1620"/>
          <a:stretch/>
        </p:blipFill>
        <p:spPr>
          <a:xfrm rot="21600000">
            <a:off x="6096000" y="10"/>
            <a:ext cx="6096000" cy="6857990"/>
          </a:xfrm>
          <a:prstGeom prst="rect">
            <a:avLst/>
          </a:prstGeom>
        </p:spPr>
      </p:pic>
      <p:sp>
        <p:nvSpPr>
          <p:cNvPr id="11" name="Rectangle 10">
            <a:extLst>
              <a:ext uri="{FF2B5EF4-FFF2-40B4-BE49-F238E27FC236}">
                <a16:creationId xmlns:a16="http://schemas.microsoft.com/office/drawing/2014/main" id="{B497CCB5-5FC2-473C-AFCC-2430CEF1DF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4409915" y="1742916"/>
            <a:ext cx="3372170" cy="337216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57CD5066-0009-FF86-6703-19831B415C9A}"/>
              </a:ext>
            </a:extLst>
          </p:cNvPr>
          <p:cNvSpPr txBox="1"/>
          <p:nvPr/>
        </p:nvSpPr>
        <p:spPr>
          <a:xfrm>
            <a:off x="4286858" y="2761554"/>
            <a:ext cx="3618284" cy="1345720"/>
          </a:xfrm>
          <a:prstGeom prst="rect">
            <a:avLst/>
          </a:prstGeom>
          <a:noFill/>
        </p:spPr>
        <p:txBody>
          <a:bodyPr vert="horz" lIns="91440" tIns="45720" rIns="91440" bIns="45720" rtlCol="0" anchor="ctr">
            <a:no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7200" b="0" i="0" u="none" strike="noStrike" kern="1200" cap="none" spc="0" normalizeH="0" baseline="0" noProof="0">
                <a:ln>
                  <a:noFill/>
                </a:ln>
                <a:solidFill>
                  <a:srgbClr val="FF0000"/>
                </a:solidFill>
                <a:effectLst/>
                <a:uLnTx/>
                <a:uFillTx/>
                <a:latin typeface="Sigmar One" panose="00000500000000000000" pitchFamily="2" charset="0"/>
                <a:ea typeface="+mn-ea"/>
                <a:cs typeface="+mn-cs"/>
              </a:rPr>
              <a:t>Thực hành</a:t>
            </a:r>
          </a:p>
        </p:txBody>
      </p:sp>
      <p:sp>
        <p:nvSpPr>
          <p:cNvPr id="13" name="Frame 12">
            <a:extLst>
              <a:ext uri="{FF2B5EF4-FFF2-40B4-BE49-F238E27FC236}">
                <a16:creationId xmlns:a16="http://schemas.microsoft.com/office/drawing/2014/main" id="{599C8C75-BFDF-44E7-A028-EEB5EDD588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3971277" y="1304278"/>
            <a:ext cx="4249446" cy="4249444"/>
          </a:xfrm>
          <a:prstGeom prst="frame">
            <a:avLst>
              <a:gd name="adj1" fmla="val 1195"/>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442174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7" name="Rectangle 5126">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4D58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129" name="Rectangle 5128">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2C1AFD93-50F1-8C54-1CF0-F374191C4AA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3784" b="96892" l="2000" r="97556">
                        <a14:foregroundMark x1="25222" y1="3784" x2="77444" y2="11216"/>
                        <a14:foregroundMark x1="20667" y1="12027" x2="93556" y2="14730"/>
                        <a14:foregroundMark x1="63000" y1="2432" x2="89333" y2="4324"/>
                        <a14:foregroundMark x1="89333" y1="4324" x2="97222" y2="12568"/>
                        <a14:foregroundMark x1="97222" y1="12568" x2="97556" y2="13784"/>
                        <a14:foregroundMark x1="92333" y1="3784" x2="94222" y2="5676"/>
                        <a14:foregroundMark x1="21556" y1="10946" x2="21778" y2="35000"/>
                        <a14:foregroundMark x1="18000" y1="22027" x2="19778" y2="34054"/>
                        <a14:foregroundMark x1="19778" y1="34054" x2="25667" y2="48378"/>
                        <a14:foregroundMark x1="25667" y1="48378" x2="27111" y2="49865"/>
                        <a14:foregroundMark x1="14556" y1="33514" x2="44556" y2="52703"/>
                        <a14:foregroundMark x1="44556" y1="52703" x2="78222" y2="57838"/>
                        <a14:foregroundMark x1="19444" y1="40135" x2="21667" y2="45811"/>
                        <a14:foregroundMark x1="28000" y1="8243" x2="35000" y2="10676"/>
                        <a14:foregroundMark x1="72000" y1="49595" x2="78556" y2="57838"/>
                        <a14:foregroundMark x1="80667" y1="55946" x2="84556" y2="76757"/>
                        <a14:foregroundMark x1="84556" y1="76757" x2="80667" y2="84595"/>
                        <a14:foregroundMark x1="80667" y1="84595" x2="2000" y2="89324"/>
                        <a14:foregroundMark x1="3000" y1="92162" x2="48556" y2="96892"/>
                        <a14:foregroundMark x1="48556" y1="96892" x2="69556" y2="92568"/>
                        <a14:backgroundMark x1="4111" y1="4865" x2="5667" y2="36622"/>
                        <a14:backgroundMark x1="32889" y1="20946" x2="75333" y2="25135"/>
                      </a14:backgroundRemoval>
                    </a14:imgEffect>
                  </a14:imgLayer>
                </a14:imgProps>
              </a:ext>
            </a:extLst>
          </a:blip>
          <a:stretch>
            <a:fillRect/>
          </a:stretch>
        </p:blipFill>
        <p:spPr>
          <a:xfrm>
            <a:off x="2655769" y="936865"/>
            <a:ext cx="6889064" cy="4771327"/>
          </a:xfrm>
          <a:prstGeom prst="rect">
            <a:avLst/>
          </a:prstGeom>
        </p:spPr>
      </p:pic>
      <p:pic>
        <p:nvPicPr>
          <p:cNvPr id="6" name="Picture 5">
            <a:extLst>
              <a:ext uri="{FF2B5EF4-FFF2-40B4-BE49-F238E27FC236}">
                <a16:creationId xmlns:a16="http://schemas.microsoft.com/office/drawing/2014/main" id="{931BA2A6-39B5-6A73-C79C-6983110C2660}"/>
              </a:ext>
            </a:extLst>
          </p:cNvPr>
          <p:cNvPicPr>
            <a:picLocks noChangeAspect="1"/>
          </p:cNvPicPr>
          <p:nvPr/>
        </p:nvPicPr>
        <p:blipFill>
          <a:blip r:embed="rId6"/>
          <a:stretch>
            <a:fillRect/>
          </a:stretch>
        </p:blipFill>
        <p:spPr>
          <a:xfrm>
            <a:off x="3888190" y="4355462"/>
            <a:ext cx="1805640" cy="1717385"/>
          </a:xfrm>
          <a:prstGeom prst="rect">
            <a:avLst/>
          </a:prstGeom>
        </p:spPr>
      </p:pic>
      <p:pic>
        <p:nvPicPr>
          <p:cNvPr id="7" name="Picture 6">
            <a:extLst>
              <a:ext uri="{FF2B5EF4-FFF2-40B4-BE49-F238E27FC236}">
                <a16:creationId xmlns:a16="http://schemas.microsoft.com/office/drawing/2014/main" id="{A0FC4AFF-E147-52FC-A993-6EBFC3287350}"/>
              </a:ext>
            </a:extLst>
          </p:cNvPr>
          <p:cNvPicPr>
            <a:picLocks noChangeAspect="1"/>
          </p:cNvPicPr>
          <p:nvPr/>
        </p:nvPicPr>
        <p:blipFill>
          <a:blip r:embed="rId6"/>
          <a:stretch>
            <a:fillRect/>
          </a:stretch>
        </p:blipFill>
        <p:spPr>
          <a:xfrm>
            <a:off x="7490472" y="3801863"/>
            <a:ext cx="1805640" cy="1717385"/>
          </a:xfrm>
          <a:prstGeom prst="rect">
            <a:avLst/>
          </a:prstGeom>
        </p:spPr>
      </p:pic>
      <p:pic>
        <p:nvPicPr>
          <p:cNvPr id="8" name="Picture 7">
            <a:extLst>
              <a:ext uri="{FF2B5EF4-FFF2-40B4-BE49-F238E27FC236}">
                <a16:creationId xmlns:a16="http://schemas.microsoft.com/office/drawing/2014/main" id="{F953B314-7198-6DC0-4729-18174EC107D3}"/>
              </a:ext>
            </a:extLst>
          </p:cNvPr>
          <p:cNvPicPr>
            <a:picLocks noChangeAspect="1"/>
          </p:cNvPicPr>
          <p:nvPr/>
        </p:nvPicPr>
        <p:blipFill>
          <a:blip r:embed="rId6"/>
          <a:stretch>
            <a:fillRect/>
          </a:stretch>
        </p:blipFill>
        <p:spPr>
          <a:xfrm>
            <a:off x="3514677" y="2123517"/>
            <a:ext cx="1805640" cy="1717385"/>
          </a:xfrm>
          <a:prstGeom prst="rect">
            <a:avLst/>
          </a:prstGeom>
        </p:spPr>
      </p:pic>
      <p:pic>
        <p:nvPicPr>
          <p:cNvPr id="4" name="Picture 3">
            <a:extLst>
              <a:ext uri="{FF2B5EF4-FFF2-40B4-BE49-F238E27FC236}">
                <a16:creationId xmlns:a16="http://schemas.microsoft.com/office/drawing/2014/main" id="{58F8B7A4-1C8F-5946-6655-522263223583}"/>
              </a:ext>
            </a:extLst>
          </p:cNvPr>
          <p:cNvPicPr>
            <a:picLocks noChangeAspect="1"/>
          </p:cNvPicPr>
          <p:nvPr/>
        </p:nvPicPr>
        <p:blipFill>
          <a:blip r:embed="rId7"/>
          <a:stretch>
            <a:fillRect/>
          </a:stretch>
        </p:blipFill>
        <p:spPr>
          <a:xfrm>
            <a:off x="9296112" y="480060"/>
            <a:ext cx="2381250" cy="2381250"/>
          </a:xfrm>
          <a:prstGeom prst="rect">
            <a:avLst/>
          </a:prstGeom>
        </p:spPr>
      </p:pic>
      <p:pic>
        <p:nvPicPr>
          <p:cNvPr id="2" name="Picture 1" descr="Không có mô tả ảnh.">
            <a:extLst>
              <a:ext uri="{FF2B5EF4-FFF2-40B4-BE49-F238E27FC236}">
                <a16:creationId xmlns:a16="http://schemas.microsoft.com/office/drawing/2014/main" id="{F5BB7E13-839C-B692-C3CB-11E6531DD443}"/>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4415" b="95791" l="9926" r="89578">
                        <a14:foregroundMark x1="41439" y1="7803" x2="57568" y2="15400"/>
                        <a14:foregroundMark x1="48139" y1="4620" x2="59926" y2="15606"/>
                        <a14:foregroundMark x1="30397" y1="26489" x2="54218" y2="42608"/>
                        <a14:foregroundMark x1="57568" y1="22690" x2="70223" y2="37680"/>
                        <a14:foregroundMark x1="55211" y1="26078" x2="67122" y2="33470"/>
                        <a14:foregroundMark x1="29529" y1="30903" x2="43921" y2="36242"/>
                        <a14:foregroundMark x1="36476" y1="29671" x2="41687" y2="29261"/>
                        <a14:foregroundMark x1="36725" y1="24743" x2="42432" y2="29466"/>
                        <a14:foregroundMark x1="48015" y1="89630" x2="46774" y2="94456"/>
                        <a14:foregroundMark x1="62779" y1="89014" x2="65261" y2="94251"/>
                        <a14:foregroundMark x1="58313" y1="92197" x2="63275" y2="95791"/>
                        <a14:foregroundMark x1="33375" y1="28645" x2="32878" y2="39220"/>
                        <a14:foregroundMark x1="59057" y1="28337" x2="67370" y2="30903"/>
                        <a14:foregroundMark x1="62779" y1="24743" x2="66005" y2="34805"/>
                      </a14:backgroundRemoval>
                    </a14:imgEffect>
                  </a14:imgLayer>
                </a14:imgProps>
              </a:ext>
              <a:ext uri="{28A0092B-C50C-407E-A947-70E740481C1C}">
                <a14:useLocalDpi xmlns:a14="http://schemas.microsoft.com/office/drawing/2010/main" val="0"/>
              </a:ext>
            </a:extLst>
          </a:blip>
          <a:stretch>
            <a:fillRect/>
          </a:stretch>
        </p:blipFill>
        <p:spPr bwMode="auto">
          <a:xfrm>
            <a:off x="376033" y="3633367"/>
            <a:ext cx="2271134" cy="2744574"/>
          </a:xfrm>
          <a:prstGeom prst="rect">
            <a:avLst/>
          </a:prstGeom>
          <a:noFill/>
          <a:extLst>
            <a:ext uri="{909E8E84-426E-40DD-AFC4-6F175D3DCCD1}">
              <a14:hiddenFill xmlns:a14="http://schemas.microsoft.com/office/drawing/2010/main">
                <a:solidFill>
                  <a:srgbClr val="FFFFFF"/>
                </a:solidFill>
              </a14:hiddenFill>
            </a:ext>
          </a:extLst>
        </p:spPr>
      </p:pic>
      <p:pic>
        <p:nvPicPr>
          <p:cNvPr id="10" name="Am-thanh-phep-thuat-www_nhacchuongvui_com">
            <a:hlinkClick r:id="" action="ppaction://media"/>
            <a:extLst>
              <a:ext uri="{FF2B5EF4-FFF2-40B4-BE49-F238E27FC236}">
                <a16:creationId xmlns:a16="http://schemas.microsoft.com/office/drawing/2014/main" id="{E53CE2AC-3D82-D4E7-3980-33653BD6EA64}"/>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1374506" y="6172201"/>
            <a:ext cx="640291" cy="640291"/>
          </a:xfrm>
          <a:prstGeom prst="rect">
            <a:avLst/>
          </a:prstGeom>
        </p:spPr>
      </p:pic>
      <p:pic>
        <p:nvPicPr>
          <p:cNvPr id="3" name="Picture 2">
            <a:extLst>
              <a:ext uri="{FF2B5EF4-FFF2-40B4-BE49-F238E27FC236}">
                <a16:creationId xmlns:a16="http://schemas.microsoft.com/office/drawing/2014/main" id="{62B613F1-F4EF-C6A4-8005-705555E95618}"/>
              </a:ext>
            </a:extLst>
          </p:cNvPr>
          <p:cNvPicPr>
            <a:picLocks noChangeAspect="1"/>
          </p:cNvPicPr>
          <p:nvPr/>
        </p:nvPicPr>
        <p:blipFill>
          <a:blip r:embed="rId6"/>
          <a:stretch>
            <a:fillRect/>
          </a:stretch>
        </p:blipFill>
        <p:spPr>
          <a:xfrm>
            <a:off x="5968865" y="406132"/>
            <a:ext cx="1805640" cy="1717385"/>
          </a:xfrm>
          <a:prstGeom prst="rect">
            <a:avLst/>
          </a:prstGeom>
        </p:spPr>
      </p:pic>
    </p:spTree>
    <p:extLst>
      <p:ext uri="{BB962C8B-B14F-4D97-AF65-F5344CB8AC3E}">
        <p14:creationId xmlns:p14="http://schemas.microsoft.com/office/powerpoint/2010/main" val="872113920"/>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path" presetSubtype="0" accel="50000" decel="50000" fill="hold" nodeType="clickEffect">
                                  <p:stCondLst>
                                    <p:cond delay="0"/>
                                  </p:stCondLst>
                                  <p:childTnLst>
                                    <p:animMotion origin="layout" path="M 1.66667E-6 -1.11111E-6 L 0.07278 -0.00509 C 0.08789 -0.00625 0.11081 -0.00671 0.13463 -0.00671 C 0.16185 -0.00671 0.18372 -0.00625 0.19883 -0.00509 L 0.27187 -1.11111E-6 " pathEditMode="relative" rAng="0" ptsTypes="AAAAA">
                                      <p:cBhvr>
                                        <p:cTn id="6" dur="2000" fill="hold"/>
                                        <p:tgtEl>
                                          <p:spTgt spid="2"/>
                                        </p:tgtEl>
                                        <p:attrNameLst>
                                          <p:attrName>ppt_x</p:attrName>
                                          <p:attrName>ppt_y</p:attrName>
                                        </p:attrNameLst>
                                      </p:cBhvr>
                                      <p:rCtr x="13594" y="-347"/>
                                    </p:animMotion>
                                  </p:childTnLst>
                                </p:cTn>
                              </p:par>
                              <p:par>
                                <p:cTn id="7" presetID="1" presetClass="mediacall" presetSubtype="0" fill="hold" nodeType="withEffect">
                                  <p:stCondLst>
                                    <p:cond delay="0"/>
                                  </p:stCondLst>
                                  <p:childTnLst>
                                    <p:cmd type="call" cmd="playFrom(0.0)">
                                      <p:cBhvr>
                                        <p:cTn id="8" dur="5193"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9" fill="hold" display="0">
                  <p:stCondLst>
                    <p:cond delay="indefinite"/>
                  </p:stCondLst>
                  <p:endCondLst>
                    <p:cond evt="onStopAudio" delay="0">
                      <p:tgtEl>
                        <p:sldTgt/>
                      </p:tgtEl>
                    </p:cond>
                  </p:endCondLst>
                </p:cTn>
                <p:tgtEl>
                  <p:spTgt spid="10"/>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0" name="Group 9">
            <a:extLst>
              <a:ext uri="{FF2B5EF4-FFF2-40B4-BE49-F238E27FC236}">
                <a16:creationId xmlns:a16="http://schemas.microsoft.com/office/drawing/2014/main" id="{5B176C40-2765-BD13-7CB6-E97C56C5570C}"/>
              </a:ext>
            </a:extLst>
          </p:cNvPr>
          <p:cNvGrpSpPr/>
          <p:nvPr/>
        </p:nvGrpSpPr>
        <p:grpSpPr>
          <a:xfrm>
            <a:off x="-127875" y="-50104"/>
            <a:ext cx="12447749" cy="6908104"/>
            <a:chOff x="-193129" y="-50104"/>
            <a:chExt cx="12447749" cy="6908104"/>
          </a:xfrm>
        </p:grpSpPr>
        <p:pic>
          <p:nvPicPr>
            <p:cNvPr id="2" name="Picture 1">
              <a:extLst>
                <a:ext uri="{FF2B5EF4-FFF2-40B4-BE49-F238E27FC236}">
                  <a16:creationId xmlns:a16="http://schemas.microsoft.com/office/drawing/2014/main" id="{1748A2E8-D115-ED1D-528C-3FAC8181B14D}"/>
                </a:ext>
              </a:extLst>
            </p:cNvPr>
            <p:cNvPicPr>
              <a:picLocks noChangeAspect="1"/>
            </p:cNvPicPr>
            <p:nvPr/>
          </p:nvPicPr>
          <p:blipFill rotWithShape="1">
            <a:blip r:embed="rId2"/>
            <a:srcRect t="-1" r="1267" b="20"/>
            <a:stretch/>
          </p:blipFill>
          <p:spPr>
            <a:xfrm>
              <a:off x="-62620" y="-50104"/>
              <a:ext cx="12317240" cy="6908104"/>
            </a:xfrm>
            <a:prstGeom prst="rect">
              <a:avLst/>
            </a:prstGeom>
          </p:spPr>
        </p:pic>
        <p:pic>
          <p:nvPicPr>
            <p:cNvPr id="3" name="Picture 2" descr="Không có mô tả ảnh.">
              <a:extLst>
                <a:ext uri="{FF2B5EF4-FFF2-40B4-BE49-F238E27FC236}">
                  <a16:creationId xmlns:a16="http://schemas.microsoft.com/office/drawing/2014/main" id="{6A0FD83D-3B51-71FB-3C0B-5C7B1866A987}"/>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4415" b="95791" l="9926" r="89578">
                          <a14:foregroundMark x1="41439" y1="7803" x2="57568" y2="15400"/>
                          <a14:foregroundMark x1="48139" y1="4620" x2="59926" y2="15606"/>
                          <a14:foregroundMark x1="30397" y1="26489" x2="54218" y2="42608"/>
                          <a14:foregroundMark x1="57568" y1="22690" x2="70223" y2="37680"/>
                          <a14:foregroundMark x1="55211" y1="26078" x2="67122" y2="33470"/>
                          <a14:foregroundMark x1="29529" y1="30903" x2="43921" y2="36242"/>
                          <a14:foregroundMark x1="36476" y1="29671" x2="41687" y2="29261"/>
                          <a14:foregroundMark x1="36725" y1="24743" x2="42432" y2="29466"/>
                          <a14:foregroundMark x1="48015" y1="89630" x2="46774" y2="94456"/>
                          <a14:foregroundMark x1="62779" y1="89014" x2="65261" y2="94251"/>
                          <a14:foregroundMark x1="58313" y1="92197" x2="63275" y2="95791"/>
                          <a14:foregroundMark x1="33375" y1="28645" x2="32878" y2="39220"/>
                          <a14:foregroundMark x1="59057" y1="28337" x2="67370" y2="30903"/>
                          <a14:foregroundMark x1="62779" y1="24743" x2="66005" y2="34805"/>
                        </a14:backgroundRemoval>
                      </a14:imgEffect>
                    </a14:imgLayer>
                  </a14:imgProps>
                </a:ext>
                <a:ext uri="{28A0092B-C50C-407E-A947-70E740481C1C}">
                  <a14:useLocalDpi xmlns:a14="http://schemas.microsoft.com/office/drawing/2010/main" val="0"/>
                </a:ext>
              </a:extLst>
            </a:blip>
            <a:stretch>
              <a:fillRect/>
            </a:stretch>
          </p:blipFill>
          <p:spPr bwMode="auto">
            <a:xfrm>
              <a:off x="-193129" y="4679481"/>
              <a:ext cx="1802724" cy="2178519"/>
            </a:xfrm>
            <a:prstGeom prst="rect">
              <a:avLst/>
            </a:prstGeom>
            <a:noFill/>
            <a:extLst>
              <a:ext uri="{909E8E84-426E-40DD-AFC4-6F175D3DCCD1}">
                <a14:hiddenFill xmlns:a14="http://schemas.microsoft.com/office/drawing/2010/main">
                  <a:solidFill>
                    <a:srgbClr val="FFFFFF"/>
                  </a:solidFill>
                </a14:hiddenFill>
              </a:ext>
            </a:extLst>
          </p:spPr>
        </p:pic>
      </p:grpSp>
      <p:pic>
        <p:nvPicPr>
          <p:cNvPr id="9" name="Picture 8">
            <a:extLst>
              <a:ext uri="{FF2B5EF4-FFF2-40B4-BE49-F238E27FC236}">
                <a16:creationId xmlns:a16="http://schemas.microsoft.com/office/drawing/2014/main" id="{70B19808-D565-B454-8A58-6A0216D36A27}"/>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1016" b="96016" l="8000" r="93000">
                        <a14:foregroundMark x1="26333" y1="3906" x2="34222" y2="14609"/>
                        <a14:foregroundMark x1="18667" y1="9375" x2="24333" y2="14063"/>
                        <a14:foregroundMark x1="10444" y1="8281" x2="14778" y2="14375"/>
                        <a14:foregroundMark x1="41889" y1="1016" x2="47333" y2="8672"/>
                        <a14:foregroundMark x1="8444" y1="21719" x2="13889" y2="26875"/>
                        <a14:foregroundMark x1="8000" y1="23125" x2="9222" y2="25781"/>
                        <a14:foregroundMark x1="90111" y1="29922" x2="93111" y2="29141"/>
                        <a14:foregroundMark x1="54000" y1="52344" x2="66444" y2="63281"/>
                        <a14:foregroundMark x1="48111" y1="54375" x2="59444" y2="65781"/>
                        <a14:foregroundMark x1="34667" y1="70078" x2="45667" y2="75156"/>
                        <a14:foregroundMark x1="23333" y1="87500" x2="45333" y2="86563"/>
                        <a14:foregroundMark x1="11111" y1="90234" x2="21111" y2="96016"/>
                        <a14:foregroundMark x1="28222" y1="95156" x2="47111" y2="86328"/>
                        <a14:foregroundMark x1="91667" y1="31406" x2="86556" y2="36016"/>
                        <a14:foregroundMark x1="11222" y1="5547" x2="12778" y2="16641"/>
                      </a14:backgroundRemoval>
                    </a14:imgEffect>
                  </a14:imgLayer>
                </a14:imgProps>
              </a:ext>
            </a:extLst>
          </a:blip>
          <a:srcRect t="-6504" b="58669"/>
          <a:stretch/>
        </p:blipFill>
        <p:spPr>
          <a:xfrm>
            <a:off x="9222268" y="4663417"/>
            <a:ext cx="3277711" cy="2229849"/>
          </a:xfrm>
          <a:prstGeom prst="rect">
            <a:avLst/>
          </a:prstGeom>
        </p:spPr>
      </p:pic>
      <p:sp>
        <p:nvSpPr>
          <p:cNvPr id="17" name="Shape 233">
            <a:extLst>
              <a:ext uri="{FF2B5EF4-FFF2-40B4-BE49-F238E27FC236}">
                <a16:creationId xmlns:a16="http://schemas.microsoft.com/office/drawing/2014/main" id="{134E4444-E5F1-17D9-BD9F-A0F15B92C48E}"/>
              </a:ext>
            </a:extLst>
          </p:cNvPr>
          <p:cNvSpPr/>
          <p:nvPr/>
        </p:nvSpPr>
        <p:spPr>
          <a:xfrm>
            <a:off x="-539345" y="-74933"/>
            <a:ext cx="4693892" cy="1008674"/>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sz="2600" cap="none">
                <a:solidFill>
                  <a:srgbClr val="717172"/>
                </a:solidFill>
                <a:latin typeface="Lato Regular"/>
                <a:ea typeface="Lato Regular"/>
                <a:cs typeface="Lato Regular"/>
                <a:sym typeface="Lato Regular"/>
              </a:defRPr>
            </a:pPr>
            <a:r>
              <a:rPr kumimoji="0" lang="en-US" sz="4800" b="1" i="0" u="none" strike="noStrike" kern="1200" cap="none" spc="0" normalizeH="0" baseline="0" noProof="0" dirty="0" err="1">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Bài</a:t>
            </a:r>
            <a:r>
              <a:rPr kumimoji="0" lang="en-US" sz="4800" b="1" i="0" u="none" strike="noStrike" kern="1200" cap="none" spc="0" normalizeH="0" baseline="0" noProof="0" dirty="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 1: </a:t>
            </a:r>
            <a:r>
              <a:rPr kumimoji="0" lang="en-US" sz="4800" b="1" i="0" u="none" strike="noStrike" kern="1200" cap="none" spc="0" normalizeH="0" baseline="0" noProof="0" dirty="0" err="1">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Tính</a:t>
            </a:r>
            <a:endParaRPr kumimoji="0" sz="4800" b="1" i="0" u="none" strike="noStrike" kern="1200" cap="none" spc="0" normalizeH="0" baseline="0" noProof="0" dirty="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p:txBody>
      </p:sp>
      <p:sp>
        <p:nvSpPr>
          <p:cNvPr id="18" name="Text Box 4">
            <a:extLst>
              <a:ext uri="{FF2B5EF4-FFF2-40B4-BE49-F238E27FC236}">
                <a16:creationId xmlns:a16="http://schemas.microsoft.com/office/drawing/2014/main" id="{8DCDB1FF-86E2-1909-E1B2-865B1894EFF8}"/>
              </a:ext>
            </a:extLst>
          </p:cNvPr>
          <p:cNvSpPr txBox="1">
            <a:spLocks noChangeArrowheads="1"/>
          </p:cNvSpPr>
          <p:nvPr/>
        </p:nvSpPr>
        <p:spPr bwMode="auto">
          <a:xfrm>
            <a:off x="1152960" y="1298981"/>
            <a:ext cx="9231439" cy="830997"/>
          </a:xfrm>
          <a:prstGeom prst="rect">
            <a:avLst/>
          </a:prstGeom>
          <a:solidFill>
            <a:srgbClr val="00B05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
              </a:spcBef>
              <a:spcAft>
                <a:spcPts val="0"/>
              </a:spcAft>
              <a:buClrTx/>
              <a:buSzTx/>
              <a:buFontTx/>
              <a:buNone/>
              <a:tabLst/>
              <a:defRPr/>
            </a:pPr>
            <a:r>
              <a:rPr kumimoji="0" lang="en-US" altLang="en-US" sz="4800" b="1" i="0" u="none" strike="noStrike" kern="1200" cap="none" spc="0" normalizeH="0" baseline="0" noProof="0">
                <a:ln>
                  <a:noFill/>
                </a:ln>
                <a:solidFill>
                  <a:prstClr val="white"/>
                </a:solidFill>
                <a:effectLst/>
                <a:uLnTx/>
                <a:uFillTx/>
                <a:latin typeface="Arial" panose="020B0604020202020204" pitchFamily="34" charset="0"/>
                <a:ea typeface="+mn-ea"/>
                <a:cs typeface="+mn-cs"/>
              </a:rPr>
              <a:t>    </a:t>
            </a:r>
          </a:p>
        </p:txBody>
      </p:sp>
      <p:sp>
        <p:nvSpPr>
          <p:cNvPr id="11" name="Shape 233">
            <a:extLst>
              <a:ext uri="{FF2B5EF4-FFF2-40B4-BE49-F238E27FC236}">
                <a16:creationId xmlns:a16="http://schemas.microsoft.com/office/drawing/2014/main" id="{15723F0F-AAA0-1C77-63AA-01F36DEFA8D8}"/>
              </a:ext>
            </a:extLst>
          </p:cNvPr>
          <p:cNvSpPr/>
          <p:nvPr/>
        </p:nvSpPr>
        <p:spPr>
          <a:xfrm>
            <a:off x="2293583" y="1282067"/>
            <a:ext cx="5731735" cy="769313"/>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sz="2600" cap="none">
                <a:solidFill>
                  <a:srgbClr val="717172"/>
                </a:solidFill>
                <a:latin typeface="Lato Regular"/>
                <a:ea typeface="Lato Regular"/>
                <a:cs typeface="Lato Regular"/>
                <a:sym typeface="Lato Regular"/>
              </a:defRPr>
            </a:pPr>
            <a:r>
              <a:rPr kumimoji="0" lang="en-US" sz="3600" b="1" i="0" u="none" strike="noStrike" kern="1200" cap="none" spc="0" normalizeH="0" baseline="0" noProof="0">
                <a:ln>
                  <a:noFill/>
                </a:ln>
                <a:solidFill>
                  <a:srgbClr val="FFFF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a, </a:t>
            </a:r>
            <a:r>
              <a:rPr kumimoji="0" lang="en-US" sz="3600" b="1" i="0" u="none" strike="noStrike" kern="120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605,26 </a:t>
            </a:r>
            <a:r>
              <a:rPr kumimoji="0" lang="en-US" sz="36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 217,3</a:t>
            </a:r>
            <a:endParaRPr kumimoji="0" sz="36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p:txBody>
      </p:sp>
      <p:sp>
        <p:nvSpPr>
          <p:cNvPr id="20" name="Text Box 4">
            <a:extLst>
              <a:ext uri="{FF2B5EF4-FFF2-40B4-BE49-F238E27FC236}">
                <a16:creationId xmlns:a16="http://schemas.microsoft.com/office/drawing/2014/main" id="{4D18FDB9-ADA7-3C83-EC80-342F0BE7E782}"/>
              </a:ext>
            </a:extLst>
          </p:cNvPr>
          <p:cNvSpPr txBox="1">
            <a:spLocks noChangeArrowheads="1"/>
          </p:cNvSpPr>
          <p:nvPr/>
        </p:nvSpPr>
        <p:spPr bwMode="auto">
          <a:xfrm>
            <a:off x="1152960" y="2843476"/>
            <a:ext cx="9231439" cy="830997"/>
          </a:xfrm>
          <a:prstGeom prst="rect">
            <a:avLst/>
          </a:prstGeom>
          <a:solidFill>
            <a:srgbClr val="00B05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
              </a:spcBef>
              <a:spcAft>
                <a:spcPts val="0"/>
              </a:spcAft>
              <a:buClrTx/>
              <a:buSzTx/>
              <a:buFontTx/>
              <a:buNone/>
              <a:tabLst/>
              <a:defRPr/>
            </a:pPr>
            <a:r>
              <a:rPr kumimoji="0" lang="en-US" altLang="en-US" sz="4800" b="1" i="0" u="none" strike="noStrike" kern="1200" cap="none" spc="0" normalizeH="0" baseline="0" noProof="0">
                <a:ln>
                  <a:noFill/>
                </a:ln>
                <a:solidFill>
                  <a:prstClr val="white"/>
                </a:solidFill>
                <a:effectLst/>
                <a:uLnTx/>
                <a:uFillTx/>
                <a:latin typeface="Arial" panose="020B0604020202020204" pitchFamily="34" charset="0"/>
                <a:ea typeface="+mn-ea"/>
                <a:cs typeface="+mn-cs"/>
              </a:rPr>
              <a:t>    </a:t>
            </a:r>
          </a:p>
        </p:txBody>
      </p:sp>
      <p:sp>
        <p:nvSpPr>
          <p:cNvPr id="21" name="Shape 233">
            <a:extLst>
              <a:ext uri="{FF2B5EF4-FFF2-40B4-BE49-F238E27FC236}">
                <a16:creationId xmlns:a16="http://schemas.microsoft.com/office/drawing/2014/main" id="{FB220C03-7DD0-AA1E-8230-92C380E2396E}"/>
              </a:ext>
            </a:extLst>
          </p:cNvPr>
          <p:cNvSpPr/>
          <p:nvPr/>
        </p:nvSpPr>
        <p:spPr>
          <a:xfrm>
            <a:off x="2749263" y="2764878"/>
            <a:ext cx="5071774" cy="769313"/>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sz="2600" cap="none">
                <a:solidFill>
                  <a:srgbClr val="717172"/>
                </a:solidFill>
                <a:latin typeface="Lato Regular"/>
                <a:ea typeface="Lato Regular"/>
                <a:cs typeface="Lato Regular"/>
                <a:sym typeface="Lato Regular"/>
              </a:defRPr>
            </a:pPr>
            <a:r>
              <a:rPr kumimoji="0" lang="en-US" sz="3600" b="1" i="0" u="none" strike="noStrike" kern="120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 </a:t>
            </a:r>
            <a:r>
              <a:rPr kumimoji="0" lang="en-US" sz="3600" b="1" i="0" u="none" strike="noStrike" kern="1200" cap="none" spc="0" normalizeH="0" baseline="0" noProof="0">
                <a:ln>
                  <a:noFill/>
                </a:ln>
                <a:solidFill>
                  <a:srgbClr val="FFFF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b, </a:t>
            </a:r>
            <a:r>
              <a:rPr kumimoji="0" lang="en-US" sz="3600" b="1" i="0" u="none" strike="noStrike" kern="120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800,56 </a:t>
            </a:r>
            <a:r>
              <a:rPr kumimoji="0" lang="en-US" sz="36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 384,48</a:t>
            </a:r>
            <a:endParaRPr kumimoji="0" sz="36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p:txBody>
      </p:sp>
      <p:sp>
        <p:nvSpPr>
          <p:cNvPr id="23" name="Text Box 4">
            <a:extLst>
              <a:ext uri="{FF2B5EF4-FFF2-40B4-BE49-F238E27FC236}">
                <a16:creationId xmlns:a16="http://schemas.microsoft.com/office/drawing/2014/main" id="{EDAFAC12-2E6F-2D9E-3696-3CD7C557C24E}"/>
              </a:ext>
            </a:extLst>
          </p:cNvPr>
          <p:cNvSpPr txBox="1">
            <a:spLocks noChangeArrowheads="1"/>
          </p:cNvSpPr>
          <p:nvPr/>
        </p:nvSpPr>
        <p:spPr bwMode="auto">
          <a:xfrm>
            <a:off x="1152960" y="4387971"/>
            <a:ext cx="9231439" cy="830997"/>
          </a:xfrm>
          <a:prstGeom prst="rect">
            <a:avLst/>
          </a:prstGeom>
          <a:solidFill>
            <a:srgbClr val="00B05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
              </a:spcBef>
              <a:spcAft>
                <a:spcPts val="0"/>
              </a:spcAft>
              <a:buClrTx/>
              <a:buSzTx/>
              <a:buFontTx/>
              <a:buNone/>
              <a:tabLst/>
              <a:defRPr/>
            </a:pPr>
            <a:r>
              <a:rPr kumimoji="0" lang="en-US" altLang="en-US" sz="4800" b="1" i="0" u="none" strike="noStrike" kern="1200" cap="none" spc="0" normalizeH="0" baseline="0" noProof="0">
                <a:ln>
                  <a:noFill/>
                </a:ln>
                <a:solidFill>
                  <a:prstClr val="white"/>
                </a:solidFill>
                <a:effectLst/>
                <a:uLnTx/>
                <a:uFillTx/>
                <a:latin typeface="Arial" panose="020B0604020202020204" pitchFamily="34" charset="0"/>
                <a:ea typeface="+mn-ea"/>
                <a:cs typeface="+mn-cs"/>
              </a:rPr>
              <a:t>    </a:t>
            </a:r>
          </a:p>
        </p:txBody>
      </p:sp>
      <p:sp>
        <p:nvSpPr>
          <p:cNvPr id="24" name="Shape 233">
            <a:extLst>
              <a:ext uri="{FF2B5EF4-FFF2-40B4-BE49-F238E27FC236}">
                <a16:creationId xmlns:a16="http://schemas.microsoft.com/office/drawing/2014/main" id="{6EFD696E-39A9-8949-94ED-C71CA356040F}"/>
              </a:ext>
            </a:extLst>
          </p:cNvPr>
          <p:cNvSpPr/>
          <p:nvPr/>
        </p:nvSpPr>
        <p:spPr>
          <a:xfrm>
            <a:off x="2694147" y="4278760"/>
            <a:ext cx="5508823" cy="769313"/>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sz="2600" cap="none">
                <a:solidFill>
                  <a:srgbClr val="717172"/>
                </a:solidFill>
                <a:latin typeface="Lato Regular"/>
                <a:ea typeface="Lato Regular"/>
                <a:cs typeface="Lato Regular"/>
                <a:sym typeface="Lato Regular"/>
              </a:defRPr>
            </a:pPr>
            <a:r>
              <a:rPr kumimoji="0" lang="en-US" sz="3600" b="1" i="0" u="none" strike="noStrike" kern="1200" cap="none" spc="0" normalizeH="0" baseline="0" noProof="0">
                <a:ln>
                  <a:noFill/>
                </a:ln>
                <a:solidFill>
                  <a:srgbClr val="FFFF00"/>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c, </a:t>
            </a:r>
            <a:r>
              <a:rPr kumimoji="0" lang="en-US" sz="3600" b="1" i="0" u="none" strike="noStrike" kern="120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16,39 </a:t>
            </a:r>
            <a:r>
              <a:rPr kumimoji="0" lang="en-US" sz="36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Lato Regular"/>
              </a:rPr>
              <a:t>+ 5,25 – 10,3</a:t>
            </a:r>
            <a:endParaRPr kumimoji="0" sz="36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Lato Regular"/>
            </a:endParaRPr>
          </a:p>
        </p:txBody>
      </p:sp>
    </p:spTree>
    <p:extLst>
      <p:ext uri="{BB962C8B-B14F-4D97-AF65-F5344CB8AC3E}">
        <p14:creationId xmlns:p14="http://schemas.microsoft.com/office/powerpoint/2010/main" val="194005705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wipe(left)">
                                      <p:cBhvr>
                                        <p:cTn id="15" dur="500"/>
                                        <p:tgtEl>
                                          <p:spTgt spid="21"/>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wipe(left)">
                                      <p:cBhvr>
                                        <p:cTn id="19"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1" grpId="0" animBg="1"/>
      <p:bldP spid="21" grpId="0" animBg="1"/>
      <p:bldP spid="2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7696FA8-EBB7-4698-B866-F6CCFA09AE2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1" name="Content Placeholder 12">
            <a:extLst>
              <a:ext uri="{FF2B5EF4-FFF2-40B4-BE49-F238E27FC236}">
                <a16:creationId xmlns:a16="http://schemas.microsoft.com/office/drawing/2014/main" id="{5A1AB604-F241-4461-A99C-D93568FF1ED4}"/>
              </a:ext>
            </a:extLst>
          </p:cNvPr>
          <p:cNvPicPr>
            <a:picLocks noGrp="1" noChangeAspect="1"/>
          </p:cNvPicPr>
          <p:nvPr>
            <p:ph idx="4294967295"/>
          </p:nvPr>
        </p:nvPicPr>
        <p:blipFill>
          <a:blip r:embed="rId6">
            <a:extLst>
              <a:ext uri="{28A0092B-C50C-407E-A947-70E740481C1C}">
                <a14:useLocalDpi xmlns:a14="http://schemas.microsoft.com/office/drawing/2010/main" val="0"/>
              </a:ext>
            </a:extLst>
          </a:blip>
          <a:stretch>
            <a:fillRect/>
          </a:stretch>
        </p:blipFill>
        <p:spPr>
          <a:xfrm rot="19540099">
            <a:off x="1" y="7038975"/>
            <a:ext cx="1800225" cy="1290639"/>
          </a:xfrm>
          <a:prstGeom prst="rect">
            <a:avLst/>
          </a:prstGeom>
        </p:spPr>
      </p:pic>
      <p:pic>
        <p:nvPicPr>
          <p:cNvPr id="12" name="StarWarsMainSong-Williams_3dkp">
            <a:hlinkClick r:id="" action="ppaction://media"/>
            <a:extLst>
              <a:ext uri="{FF2B5EF4-FFF2-40B4-BE49-F238E27FC236}">
                <a16:creationId xmlns:a16="http://schemas.microsoft.com/office/drawing/2014/main" id="{480A3E1C-6B00-429B-A1DA-83DE2479C501}"/>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970472" y="5867272"/>
            <a:ext cx="776424" cy="776424"/>
          </a:xfrm>
          <a:prstGeom prst="rect">
            <a:avLst/>
          </a:prstGeom>
        </p:spPr>
      </p:pic>
      <p:pic>
        <p:nvPicPr>
          <p:cNvPr id="3" name="Picture 2">
            <a:extLst>
              <a:ext uri="{FF2B5EF4-FFF2-40B4-BE49-F238E27FC236}">
                <a16:creationId xmlns:a16="http://schemas.microsoft.com/office/drawing/2014/main" id="{FF9B053A-5DD8-4287-8390-32AF6419FE32}"/>
              </a:ext>
            </a:extLst>
          </p:cNvPr>
          <p:cNvPicPr>
            <a:picLocks noChangeAspect="1"/>
          </p:cNvPicPr>
          <p:nvPr/>
        </p:nvPicPr>
        <p:blipFill>
          <a:blip r:embed="rId8"/>
          <a:stretch>
            <a:fillRect/>
          </a:stretch>
        </p:blipFill>
        <p:spPr>
          <a:xfrm>
            <a:off x="4902013" y="2198368"/>
            <a:ext cx="5273497" cy="1438781"/>
          </a:xfrm>
          <a:prstGeom prst="rect">
            <a:avLst/>
          </a:prstGeom>
        </p:spPr>
      </p:pic>
      <p:pic>
        <p:nvPicPr>
          <p:cNvPr id="4" name="Picture 3">
            <a:extLst>
              <a:ext uri="{FF2B5EF4-FFF2-40B4-BE49-F238E27FC236}">
                <a16:creationId xmlns:a16="http://schemas.microsoft.com/office/drawing/2014/main" id="{E9C16779-3042-49D0-B4E3-00A8F1E1F2C2}"/>
              </a:ext>
            </a:extLst>
          </p:cNvPr>
          <p:cNvPicPr>
            <a:picLocks noChangeAspect="1"/>
          </p:cNvPicPr>
          <p:nvPr/>
        </p:nvPicPr>
        <p:blipFill>
          <a:blip r:embed="rId9"/>
          <a:stretch>
            <a:fillRect/>
          </a:stretch>
        </p:blipFill>
        <p:spPr>
          <a:xfrm>
            <a:off x="3429000" y="3413760"/>
            <a:ext cx="6705600" cy="1795371"/>
          </a:xfrm>
          <a:prstGeom prst="rect">
            <a:avLst/>
          </a:prstGeom>
        </p:spPr>
      </p:pic>
      <p:pic>
        <p:nvPicPr>
          <p:cNvPr id="14" name="Picture 13">
            <a:extLst>
              <a:ext uri="{FF2B5EF4-FFF2-40B4-BE49-F238E27FC236}">
                <a16:creationId xmlns:a16="http://schemas.microsoft.com/office/drawing/2014/main" id="{73A9D39A-88AE-4C0C-A918-7B97F929F88D}"/>
              </a:ext>
            </a:extLst>
          </p:cNvPr>
          <p:cNvPicPr>
            <a:picLocks noChangeAspect="1"/>
          </p:cNvPicPr>
          <p:nvPr/>
        </p:nvPicPr>
        <p:blipFill>
          <a:blip r:embed="rId10"/>
          <a:stretch>
            <a:fillRect/>
          </a:stretch>
        </p:blipFill>
        <p:spPr>
          <a:xfrm rot="6808279">
            <a:off x="8538638" y="-2078429"/>
            <a:ext cx="1561383" cy="1531925"/>
          </a:xfrm>
          <a:prstGeom prst="rect">
            <a:avLst/>
          </a:prstGeom>
        </p:spPr>
      </p:pic>
      <p:pic>
        <p:nvPicPr>
          <p:cNvPr id="15" name="Picture 14">
            <a:extLst>
              <a:ext uri="{FF2B5EF4-FFF2-40B4-BE49-F238E27FC236}">
                <a16:creationId xmlns:a16="http://schemas.microsoft.com/office/drawing/2014/main" id="{2CB747AC-A23C-404B-9F53-97DBDB668D84}"/>
              </a:ext>
            </a:extLst>
          </p:cNvPr>
          <p:cNvPicPr>
            <a:picLocks noChangeAspect="1"/>
          </p:cNvPicPr>
          <p:nvPr/>
        </p:nvPicPr>
        <p:blipFill>
          <a:blip r:embed="rId10"/>
          <a:stretch>
            <a:fillRect/>
          </a:stretch>
        </p:blipFill>
        <p:spPr>
          <a:xfrm rot="8987376">
            <a:off x="12782908" y="1816428"/>
            <a:ext cx="1561383" cy="1531925"/>
          </a:xfrm>
          <a:prstGeom prst="rect">
            <a:avLst/>
          </a:prstGeom>
        </p:spPr>
      </p:pic>
      <p:pic>
        <p:nvPicPr>
          <p:cNvPr id="16" name="Picture 15">
            <a:extLst>
              <a:ext uri="{FF2B5EF4-FFF2-40B4-BE49-F238E27FC236}">
                <a16:creationId xmlns:a16="http://schemas.microsoft.com/office/drawing/2014/main" id="{3C461EC5-D54C-4648-89EC-29E6E0626DFB}"/>
              </a:ext>
            </a:extLst>
          </p:cNvPr>
          <p:cNvPicPr>
            <a:picLocks noChangeAspect="1"/>
          </p:cNvPicPr>
          <p:nvPr/>
        </p:nvPicPr>
        <p:blipFill>
          <a:blip r:embed="rId10"/>
          <a:stretch>
            <a:fillRect/>
          </a:stretch>
        </p:blipFill>
        <p:spPr>
          <a:xfrm rot="8987376">
            <a:off x="12318983" y="-1820721"/>
            <a:ext cx="1561383" cy="1531925"/>
          </a:xfrm>
          <a:prstGeom prst="rect">
            <a:avLst/>
          </a:prstGeom>
        </p:spPr>
      </p:pic>
      <p:pic>
        <p:nvPicPr>
          <p:cNvPr id="5" name="Picture 4" descr="Không có mô tả ảnh.">
            <a:extLst>
              <a:ext uri="{FF2B5EF4-FFF2-40B4-BE49-F238E27FC236}">
                <a16:creationId xmlns:a16="http://schemas.microsoft.com/office/drawing/2014/main" id="{3A4C96A3-7F01-C847-C428-FD87D7F1072D}"/>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4415" b="95791" l="9926" r="89578">
                        <a14:foregroundMark x1="41439" y1="7803" x2="57568" y2="15400"/>
                        <a14:foregroundMark x1="48139" y1="4620" x2="59926" y2="15606"/>
                        <a14:foregroundMark x1="30397" y1="26489" x2="54218" y2="42608"/>
                        <a14:foregroundMark x1="57568" y1="22690" x2="70223" y2="37680"/>
                        <a14:foregroundMark x1="55211" y1="26078" x2="67122" y2="33470"/>
                        <a14:foregroundMark x1="29529" y1="30903" x2="43921" y2="36242"/>
                        <a14:foregroundMark x1="36476" y1="29671" x2="41687" y2="29261"/>
                        <a14:foregroundMark x1="36725" y1="24743" x2="42432" y2="29466"/>
                        <a14:foregroundMark x1="48015" y1="89630" x2="46774" y2="94456"/>
                        <a14:foregroundMark x1="62779" y1="89014" x2="65261" y2="94251"/>
                        <a14:foregroundMark x1="58313" y1="92197" x2="63275" y2="95791"/>
                        <a14:foregroundMark x1="33375" y1="28645" x2="32878" y2="39220"/>
                        <a14:foregroundMark x1="59057" y1="28337" x2="67370" y2="30903"/>
                        <a14:foregroundMark x1="62779" y1="24743" x2="66005" y2="34805"/>
                      </a14:backgroundRemoval>
                    </a14:imgEffect>
                  </a14:imgLayer>
                </a14:imgProps>
              </a:ext>
              <a:ext uri="{28A0092B-C50C-407E-A947-70E740481C1C}">
                <a14:useLocalDpi xmlns:a14="http://schemas.microsoft.com/office/drawing/2010/main" val="0"/>
              </a:ext>
            </a:extLst>
          </a:blip>
          <a:stretch>
            <a:fillRect/>
          </a:stretch>
        </p:blipFill>
        <p:spPr bwMode="auto">
          <a:xfrm>
            <a:off x="298212" y="650744"/>
            <a:ext cx="4086398" cy="49382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49172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par>
                                    <p:cTn id="7" presetID="6" presetClass="emph" presetSubtype="0" fill="hold" nodeType="withEffect">
                                      <p:stCondLst>
                                        <p:cond delay="0"/>
                                      </p:stCondLst>
                                      <p:childTnLst>
                                        <p:animScale>
                                          <p:cBhvr>
                                            <p:cTn id="8" dur="10000" fill="hold"/>
                                            <p:tgtEl>
                                              <p:spTgt spid="10"/>
                                            </p:tgtEl>
                                          </p:cBhvr>
                                          <p:by x="150000" y="150000"/>
                                        </p:animScale>
                                      </p:childTnLst>
                                    </p:cTn>
                                  </p:par>
                                  <p:par>
                                    <p:cTn id="9" presetID="2" presetClass="entr" presetSubtype="12" fill="hold" nodeType="withEffect" p14:presetBounceEnd="77000">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14:bounceEnd="77000">
                                          <p:cBhvr additive="base">
                                            <p:cTn id="11" dur="1500" fill="hold"/>
                                            <p:tgtEl>
                                              <p:spTgt spid="15"/>
                                            </p:tgtEl>
                                            <p:attrNameLst>
                                              <p:attrName>ppt_x</p:attrName>
                                            </p:attrNameLst>
                                          </p:cBhvr>
                                          <p:tavLst>
                                            <p:tav tm="0">
                                              <p:val>
                                                <p:strVal val="0-#ppt_w/2"/>
                                              </p:val>
                                            </p:tav>
                                            <p:tav tm="100000">
                                              <p:val>
                                                <p:strVal val="#ppt_x"/>
                                              </p:val>
                                            </p:tav>
                                          </p:tavLst>
                                        </p:anim>
                                        <p:anim calcmode="lin" valueType="num" p14:bounceEnd="77000">
                                          <p:cBhvr additive="base">
                                            <p:cTn id="12" dur="15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12" fill="hold" nodeType="withEffect" p14:presetBounceEnd="77000">
                                      <p:stCondLst>
                                        <p:cond delay="200"/>
                                      </p:stCondLst>
                                      <p:childTnLst>
                                        <p:set>
                                          <p:cBhvr>
                                            <p:cTn id="14" dur="1" fill="hold">
                                              <p:stCondLst>
                                                <p:cond delay="0"/>
                                              </p:stCondLst>
                                            </p:cTn>
                                            <p:tgtEl>
                                              <p:spTgt spid="16"/>
                                            </p:tgtEl>
                                            <p:attrNameLst>
                                              <p:attrName>style.visibility</p:attrName>
                                            </p:attrNameLst>
                                          </p:cBhvr>
                                          <p:to>
                                            <p:strVal val="visible"/>
                                          </p:to>
                                        </p:set>
                                        <p:anim calcmode="lin" valueType="num" p14:bounceEnd="77000">
                                          <p:cBhvr additive="base">
                                            <p:cTn id="15" dur="1500" fill="hold"/>
                                            <p:tgtEl>
                                              <p:spTgt spid="16"/>
                                            </p:tgtEl>
                                            <p:attrNameLst>
                                              <p:attrName>ppt_x</p:attrName>
                                            </p:attrNameLst>
                                          </p:cBhvr>
                                          <p:tavLst>
                                            <p:tav tm="0">
                                              <p:val>
                                                <p:strVal val="0-#ppt_w/2"/>
                                              </p:val>
                                            </p:tav>
                                            <p:tav tm="100000">
                                              <p:val>
                                                <p:strVal val="#ppt_x"/>
                                              </p:val>
                                            </p:tav>
                                          </p:tavLst>
                                        </p:anim>
                                        <p:anim calcmode="lin" valueType="num" p14:bounceEnd="77000">
                                          <p:cBhvr additive="base">
                                            <p:cTn id="16" dur="1500" fill="hold"/>
                                            <p:tgtEl>
                                              <p:spTgt spid="16"/>
                                            </p:tgtEl>
                                            <p:attrNameLst>
                                              <p:attrName>ppt_y</p:attrName>
                                            </p:attrNameLst>
                                          </p:cBhvr>
                                          <p:tavLst>
                                            <p:tav tm="0">
                                              <p:val>
                                                <p:strVal val="1+#ppt_h/2"/>
                                              </p:val>
                                            </p:tav>
                                            <p:tav tm="100000">
                                              <p:val>
                                                <p:strVal val="#ppt_y"/>
                                              </p:val>
                                            </p:tav>
                                          </p:tavLst>
                                        </p:anim>
                                      </p:childTnLst>
                                    </p:cTn>
                                  </p:par>
                                  <p:par>
                                    <p:cTn id="17" presetID="2" presetClass="entr" presetSubtype="12" fill="hold" nodeType="withEffect" p14:presetBounceEnd="77000">
                                      <p:stCondLst>
                                        <p:cond delay="100"/>
                                      </p:stCondLst>
                                      <p:childTnLst>
                                        <p:set>
                                          <p:cBhvr>
                                            <p:cTn id="18" dur="1" fill="hold">
                                              <p:stCondLst>
                                                <p:cond delay="0"/>
                                              </p:stCondLst>
                                            </p:cTn>
                                            <p:tgtEl>
                                              <p:spTgt spid="14"/>
                                            </p:tgtEl>
                                            <p:attrNameLst>
                                              <p:attrName>style.visibility</p:attrName>
                                            </p:attrNameLst>
                                          </p:cBhvr>
                                          <p:to>
                                            <p:strVal val="visible"/>
                                          </p:to>
                                        </p:set>
                                        <p:anim calcmode="lin" valueType="num" p14:bounceEnd="77000">
                                          <p:cBhvr additive="base">
                                            <p:cTn id="19" dur="1500" fill="hold"/>
                                            <p:tgtEl>
                                              <p:spTgt spid="14"/>
                                            </p:tgtEl>
                                            <p:attrNameLst>
                                              <p:attrName>ppt_x</p:attrName>
                                            </p:attrNameLst>
                                          </p:cBhvr>
                                          <p:tavLst>
                                            <p:tav tm="0">
                                              <p:val>
                                                <p:strVal val="0-#ppt_w/2"/>
                                              </p:val>
                                            </p:tav>
                                            <p:tav tm="100000">
                                              <p:val>
                                                <p:strVal val="#ppt_x"/>
                                              </p:val>
                                            </p:tav>
                                          </p:tavLst>
                                        </p:anim>
                                        <p:anim calcmode="lin" valueType="num" p14:bounceEnd="77000">
                                          <p:cBhvr additive="base">
                                            <p:cTn id="20" dur="1500" fill="hold"/>
                                            <p:tgtEl>
                                              <p:spTgt spid="14"/>
                                            </p:tgtEl>
                                            <p:attrNameLst>
                                              <p:attrName>ppt_y</p:attrName>
                                            </p:attrNameLst>
                                          </p:cBhvr>
                                          <p:tavLst>
                                            <p:tav tm="0">
                                              <p:val>
                                                <p:strVal val="1+#ppt_h/2"/>
                                              </p:val>
                                            </p:tav>
                                            <p:tav tm="100000">
                                              <p:val>
                                                <p:strVal val="#ppt_y"/>
                                              </p:val>
                                            </p:tav>
                                          </p:tavLst>
                                        </p:anim>
                                      </p:childTnLst>
                                    </p:cTn>
                                  </p:par>
                                  <p:par>
                                    <p:cTn id="21" presetID="2" presetClass="entr" presetSubtype="12" fill="hold" nodeType="withEffect" p14:presetBounceEnd="72000">
                                      <p:stCondLst>
                                        <p:cond delay="500"/>
                                      </p:stCondLst>
                                      <p:childTnLst>
                                        <p:set>
                                          <p:cBhvr>
                                            <p:cTn id="22" dur="1" fill="hold">
                                              <p:stCondLst>
                                                <p:cond delay="0"/>
                                              </p:stCondLst>
                                            </p:cTn>
                                            <p:tgtEl>
                                              <p:spTgt spid="3"/>
                                            </p:tgtEl>
                                            <p:attrNameLst>
                                              <p:attrName>style.visibility</p:attrName>
                                            </p:attrNameLst>
                                          </p:cBhvr>
                                          <p:to>
                                            <p:strVal val="visible"/>
                                          </p:to>
                                        </p:set>
                                        <p:anim calcmode="lin" valueType="num" p14:bounceEnd="72000">
                                          <p:cBhvr additive="base">
                                            <p:cTn id="23" dur="1500" fill="hold"/>
                                            <p:tgtEl>
                                              <p:spTgt spid="3"/>
                                            </p:tgtEl>
                                            <p:attrNameLst>
                                              <p:attrName>ppt_x</p:attrName>
                                            </p:attrNameLst>
                                          </p:cBhvr>
                                          <p:tavLst>
                                            <p:tav tm="0">
                                              <p:val>
                                                <p:strVal val="0-#ppt_w/2"/>
                                              </p:val>
                                            </p:tav>
                                            <p:tav tm="100000">
                                              <p:val>
                                                <p:strVal val="#ppt_x"/>
                                              </p:val>
                                            </p:tav>
                                          </p:tavLst>
                                        </p:anim>
                                        <p:anim calcmode="lin" valueType="num" p14:bounceEnd="72000">
                                          <p:cBhvr additive="base">
                                            <p:cTn id="24" dur="1500" fill="hold"/>
                                            <p:tgtEl>
                                              <p:spTgt spid="3"/>
                                            </p:tgtEl>
                                            <p:attrNameLst>
                                              <p:attrName>ppt_y</p:attrName>
                                            </p:attrNameLst>
                                          </p:cBhvr>
                                          <p:tavLst>
                                            <p:tav tm="0">
                                              <p:val>
                                                <p:strVal val="1+#ppt_h/2"/>
                                              </p:val>
                                            </p:tav>
                                            <p:tav tm="100000">
                                              <p:val>
                                                <p:strVal val="#ppt_y"/>
                                              </p:val>
                                            </p:tav>
                                          </p:tavLst>
                                        </p:anim>
                                      </p:childTnLst>
                                    </p:cTn>
                                  </p:par>
                                  <p:par>
                                    <p:cTn id="25" presetID="2" presetClass="entr" presetSubtype="12" fill="hold" nodeType="withEffect" p14:presetBounceEnd="72000">
                                      <p:stCondLst>
                                        <p:cond delay="800"/>
                                      </p:stCondLst>
                                      <p:childTnLst>
                                        <p:set>
                                          <p:cBhvr>
                                            <p:cTn id="26" dur="1" fill="hold">
                                              <p:stCondLst>
                                                <p:cond delay="0"/>
                                              </p:stCondLst>
                                            </p:cTn>
                                            <p:tgtEl>
                                              <p:spTgt spid="4"/>
                                            </p:tgtEl>
                                            <p:attrNameLst>
                                              <p:attrName>style.visibility</p:attrName>
                                            </p:attrNameLst>
                                          </p:cBhvr>
                                          <p:to>
                                            <p:strVal val="visible"/>
                                          </p:to>
                                        </p:set>
                                        <p:anim calcmode="lin" valueType="num" p14:bounceEnd="72000">
                                          <p:cBhvr additive="base">
                                            <p:cTn id="27" dur="1500" fill="hold"/>
                                            <p:tgtEl>
                                              <p:spTgt spid="4"/>
                                            </p:tgtEl>
                                            <p:attrNameLst>
                                              <p:attrName>ppt_x</p:attrName>
                                            </p:attrNameLst>
                                          </p:cBhvr>
                                          <p:tavLst>
                                            <p:tav tm="0">
                                              <p:val>
                                                <p:strVal val="0-#ppt_w/2"/>
                                              </p:val>
                                            </p:tav>
                                            <p:tav tm="100000">
                                              <p:val>
                                                <p:strVal val="#ppt_x"/>
                                              </p:val>
                                            </p:tav>
                                          </p:tavLst>
                                        </p:anim>
                                        <p:anim calcmode="lin" valueType="num" p14:bounceEnd="72000">
                                          <p:cBhvr additive="base">
                                            <p:cTn id="28" dur="1500" fill="hold"/>
                                            <p:tgtEl>
                                              <p:spTgt spid="4"/>
                                            </p:tgtEl>
                                            <p:attrNameLst>
                                              <p:attrName>ppt_y</p:attrName>
                                            </p:attrNameLst>
                                          </p:cBhvr>
                                          <p:tavLst>
                                            <p:tav tm="0">
                                              <p:val>
                                                <p:strVal val="1+#ppt_h/2"/>
                                              </p:val>
                                            </p:tav>
                                            <p:tav tm="100000">
                                              <p:val>
                                                <p:strVal val="#ppt_y"/>
                                              </p:val>
                                            </p:tav>
                                          </p:tavLst>
                                        </p:anim>
                                      </p:childTnLst>
                                    </p:cTn>
                                  </p:par>
                                  <p:par>
                                    <p:cTn id="29" presetID="50" presetClass="path" presetSubtype="0" accel="50000" decel="50000" fill="hold" nodeType="withEffect">
                                      <p:stCondLst>
                                        <p:cond delay="800"/>
                                      </p:stCondLst>
                                      <p:childTnLst>
                                        <p:animMotion origin="layout" path="M -0.11736 0.05216 L -0.17222 0.0642 C -0.1967 0.06945 -0.23038 0.02716 -0.23316 -0.01265 L -0.23924 -0.10154 " pathEditMode="relative" rAng="10380000" ptsTypes="AAAA">
                                          <p:cBhvr>
                                            <p:cTn id="30" dur="2000" fill="hold"/>
                                            <p:tgtEl>
                                              <p:spTgt spid="15"/>
                                            </p:tgtEl>
                                            <p:attrNameLst>
                                              <p:attrName>ppt_x</p:attrName>
                                              <p:attrName>ppt_y</p:attrName>
                                            </p:attrNameLst>
                                          </p:cBhvr>
                                          <p:rCtr x="-6094" y="-7685"/>
                                        </p:animMotion>
                                      </p:childTnLst>
                                    </p:cTn>
                                  </p:par>
                                </p:childTnLst>
                              </p:cTn>
                            </p:par>
                          </p:childTnLst>
                        </p:cTn>
                      </p:par>
                      <p:par>
                        <p:cTn id="31" fill="hold">
                          <p:stCondLst>
                            <p:cond delay="indefinite"/>
                          </p:stCondLst>
                          <p:childTnLst>
                            <p:par>
                              <p:cTn id="32" fill="hold">
                                <p:stCondLst>
                                  <p:cond delay="0"/>
                                </p:stCondLst>
                                <p:childTnLst>
                                  <p:par>
                                    <p:cTn id="33" presetID="37" presetClass="path" presetSubtype="0" accel="50000" decel="50000" fill="hold" nodeType="clickEffect">
                                      <p:stCondLst>
                                        <p:cond delay="0"/>
                                      </p:stCondLst>
                                      <p:childTnLst>
                                        <p:animMotion origin="layout" path="M 1.66667E-6 -1.11111E-6 L 0.07278 -0.00509 C 0.08789 -0.00625 0.11081 -0.00671 0.13463 -0.00671 C 0.16185 -0.00671 0.18372 -0.00625 0.19883 -0.00509 L 0.27187 -1.11111E-6 " pathEditMode="relative" rAng="0" ptsTypes="AAAAA">
                                          <p:cBhvr>
                                            <p:cTn id="34" dur="2000" fill="hold"/>
                                            <p:tgtEl>
                                              <p:spTgt spid="5"/>
                                            </p:tgtEl>
                                            <p:attrNameLst>
                                              <p:attrName>ppt_x</p:attrName>
                                              <p:attrName>ppt_y</p:attrName>
                                            </p:attrNameLst>
                                          </p:cBhvr>
                                          <p:rCtr x="13594" y="-347"/>
                                        </p:animMotion>
                                      </p:childTnLst>
                                    </p:cTn>
                                  </p:par>
                                </p:childTnLst>
                              </p:cTn>
                            </p:par>
                          </p:childTnLst>
                        </p:cTn>
                      </p:par>
                    </p:childTnLst>
                  </p:cTn>
                  <p:prevCondLst>
                    <p:cond evt="onPrev" delay="0">
                      <p:tgtEl>
                        <p:sldTgt/>
                      </p:tgtEl>
                    </p:cond>
                  </p:prevCondLst>
                  <p:nextCondLst>
                    <p:cond evt="onNext" delay="0">
                      <p:tgtEl>
                        <p:sldTgt/>
                      </p:tgtEl>
                    </p:cond>
                  </p:nextCondLst>
                </p:seq>
                <p:audio>
                  <p:cMediaNode vol="9756" numSld="7" showWhenStopped="0">
                    <p:cTn id="35" repeatCount="indefinite" fill="hold" display="0">
                      <p:stCondLst>
                        <p:cond delay="indefinite"/>
                      </p:stCondLst>
                      <p:endCondLst>
                        <p:cond evt="onStopAudio" delay="0">
                          <p:tgtEl>
                            <p:sldTgt/>
                          </p:tgtEl>
                        </p:cond>
                      </p:endCondLst>
                    </p:cTn>
                    <p:tgtEl>
                      <p:spTgt spid="12"/>
                    </p:tgtEl>
                  </p:cMediaNode>
                </p:audio>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par>
                                    <p:cTn id="7" presetID="6" presetClass="emph" presetSubtype="0" fill="hold" nodeType="withEffect">
                                      <p:stCondLst>
                                        <p:cond delay="0"/>
                                      </p:stCondLst>
                                      <p:childTnLst>
                                        <p:animScale>
                                          <p:cBhvr>
                                            <p:cTn id="8" dur="10000" fill="hold"/>
                                            <p:tgtEl>
                                              <p:spTgt spid="10"/>
                                            </p:tgtEl>
                                          </p:cBhvr>
                                          <p:by x="150000" y="150000"/>
                                        </p:animScale>
                                      </p:childTnLst>
                                    </p:cTn>
                                  </p:par>
                                  <p:par>
                                    <p:cTn id="9" presetID="2" presetClass="entr" presetSubtype="12"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500" fill="hold"/>
                                            <p:tgtEl>
                                              <p:spTgt spid="15"/>
                                            </p:tgtEl>
                                            <p:attrNameLst>
                                              <p:attrName>ppt_x</p:attrName>
                                            </p:attrNameLst>
                                          </p:cBhvr>
                                          <p:tavLst>
                                            <p:tav tm="0">
                                              <p:val>
                                                <p:strVal val="0-#ppt_w/2"/>
                                              </p:val>
                                            </p:tav>
                                            <p:tav tm="100000">
                                              <p:val>
                                                <p:strVal val="#ppt_x"/>
                                              </p:val>
                                            </p:tav>
                                          </p:tavLst>
                                        </p:anim>
                                        <p:anim calcmode="lin" valueType="num">
                                          <p:cBhvr additive="base">
                                            <p:cTn id="12" dur="15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12" fill="hold" nodeType="withEffect">
                                      <p:stCondLst>
                                        <p:cond delay="2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1500" fill="hold"/>
                                            <p:tgtEl>
                                              <p:spTgt spid="16"/>
                                            </p:tgtEl>
                                            <p:attrNameLst>
                                              <p:attrName>ppt_x</p:attrName>
                                            </p:attrNameLst>
                                          </p:cBhvr>
                                          <p:tavLst>
                                            <p:tav tm="0">
                                              <p:val>
                                                <p:strVal val="0-#ppt_w/2"/>
                                              </p:val>
                                            </p:tav>
                                            <p:tav tm="100000">
                                              <p:val>
                                                <p:strVal val="#ppt_x"/>
                                              </p:val>
                                            </p:tav>
                                          </p:tavLst>
                                        </p:anim>
                                        <p:anim calcmode="lin" valueType="num">
                                          <p:cBhvr additive="base">
                                            <p:cTn id="16" dur="1500" fill="hold"/>
                                            <p:tgtEl>
                                              <p:spTgt spid="16"/>
                                            </p:tgtEl>
                                            <p:attrNameLst>
                                              <p:attrName>ppt_y</p:attrName>
                                            </p:attrNameLst>
                                          </p:cBhvr>
                                          <p:tavLst>
                                            <p:tav tm="0">
                                              <p:val>
                                                <p:strVal val="1+#ppt_h/2"/>
                                              </p:val>
                                            </p:tav>
                                            <p:tav tm="100000">
                                              <p:val>
                                                <p:strVal val="#ppt_y"/>
                                              </p:val>
                                            </p:tav>
                                          </p:tavLst>
                                        </p:anim>
                                      </p:childTnLst>
                                    </p:cTn>
                                  </p:par>
                                  <p:par>
                                    <p:cTn id="17" presetID="2" presetClass="entr" presetSubtype="12" fill="hold" nodeType="withEffect">
                                      <p:stCondLst>
                                        <p:cond delay="10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500" fill="hold"/>
                                            <p:tgtEl>
                                              <p:spTgt spid="14"/>
                                            </p:tgtEl>
                                            <p:attrNameLst>
                                              <p:attrName>ppt_x</p:attrName>
                                            </p:attrNameLst>
                                          </p:cBhvr>
                                          <p:tavLst>
                                            <p:tav tm="0">
                                              <p:val>
                                                <p:strVal val="0-#ppt_w/2"/>
                                              </p:val>
                                            </p:tav>
                                            <p:tav tm="100000">
                                              <p:val>
                                                <p:strVal val="#ppt_x"/>
                                              </p:val>
                                            </p:tav>
                                          </p:tavLst>
                                        </p:anim>
                                        <p:anim calcmode="lin" valueType="num">
                                          <p:cBhvr additive="base">
                                            <p:cTn id="20" dur="1500" fill="hold"/>
                                            <p:tgtEl>
                                              <p:spTgt spid="14"/>
                                            </p:tgtEl>
                                            <p:attrNameLst>
                                              <p:attrName>ppt_y</p:attrName>
                                            </p:attrNameLst>
                                          </p:cBhvr>
                                          <p:tavLst>
                                            <p:tav tm="0">
                                              <p:val>
                                                <p:strVal val="1+#ppt_h/2"/>
                                              </p:val>
                                            </p:tav>
                                            <p:tav tm="100000">
                                              <p:val>
                                                <p:strVal val="#ppt_y"/>
                                              </p:val>
                                            </p:tav>
                                          </p:tavLst>
                                        </p:anim>
                                      </p:childTnLst>
                                    </p:cTn>
                                  </p:par>
                                  <p:par>
                                    <p:cTn id="21" presetID="2" presetClass="entr" presetSubtype="12" fill="hold" nodeType="withEffect">
                                      <p:stCondLst>
                                        <p:cond delay="50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1500" fill="hold"/>
                                            <p:tgtEl>
                                              <p:spTgt spid="3"/>
                                            </p:tgtEl>
                                            <p:attrNameLst>
                                              <p:attrName>ppt_x</p:attrName>
                                            </p:attrNameLst>
                                          </p:cBhvr>
                                          <p:tavLst>
                                            <p:tav tm="0">
                                              <p:val>
                                                <p:strVal val="0-#ppt_w/2"/>
                                              </p:val>
                                            </p:tav>
                                            <p:tav tm="100000">
                                              <p:val>
                                                <p:strVal val="#ppt_x"/>
                                              </p:val>
                                            </p:tav>
                                          </p:tavLst>
                                        </p:anim>
                                        <p:anim calcmode="lin" valueType="num">
                                          <p:cBhvr additive="base">
                                            <p:cTn id="24" dur="1500" fill="hold"/>
                                            <p:tgtEl>
                                              <p:spTgt spid="3"/>
                                            </p:tgtEl>
                                            <p:attrNameLst>
                                              <p:attrName>ppt_y</p:attrName>
                                            </p:attrNameLst>
                                          </p:cBhvr>
                                          <p:tavLst>
                                            <p:tav tm="0">
                                              <p:val>
                                                <p:strVal val="1+#ppt_h/2"/>
                                              </p:val>
                                            </p:tav>
                                            <p:tav tm="100000">
                                              <p:val>
                                                <p:strVal val="#ppt_y"/>
                                              </p:val>
                                            </p:tav>
                                          </p:tavLst>
                                        </p:anim>
                                      </p:childTnLst>
                                    </p:cTn>
                                  </p:par>
                                  <p:par>
                                    <p:cTn id="25" presetID="2" presetClass="entr" presetSubtype="12" fill="hold" nodeType="withEffect">
                                      <p:stCondLst>
                                        <p:cond delay="800"/>
                                      </p:stCondLst>
                                      <p:childTnLst>
                                        <p:set>
                                          <p:cBhvr>
                                            <p:cTn id="26" dur="1" fill="hold">
                                              <p:stCondLst>
                                                <p:cond delay="0"/>
                                              </p:stCondLst>
                                            </p:cTn>
                                            <p:tgtEl>
                                              <p:spTgt spid="4"/>
                                            </p:tgtEl>
                                            <p:attrNameLst>
                                              <p:attrName>style.visibility</p:attrName>
                                            </p:attrNameLst>
                                          </p:cBhvr>
                                          <p:to>
                                            <p:strVal val="visible"/>
                                          </p:to>
                                        </p:set>
                                        <p:anim calcmode="lin" valueType="num">
                                          <p:cBhvr additive="base">
                                            <p:cTn id="27" dur="1500" fill="hold"/>
                                            <p:tgtEl>
                                              <p:spTgt spid="4"/>
                                            </p:tgtEl>
                                            <p:attrNameLst>
                                              <p:attrName>ppt_x</p:attrName>
                                            </p:attrNameLst>
                                          </p:cBhvr>
                                          <p:tavLst>
                                            <p:tav tm="0">
                                              <p:val>
                                                <p:strVal val="0-#ppt_w/2"/>
                                              </p:val>
                                            </p:tav>
                                            <p:tav tm="100000">
                                              <p:val>
                                                <p:strVal val="#ppt_x"/>
                                              </p:val>
                                            </p:tav>
                                          </p:tavLst>
                                        </p:anim>
                                        <p:anim calcmode="lin" valueType="num">
                                          <p:cBhvr additive="base">
                                            <p:cTn id="28" dur="1500" fill="hold"/>
                                            <p:tgtEl>
                                              <p:spTgt spid="4"/>
                                            </p:tgtEl>
                                            <p:attrNameLst>
                                              <p:attrName>ppt_y</p:attrName>
                                            </p:attrNameLst>
                                          </p:cBhvr>
                                          <p:tavLst>
                                            <p:tav tm="0">
                                              <p:val>
                                                <p:strVal val="1+#ppt_h/2"/>
                                              </p:val>
                                            </p:tav>
                                            <p:tav tm="100000">
                                              <p:val>
                                                <p:strVal val="#ppt_y"/>
                                              </p:val>
                                            </p:tav>
                                          </p:tavLst>
                                        </p:anim>
                                      </p:childTnLst>
                                    </p:cTn>
                                  </p:par>
                                  <p:par>
                                    <p:cTn id="29" presetID="50" presetClass="path" presetSubtype="0" accel="50000" decel="50000" fill="hold" nodeType="withEffect">
                                      <p:stCondLst>
                                        <p:cond delay="800"/>
                                      </p:stCondLst>
                                      <p:childTnLst>
                                        <p:animMotion origin="layout" path="M -0.11736 0.05216 L -0.17222 0.0642 C -0.1967 0.06945 -0.23038 0.02716 -0.23316 -0.01265 L -0.23924 -0.10154 " pathEditMode="relative" rAng="10380000" ptsTypes="AAAA">
                                          <p:cBhvr>
                                            <p:cTn id="30" dur="2000" fill="hold"/>
                                            <p:tgtEl>
                                              <p:spTgt spid="15"/>
                                            </p:tgtEl>
                                            <p:attrNameLst>
                                              <p:attrName>ppt_x</p:attrName>
                                              <p:attrName>ppt_y</p:attrName>
                                            </p:attrNameLst>
                                          </p:cBhvr>
                                          <p:rCtr x="-6094" y="-7685"/>
                                        </p:animMotion>
                                      </p:childTnLst>
                                    </p:cTn>
                                  </p:par>
                                </p:childTnLst>
                              </p:cTn>
                            </p:par>
                          </p:childTnLst>
                        </p:cTn>
                      </p:par>
                      <p:par>
                        <p:cTn id="31" fill="hold">
                          <p:stCondLst>
                            <p:cond delay="indefinite"/>
                          </p:stCondLst>
                          <p:childTnLst>
                            <p:par>
                              <p:cTn id="32" fill="hold">
                                <p:stCondLst>
                                  <p:cond delay="0"/>
                                </p:stCondLst>
                                <p:childTnLst>
                                  <p:par>
                                    <p:cTn id="33" presetID="37" presetClass="path" presetSubtype="0" accel="50000" decel="50000" fill="hold" nodeType="clickEffect">
                                      <p:stCondLst>
                                        <p:cond delay="0"/>
                                      </p:stCondLst>
                                      <p:childTnLst>
                                        <p:animMotion origin="layout" path="M 1.66667E-6 -1.11111E-6 L 0.07278 -0.00509 C 0.08789 -0.00625 0.11081 -0.00671 0.13463 -0.00671 C 0.16185 -0.00671 0.18372 -0.00625 0.19883 -0.00509 L 0.27187 -1.11111E-6 " pathEditMode="relative" rAng="0" ptsTypes="AAAAA">
                                          <p:cBhvr>
                                            <p:cTn id="34" dur="2000" fill="hold"/>
                                            <p:tgtEl>
                                              <p:spTgt spid="5"/>
                                            </p:tgtEl>
                                            <p:attrNameLst>
                                              <p:attrName>ppt_x</p:attrName>
                                              <p:attrName>ppt_y</p:attrName>
                                            </p:attrNameLst>
                                          </p:cBhvr>
                                          <p:rCtr x="13594" y="-347"/>
                                        </p:animMotion>
                                      </p:childTnLst>
                                    </p:cTn>
                                  </p:par>
                                </p:childTnLst>
                              </p:cTn>
                            </p:par>
                          </p:childTnLst>
                        </p:cTn>
                      </p:par>
                    </p:childTnLst>
                  </p:cTn>
                  <p:prevCondLst>
                    <p:cond evt="onPrev" delay="0">
                      <p:tgtEl>
                        <p:sldTgt/>
                      </p:tgtEl>
                    </p:cond>
                  </p:prevCondLst>
                  <p:nextCondLst>
                    <p:cond evt="onNext" delay="0">
                      <p:tgtEl>
                        <p:sldTgt/>
                      </p:tgtEl>
                    </p:cond>
                  </p:nextCondLst>
                </p:seq>
                <p:audio>
                  <p:cMediaNode vol="9756" numSld="7" showWhenStopped="0">
                    <p:cTn id="35" repeatCount="indefinite" fill="hold" display="0">
                      <p:stCondLst>
                        <p:cond delay="indefinite"/>
                      </p:stCondLst>
                      <p:endCondLst>
                        <p:cond evt="onStopAudio" delay="0">
                          <p:tgtEl>
                            <p:sldTgt/>
                          </p:tgtEl>
                        </p:cond>
                      </p:endCondLst>
                    </p:cTn>
                    <p:tgtEl>
                      <p:spTgt spid="12"/>
                    </p:tgtEl>
                  </p:cMediaNode>
                </p:audio>
              </p:childTnLst>
            </p:cTn>
          </p:par>
        </p:tnLst>
      </p:timing>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FILL" val="a1"/>
</p:tagLst>
</file>

<file path=ppt/tags/tag2.xml><?xml version="1.0" encoding="utf-8"?>
<p:tagLst xmlns:a="http://schemas.openxmlformats.org/drawingml/2006/main" xmlns:r="http://schemas.openxmlformats.org/officeDocument/2006/relationships" xmlns:p="http://schemas.openxmlformats.org/presentationml/2006/main">
  <p:tag name="FILL" val="a1"/>
</p:tagLst>
</file>

<file path=ppt/tags/tag3.xml><?xml version="1.0" encoding="utf-8"?>
<p:tagLst xmlns:a="http://schemas.openxmlformats.org/drawingml/2006/main" xmlns:r="http://schemas.openxmlformats.org/officeDocument/2006/relationships" xmlns:p="http://schemas.openxmlformats.org/presentationml/2006/main">
  <p:tag name="FILL" val="a1"/>
</p:tagLst>
</file>

<file path=ppt/tags/tag4.xml><?xml version="1.0" encoding="utf-8"?>
<p:tagLst xmlns:a="http://schemas.openxmlformats.org/drawingml/2006/main" xmlns:r="http://schemas.openxmlformats.org/officeDocument/2006/relationships" xmlns:p="http://schemas.openxmlformats.org/presentationml/2006/main">
  <p:tag name="FILL" val="a1"/>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school_POWER_USER_SEPARATOR_ICONS_academics_POWER_USER_SEPARATOR_ICONS_book_POWER_USER_SEPARATOR_ICONS_college_POWER_USER_SEPARATOR_ICONS_education_POWER_USER_SEPARATOR_ICONS_humanitarian_POWER_USER_SEPARATOR_ICONS_infrastructure_POWER_USER_SEPARATOR_ICONS_story_POWER_USER_SEPARATOR_ICONS_university"/>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school_POWER_USER_SEPARATOR_ICONS_academics_POWER_USER_SEPARATOR_ICONS_book_POWER_USER_SEPARATOR_ICONS_college_POWER_USER_SEPARATOR_ICONS_education_POWER_USER_SEPARATOR_ICONS_humanitarian_POWER_USER_SEPARATOR_ICONS_infrastructure_POWER_USER_SEPARATOR_ICONS_story_POWER_USER_SEPARATOR_ICONS_university"/>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school_POWER_USER_SEPARATOR_ICONS_academics_POWER_USER_SEPARATOR_ICONS_book_POWER_USER_SEPARATOR_ICONS_college_POWER_USER_SEPARATOR_ICONS_education_POWER_USER_SEPARATOR_ICONS_humanitarian_POWER_USER_SEPARATOR_ICONS_infrastructure_POWER_USER_SEPARATOR_ICONS_story_POWER_USER_SEPARATOR_ICONS_university"/>
</p:tagLst>
</file>

<file path=ppt/theme/theme1.xml><?xml version="1.0" encoding="utf-8"?>
<a:theme xmlns:a="http://schemas.openxmlformats.org/drawingml/2006/main" name="https://www.freeppt7.co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fterhoursVTI">
  <a:themeElements>
    <a:clrScheme name="Afterhours">
      <a:dk1>
        <a:sysClr val="windowText" lastClr="000000"/>
      </a:dk1>
      <a:lt1>
        <a:srgbClr val="FFFFFF"/>
      </a:lt1>
      <a:dk2>
        <a:srgbClr val="2D3122"/>
      </a:dk2>
      <a:lt2>
        <a:srgbClr val="F3F2EE"/>
      </a:lt2>
      <a:accent1>
        <a:srgbClr val="31AEC4"/>
      </a:accent1>
      <a:accent2>
        <a:srgbClr val="3163BD"/>
      </a:accent2>
      <a:accent3>
        <a:srgbClr val="5E854F"/>
      </a:accent3>
      <a:accent4>
        <a:srgbClr val="34B66C"/>
      </a:accent4>
      <a:accent5>
        <a:srgbClr val="CD2929"/>
      </a:accent5>
      <a:accent6>
        <a:srgbClr val="6946C8"/>
      </a:accent6>
      <a:hlink>
        <a:srgbClr val="0678EA"/>
      </a:hlink>
      <a:folHlink>
        <a:srgbClr val="B65887"/>
      </a:folHlink>
    </a:clrScheme>
    <a:fontScheme name="Street">
      <a:majorFont>
        <a:latin typeface="Franklin Gothic Heavy"/>
        <a:ea typeface=""/>
        <a:cs typeface=""/>
      </a:majorFont>
      <a:minorFont>
        <a:latin typeface="Consola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fterhoursVTI" id="{90A150B1-9C08-42C7-B4E0-C1D732064FA1}" vid="{A6104589-8A83-4A64-B7F1-AAF946A40515}"/>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主题">
  <a:themeElements>
    <a:clrScheme name="自定义 42">
      <a:dk1>
        <a:sysClr val="windowText" lastClr="000000"/>
      </a:dk1>
      <a:lt1>
        <a:sysClr val="window" lastClr="FFFFFF"/>
      </a:lt1>
      <a:dk2>
        <a:srgbClr val="1F497D"/>
      </a:dk2>
      <a:lt2>
        <a:srgbClr val="EEECE1"/>
      </a:lt2>
      <a:accent1>
        <a:srgbClr val="EDCB21"/>
      </a:accent1>
      <a:accent2>
        <a:srgbClr val="FFD600"/>
      </a:accent2>
      <a:accent3>
        <a:srgbClr val="4FD3FF"/>
      </a:accent3>
      <a:accent4>
        <a:srgbClr val="FFDD67"/>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Kawaii Scrapbook for College by Slidesgo">
  <a:themeElements>
    <a:clrScheme name="Simple Light">
      <a:dk1>
        <a:srgbClr val="383838"/>
      </a:dk1>
      <a:lt1>
        <a:srgbClr val="FFFFFF"/>
      </a:lt1>
      <a:dk2>
        <a:srgbClr val="E7597C"/>
      </a:dk2>
      <a:lt2>
        <a:srgbClr val="FDBB45"/>
      </a:lt2>
      <a:accent1>
        <a:srgbClr val="F998B0"/>
      </a:accent1>
      <a:accent2>
        <a:srgbClr val="B7FCF6"/>
      </a:accent2>
      <a:accent3>
        <a:srgbClr val="DBBCFF"/>
      </a:accent3>
      <a:accent4>
        <a:srgbClr val="67C7D0"/>
      </a:accent4>
      <a:accent5>
        <a:srgbClr val="96FF9B"/>
      </a:accent5>
      <a:accent6>
        <a:srgbClr val="FEE567"/>
      </a:accent6>
      <a:hlink>
        <a:srgbClr val="383838"/>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93</TotalTime>
  <Words>1255</Words>
  <Application>Microsoft Office PowerPoint</Application>
  <PresentationFormat>Widescreen</PresentationFormat>
  <Paragraphs>205</Paragraphs>
  <Slides>33</Slides>
  <Notes>5</Notes>
  <HiddenSlides>0</HiddenSlides>
  <MMClips>10</MMClips>
  <ScaleCrop>false</ScaleCrop>
  <HeadingPairs>
    <vt:vector size="6" baseType="variant">
      <vt:variant>
        <vt:lpstr>Fonts Used</vt:lpstr>
      </vt:variant>
      <vt:variant>
        <vt:i4>16</vt:i4>
      </vt:variant>
      <vt:variant>
        <vt:lpstr>Theme</vt:lpstr>
      </vt:variant>
      <vt:variant>
        <vt:i4>7</vt:i4>
      </vt:variant>
      <vt:variant>
        <vt:lpstr>Slide Titles</vt:lpstr>
      </vt:variant>
      <vt:variant>
        <vt:i4>33</vt:i4>
      </vt:variant>
    </vt:vector>
  </HeadingPairs>
  <TitlesOfParts>
    <vt:vector size="56" baseType="lpstr">
      <vt:lpstr>Algerian</vt:lpstr>
      <vt:lpstr>Anaheim</vt:lpstr>
      <vt:lpstr>Arial</vt:lpstr>
      <vt:lpstr>Calibri</vt:lpstr>
      <vt:lpstr>Calibri Light</vt:lpstr>
      <vt:lpstr>Consolas</vt:lpstr>
      <vt:lpstr>Franklin Gothic Heavy</vt:lpstr>
      <vt:lpstr>Londrina Solid</vt:lpstr>
      <vt:lpstr>Nunito Black</vt:lpstr>
      <vt:lpstr>Sigmar One</vt:lpstr>
      <vt:lpstr>Tahoma</vt:lpstr>
      <vt:lpstr>Times New Roman</vt:lpstr>
      <vt:lpstr>UTM Futura Extra</vt:lpstr>
      <vt:lpstr>UTM Guanine</vt:lpstr>
      <vt:lpstr>UTM Neo Sans Intel</vt:lpstr>
      <vt:lpstr>Verdana</vt:lpstr>
      <vt:lpstr>https://www.freeppt7.com</vt:lpstr>
      <vt:lpstr>1_Office Theme</vt:lpstr>
      <vt:lpstr>3_Office Theme</vt:lpstr>
      <vt:lpstr>AfterhoursVTI</vt:lpstr>
      <vt:lpstr>2_Office Theme</vt:lpstr>
      <vt:lpstr>Office 主题</vt:lpstr>
      <vt:lpstr>Kawaii Scrapbook for College by Slidesg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guyenthi lien</dc:creator>
  <cp:lastModifiedBy>Anh</cp:lastModifiedBy>
  <cp:revision>9</cp:revision>
  <dcterms:created xsi:type="dcterms:W3CDTF">2023-11-13T02:18:27Z</dcterms:created>
  <dcterms:modified xsi:type="dcterms:W3CDTF">2024-03-07T16:50:57Z</dcterms:modified>
</cp:coreProperties>
</file>